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5.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6.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7.xml" ContentType="application/vnd.openxmlformats-officedocument.them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8.xml" ContentType="application/vnd.openxmlformats-officedocument.theme+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9.xml" ContentType="application/vnd.openxmlformats-officedocument.theme+xml"/>
  <Override PartName="/ppt/tags/tag97.xml" ContentType="application/vnd.openxmlformats-officedocument.presentationml.tags+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10.xml" ContentType="application/vnd.openxmlformats-officedocument.theme+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theme/theme11.xml" ContentType="application/vnd.openxmlformats-officedocument.theme+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12.xml" ContentType="application/vnd.openxmlformats-officedocument.theme+xml"/>
  <Override PartName="/ppt/tags/tag98.xml" ContentType="application/vnd.openxmlformats-officedocument.presentationml.tags+xml"/>
  <Override PartName="/ppt/tags/tag99.xml" ContentType="application/vnd.openxmlformats-officedocument.presentationml.tags+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4" r:id="rId2"/>
    <p:sldMasterId id="2147483701" r:id="rId3"/>
    <p:sldMasterId id="2147483733" r:id="rId4"/>
    <p:sldMasterId id="2147483769" r:id="rId5"/>
    <p:sldMasterId id="2147483792" r:id="rId6"/>
    <p:sldMasterId id="2147483809" r:id="rId7"/>
    <p:sldMasterId id="2147483841" r:id="rId8"/>
    <p:sldMasterId id="2147483870" r:id="rId9"/>
    <p:sldMasterId id="2147483892" r:id="rId10"/>
    <p:sldMasterId id="2147483955" r:id="rId11"/>
    <p:sldMasterId id="2147483979" r:id="rId12"/>
  </p:sldMasterIdLst>
  <p:notesMasterIdLst>
    <p:notesMasterId r:id="rId45"/>
  </p:notesMasterIdLst>
  <p:sldIdLst>
    <p:sldId id="1048" r:id="rId13"/>
    <p:sldId id="2147375690" r:id="rId14"/>
    <p:sldId id="2147375678" r:id="rId15"/>
    <p:sldId id="2147471162" r:id="rId16"/>
    <p:sldId id="261" r:id="rId17"/>
    <p:sldId id="2134804685" r:id="rId18"/>
    <p:sldId id="2134804610" r:id="rId19"/>
    <p:sldId id="2147471160" r:id="rId20"/>
    <p:sldId id="2147471159" r:id="rId21"/>
    <p:sldId id="2134804608" r:id="rId22"/>
    <p:sldId id="2134804613" r:id="rId23"/>
    <p:sldId id="2134804686" r:id="rId24"/>
    <p:sldId id="2134804702" r:id="rId25"/>
    <p:sldId id="2147375691" r:id="rId26"/>
    <p:sldId id="2147471158" r:id="rId27"/>
    <p:sldId id="2134804593" r:id="rId28"/>
    <p:sldId id="2134804618" r:id="rId29"/>
    <p:sldId id="2134804620" r:id="rId30"/>
    <p:sldId id="2147471143" r:id="rId31"/>
    <p:sldId id="2147375655" r:id="rId32"/>
    <p:sldId id="2147375688" r:id="rId33"/>
    <p:sldId id="2147375689" r:id="rId34"/>
    <p:sldId id="2147375668" r:id="rId35"/>
    <p:sldId id="2134804687" r:id="rId36"/>
    <p:sldId id="2134804703" r:id="rId37"/>
    <p:sldId id="329" r:id="rId38"/>
    <p:sldId id="2134804655" r:id="rId39"/>
    <p:sldId id="2134804601" r:id="rId40"/>
    <p:sldId id="283" r:id="rId41"/>
    <p:sldId id="2147471146" r:id="rId42"/>
    <p:sldId id="2147375859" r:id="rId43"/>
    <p:sldId id="2147471161" r:id="rId44"/>
  </p:sldIdLst>
  <p:sldSz cx="12192000" cy="6858000"/>
  <p:notesSz cx="6858000" cy="9144000"/>
  <p:defaultTextStyle>
    <a:defPPr>
      <a:defRPr lang="en-US"/>
    </a:defPPr>
    <a:lvl1pPr marL="0" algn="l" defTabSz="521797" rtl="0" eaLnBrk="1" latinLnBrk="0" hangingPunct="1">
      <a:defRPr sz="2054" kern="1200">
        <a:solidFill>
          <a:schemeClr val="tx1"/>
        </a:solidFill>
        <a:latin typeface="+mn-lt"/>
        <a:ea typeface="+mn-ea"/>
        <a:cs typeface="+mn-cs"/>
      </a:defRPr>
    </a:lvl1pPr>
    <a:lvl2pPr marL="521797" algn="l" defTabSz="521797" rtl="0" eaLnBrk="1" latinLnBrk="0" hangingPunct="1">
      <a:defRPr sz="2054" kern="1200">
        <a:solidFill>
          <a:schemeClr val="tx1"/>
        </a:solidFill>
        <a:latin typeface="+mn-lt"/>
        <a:ea typeface="+mn-ea"/>
        <a:cs typeface="+mn-cs"/>
      </a:defRPr>
    </a:lvl2pPr>
    <a:lvl3pPr marL="1043594" algn="l" defTabSz="521797" rtl="0" eaLnBrk="1" latinLnBrk="0" hangingPunct="1">
      <a:defRPr sz="2054" kern="1200">
        <a:solidFill>
          <a:schemeClr val="tx1"/>
        </a:solidFill>
        <a:latin typeface="+mn-lt"/>
        <a:ea typeface="+mn-ea"/>
        <a:cs typeface="+mn-cs"/>
      </a:defRPr>
    </a:lvl3pPr>
    <a:lvl4pPr marL="1565393" algn="l" defTabSz="521797" rtl="0" eaLnBrk="1" latinLnBrk="0" hangingPunct="1">
      <a:defRPr sz="2054" kern="1200">
        <a:solidFill>
          <a:schemeClr val="tx1"/>
        </a:solidFill>
        <a:latin typeface="+mn-lt"/>
        <a:ea typeface="+mn-ea"/>
        <a:cs typeface="+mn-cs"/>
      </a:defRPr>
    </a:lvl4pPr>
    <a:lvl5pPr marL="2087190" algn="l" defTabSz="521797" rtl="0" eaLnBrk="1" latinLnBrk="0" hangingPunct="1">
      <a:defRPr sz="2054" kern="1200">
        <a:solidFill>
          <a:schemeClr val="tx1"/>
        </a:solidFill>
        <a:latin typeface="+mn-lt"/>
        <a:ea typeface="+mn-ea"/>
        <a:cs typeface="+mn-cs"/>
      </a:defRPr>
    </a:lvl5pPr>
    <a:lvl6pPr marL="2608987" algn="l" defTabSz="521797" rtl="0" eaLnBrk="1" latinLnBrk="0" hangingPunct="1">
      <a:defRPr sz="2054" kern="1200">
        <a:solidFill>
          <a:schemeClr val="tx1"/>
        </a:solidFill>
        <a:latin typeface="+mn-lt"/>
        <a:ea typeface="+mn-ea"/>
        <a:cs typeface="+mn-cs"/>
      </a:defRPr>
    </a:lvl6pPr>
    <a:lvl7pPr marL="3130785" algn="l" defTabSz="521797" rtl="0" eaLnBrk="1" latinLnBrk="0" hangingPunct="1">
      <a:defRPr sz="2054" kern="1200">
        <a:solidFill>
          <a:schemeClr val="tx1"/>
        </a:solidFill>
        <a:latin typeface="+mn-lt"/>
        <a:ea typeface="+mn-ea"/>
        <a:cs typeface="+mn-cs"/>
      </a:defRPr>
    </a:lvl7pPr>
    <a:lvl8pPr marL="3652582" algn="l" defTabSz="521797" rtl="0" eaLnBrk="1" latinLnBrk="0" hangingPunct="1">
      <a:defRPr sz="2054" kern="1200">
        <a:solidFill>
          <a:schemeClr val="tx1"/>
        </a:solidFill>
        <a:latin typeface="+mn-lt"/>
        <a:ea typeface="+mn-ea"/>
        <a:cs typeface="+mn-cs"/>
      </a:defRPr>
    </a:lvl8pPr>
    <a:lvl9pPr marL="4174379" algn="l" defTabSz="521797" rtl="0" eaLnBrk="1" latinLnBrk="0" hangingPunct="1">
      <a:defRPr sz="2054"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137FA2A-D666-C2B2-2072-664AC88DD7F0}" name="Gerlinde Haberl" initials="GH" userId="S::gerlinde.haberl@signify.com::9c992740-e4f0-4427-a1a4-63f34da8542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C3C41"/>
    <a:srgbClr val="81818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0317" autoAdjust="0"/>
  </p:normalViewPr>
  <p:slideViewPr>
    <p:cSldViewPr snapToGrid="0">
      <p:cViewPr varScale="1">
        <p:scale>
          <a:sx n="69" d="100"/>
          <a:sy n="69" d="100"/>
        </p:scale>
        <p:origin x="1234" y="6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3" Type="http://schemas.openxmlformats.org/officeDocument/2006/relationships/slideMaster" Target="slideMasters/slideMaster3.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viewProps" Target="viewProps.xml"/><Relationship Id="rId50" Type="http://schemas.microsoft.com/office/2018/10/relationships/authors" Target="author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slide" Target="slides/slide29.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tableStyles" Target="tableStyles.xml"/><Relationship Id="rId10" Type="http://schemas.openxmlformats.org/officeDocument/2006/relationships/slideMaster" Target="slideMasters/slideMaster10.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slide" Target="slides/slide32.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theme" Target="theme/theme1.xml"/><Relationship Id="rId8" Type="http://schemas.openxmlformats.org/officeDocument/2006/relationships/slideMaster" Target="slideMasters/slideMaster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CCDD210-84D7-470C-ABA6-7EBBBE6FE2A0}" type="datetimeFigureOut">
              <a:rPr lang="nl-NL" smtClean="0"/>
              <a:t>26-9-2023</a:t>
            </a:fld>
            <a:endParaRPr lang="nl-NL"/>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D7A1C87-64FC-48FB-8C9A-F39762358785}" type="slidenum">
              <a:rPr lang="nl-NL" smtClean="0"/>
              <a:t>‹#›</a:t>
            </a:fld>
            <a:endParaRPr lang="nl-NL"/>
          </a:p>
        </p:txBody>
      </p:sp>
    </p:spTree>
    <p:extLst>
      <p:ext uri="{BB962C8B-B14F-4D97-AF65-F5344CB8AC3E}">
        <p14:creationId xmlns:p14="http://schemas.microsoft.com/office/powerpoint/2010/main" val="9853443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Söhne"/>
              </a:rPr>
              <a:t>With a twist of the wrist, we can solve a lot of challenge we are facing in the world. Just by changing a lamp. </a:t>
            </a:r>
          </a:p>
          <a:p>
            <a:r>
              <a:rPr lang="en-US" sz="1200" dirty="0">
                <a:latin typeface="Söhne"/>
              </a:rPr>
              <a:t>I hope I can inspire you today of how light can contribute to a </a:t>
            </a:r>
            <a:r>
              <a:rPr lang="en-US" sz="1200" b="1" dirty="0">
                <a:solidFill>
                  <a:schemeClr val="accent3"/>
                </a:solidFill>
                <a:latin typeface="Söhne"/>
              </a:rPr>
              <a:t>greener &amp; smarter </a:t>
            </a:r>
            <a:r>
              <a:rPr lang="en-US" sz="1200" dirty="0">
                <a:latin typeface="Söhne"/>
              </a:rPr>
              <a:t>world.</a:t>
            </a:r>
          </a:p>
          <a:p>
            <a:r>
              <a:rPr lang="en-US" dirty="0">
                <a:latin typeface="Söhne"/>
              </a:rPr>
              <a:t>My Name is Gert Roeckx, CEO of Signify </a:t>
            </a:r>
            <a:r>
              <a:rPr lang="en-US" dirty="0" err="1">
                <a:latin typeface="Söhne"/>
              </a:rPr>
              <a:t>belux</a:t>
            </a:r>
            <a:r>
              <a:rPr lang="en-US" dirty="0">
                <a:latin typeface="Söhne"/>
              </a:rPr>
              <a:t>. Signify, better known as Philips Lighting. We changed our name 5 years ago, the moment that Royal Philips sold more than 50% of the shares of Philips Lighting. We are still using the brand Philips on our products in the stores.</a:t>
            </a:r>
          </a:p>
          <a:p>
            <a:endParaRPr lang="nl-NL" dirty="0"/>
          </a:p>
        </p:txBody>
      </p:sp>
      <p:sp>
        <p:nvSpPr>
          <p:cNvPr id="4" name="Slide Number Placeholder 3"/>
          <p:cNvSpPr>
            <a:spLocks noGrp="1"/>
          </p:cNvSpPr>
          <p:nvPr>
            <p:ph type="sldNum" sz="quarter" idx="5"/>
          </p:nvPr>
        </p:nvSpPr>
        <p:spPr/>
        <p:txBody>
          <a:bodyPr/>
          <a:lstStyle/>
          <a:p>
            <a:fld id="{EB76CC90-A44C-4E13-BEC7-0F8CA1F95A1E}" type="slidenum">
              <a:rPr lang="en-US" smtClean="0"/>
              <a:t>1</a:t>
            </a:fld>
            <a:endParaRPr lang="en-US"/>
          </a:p>
        </p:txBody>
      </p:sp>
    </p:spTree>
    <p:extLst>
      <p:ext uri="{BB962C8B-B14F-4D97-AF65-F5344CB8AC3E}">
        <p14:creationId xmlns:p14="http://schemas.microsoft.com/office/powerpoint/2010/main" val="32614362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simulate the biological clock. It can help people to sleep better. Take the example of a rest home. Every body knows if you visit a rest home, you have warm light, cozy, ….but what happens at 6 </a:t>
            </a:r>
            <a:r>
              <a:rPr lang="en-US" dirty="0" err="1"/>
              <a:t>oclok</a:t>
            </a:r>
            <a:r>
              <a:rPr lang="en-US" dirty="0"/>
              <a:t> in the afternoon, exactly people are falling a sleep, and then at nine we have to give the elderly medicines to fall a sleep. We see that we can avoid 25 % of those pills </a:t>
            </a:r>
          </a:p>
          <a:p>
            <a:r>
              <a:rPr lang="en-US" dirty="0"/>
              <a:t>Circadian </a:t>
            </a:r>
            <a:r>
              <a:rPr lang="en-US" dirty="0" err="1"/>
              <a:t>rhytme</a:t>
            </a:r>
            <a:r>
              <a:rPr lang="en-US" dirty="0"/>
              <a:t>, regulating the daily cycle</a:t>
            </a:r>
            <a:endParaRPr lang="en-BE" dirty="0"/>
          </a:p>
        </p:txBody>
      </p:sp>
      <p:sp>
        <p:nvSpPr>
          <p:cNvPr id="4" name="Slide Number Placeholder 3"/>
          <p:cNvSpPr>
            <a:spLocks noGrp="1"/>
          </p:cNvSpPr>
          <p:nvPr>
            <p:ph type="sldNum" sz="quarter" idx="5"/>
          </p:nvPr>
        </p:nvSpPr>
        <p:spPr/>
        <p:txBody>
          <a:bodyPr/>
          <a:lstStyle/>
          <a:p>
            <a:fld id="{2D7A1C87-64FC-48FB-8C9A-F39762358785}" type="slidenum">
              <a:rPr lang="nl-NL" smtClean="0"/>
              <a:t>11</a:t>
            </a:fld>
            <a:endParaRPr lang="nl-NL"/>
          </a:p>
        </p:txBody>
      </p:sp>
    </p:spTree>
    <p:extLst>
      <p:ext uri="{BB962C8B-B14F-4D97-AF65-F5344CB8AC3E}">
        <p14:creationId xmlns:p14="http://schemas.microsoft.com/office/powerpoint/2010/main" val="32499673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xt to the wellbeing of people we can win a lot of money by changing the lamp</a:t>
            </a:r>
            <a:endParaRPr lang="en-BE" dirty="0"/>
          </a:p>
        </p:txBody>
      </p:sp>
      <p:sp>
        <p:nvSpPr>
          <p:cNvPr id="4" name="Slide Number Placeholder 3"/>
          <p:cNvSpPr>
            <a:spLocks noGrp="1"/>
          </p:cNvSpPr>
          <p:nvPr>
            <p:ph type="sldNum" sz="quarter" idx="5"/>
          </p:nvPr>
        </p:nvSpPr>
        <p:spPr/>
        <p:txBody>
          <a:bodyPr/>
          <a:lstStyle/>
          <a:p>
            <a:fld id="{2D7A1C87-64FC-48FB-8C9A-F39762358785}" type="slidenum">
              <a:rPr lang="nl-NL" smtClean="0"/>
              <a:t>12</a:t>
            </a:fld>
            <a:endParaRPr lang="nl-NL"/>
          </a:p>
        </p:txBody>
      </p:sp>
    </p:spTree>
    <p:extLst>
      <p:ext uri="{BB962C8B-B14F-4D97-AF65-F5344CB8AC3E}">
        <p14:creationId xmlns:p14="http://schemas.microsoft.com/office/powerpoint/2010/main" val="25818035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3725FA-C6D4-4D2F-834B-236FE935B47B}"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82804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1043422" rtl="0" eaLnBrk="1" fontAlgn="auto" latinLnBrk="0" hangingPunct="1">
              <a:lnSpc>
                <a:spcPct val="100000"/>
              </a:lnSpc>
              <a:spcBef>
                <a:spcPts val="0"/>
              </a:spcBef>
              <a:spcAft>
                <a:spcPts val="0"/>
              </a:spcAft>
              <a:buClrTx/>
              <a:buSzTx/>
              <a:buFontTx/>
              <a:buNone/>
              <a:tabLst/>
              <a:defRPr/>
            </a:pPr>
            <a:r>
              <a:rPr lang="nl-NL" sz="1800" dirty="0">
                <a:effectLst/>
                <a:latin typeface="Avenir Next"/>
                <a:ea typeface="Calibri" panose="020F0502020204030204" pitchFamily="34" charset="0"/>
                <a:cs typeface="Arial" panose="020B0604020202020204" pitchFamily="34" charset="0"/>
              </a:rPr>
              <a:t>This is how the first LED lamp looked like in 2006. Awfull. But let be honest, we improved a lot </a:t>
            </a:r>
          </a:p>
          <a:p>
            <a:pPr marL="0" marR="0" lvl="0" indent="0" algn="l" defTabSz="1043422" rtl="0" eaLnBrk="1" fontAlgn="auto" latinLnBrk="0" hangingPunct="1">
              <a:lnSpc>
                <a:spcPct val="100000"/>
              </a:lnSpc>
              <a:spcBef>
                <a:spcPts val="0"/>
              </a:spcBef>
              <a:spcAft>
                <a:spcPts val="0"/>
              </a:spcAft>
              <a:buClrTx/>
              <a:buSzTx/>
              <a:buFontTx/>
              <a:buNone/>
              <a:tabLst/>
              <a:defRPr/>
            </a:pPr>
            <a:r>
              <a:rPr lang="nl-NL" sz="1800" dirty="0">
                <a:effectLst/>
                <a:latin typeface="Avenir Next"/>
                <a:ea typeface="Calibri" panose="020F0502020204030204" pitchFamily="34" charset="0"/>
                <a:cs typeface="Arial" panose="020B0604020202020204" pitchFamily="34" charset="0"/>
              </a:rPr>
              <a:t>We need to do beter than a bulb or candle light.</a:t>
            </a:r>
          </a:p>
          <a:p>
            <a:endParaRPr lang="nl-NL" dirty="0"/>
          </a:p>
        </p:txBody>
      </p:sp>
      <p:sp>
        <p:nvSpPr>
          <p:cNvPr id="4" name="Tijdelijke aanduiding voor dianummer 3"/>
          <p:cNvSpPr>
            <a:spLocks noGrp="1"/>
          </p:cNvSpPr>
          <p:nvPr>
            <p:ph type="sldNum" sz="quarter" idx="5"/>
          </p:nvPr>
        </p:nvSpPr>
        <p:spPr/>
        <p:txBody>
          <a:bodyPr/>
          <a:lstStyle/>
          <a:p>
            <a:pPr marL="0" marR="0" lvl="0" indent="0" algn="r" defTabSz="521797" rtl="0" eaLnBrk="1" fontAlgn="auto" latinLnBrk="0" hangingPunct="1">
              <a:lnSpc>
                <a:spcPct val="100000"/>
              </a:lnSpc>
              <a:spcBef>
                <a:spcPts val="0"/>
              </a:spcBef>
              <a:spcAft>
                <a:spcPts val="0"/>
              </a:spcAft>
              <a:buClrTx/>
              <a:buSzTx/>
              <a:buFontTx/>
              <a:buNone/>
              <a:tabLst/>
              <a:defRPr/>
            </a:pPr>
            <a:fld id="{EB76CC90-A44C-4E13-BEC7-0F8CA1F95A1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52179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40334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ltra efficient LED lamp, using 60 % less energy than previous led lamps</a:t>
            </a:r>
            <a:endParaRPr lang="en-BE" dirty="0"/>
          </a:p>
        </p:txBody>
      </p:sp>
      <p:sp>
        <p:nvSpPr>
          <p:cNvPr id="4" name="Slide Number Placeholder 3"/>
          <p:cNvSpPr>
            <a:spLocks noGrp="1"/>
          </p:cNvSpPr>
          <p:nvPr>
            <p:ph type="sldNum" sz="quarter" idx="5"/>
          </p:nvPr>
        </p:nvSpPr>
        <p:spPr/>
        <p:txBody>
          <a:bodyPr/>
          <a:lstStyle/>
          <a:p>
            <a:fld id="{2D7A1C87-64FC-48FB-8C9A-F39762358785}" type="slidenum">
              <a:rPr lang="nl-NL" smtClean="0"/>
              <a:t>17</a:t>
            </a:fld>
            <a:endParaRPr lang="nl-NL"/>
          </a:p>
        </p:txBody>
      </p:sp>
    </p:spTree>
    <p:extLst>
      <p:ext uri="{BB962C8B-B14F-4D97-AF65-F5344CB8AC3E}">
        <p14:creationId xmlns:p14="http://schemas.microsoft.com/office/powerpoint/2010/main" val="2115175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The movement is easy. You turn your hand and save 30 euro. It’s the same movement of drinking a glass</a:t>
            </a:r>
          </a:p>
        </p:txBody>
      </p:sp>
      <p:sp>
        <p:nvSpPr>
          <p:cNvPr id="4" name="Slide Number Placeholder 3"/>
          <p:cNvSpPr>
            <a:spLocks noGrp="1"/>
          </p:cNvSpPr>
          <p:nvPr>
            <p:ph type="sldNum" sz="quarter" idx="5"/>
          </p:nvPr>
        </p:nvSpPr>
        <p:spPr/>
        <p:txBody>
          <a:bodyPr/>
          <a:lstStyle/>
          <a:p>
            <a:fld id="{2D7A1C87-64FC-48FB-8C9A-F39762358785}" type="slidenum">
              <a:rPr lang="nl-NL" smtClean="0"/>
              <a:t>18</a:t>
            </a:fld>
            <a:endParaRPr lang="nl-NL"/>
          </a:p>
        </p:txBody>
      </p:sp>
    </p:spTree>
    <p:extLst>
      <p:ext uri="{BB962C8B-B14F-4D97-AF65-F5344CB8AC3E}">
        <p14:creationId xmlns:p14="http://schemas.microsoft.com/office/powerpoint/2010/main" val="15819403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nl-NL" dirty="0"/>
              <a:t>Saving for Belgium huge</a:t>
            </a:r>
          </a:p>
          <a:p>
            <a:pPr marL="0" indent="0">
              <a:buFontTx/>
              <a:buNone/>
            </a:pPr>
            <a:r>
              <a:rPr lang="nl-NL" dirty="0"/>
              <a:t>Do you have any idea how many electric cars we can drive with the energy we save to convertall conventional lamps to led. 1.2M (we have at the moment 100K e cars in Belgium), we free up energy for the coming years.</a:t>
            </a:r>
          </a:p>
          <a:p>
            <a:pPr marL="0" indent="0">
              <a:buFontTx/>
              <a:buNone/>
            </a:pPr>
            <a:r>
              <a:rPr lang="en" dirty="0"/>
              <a:t>Another thing, at this moment the European Union is investing 50 million LED lamps for Ukraine. Each family will ge 8 LED lamps, the other option was to rebuild two power stations</a:t>
            </a:r>
            <a:endParaRPr lang="nl-NL" dirty="0"/>
          </a:p>
          <a:p>
            <a:endParaRPr lang="en-US" dirty="0"/>
          </a:p>
        </p:txBody>
      </p:sp>
      <p:sp>
        <p:nvSpPr>
          <p:cNvPr id="4" name="Slide Number Placeholder 3"/>
          <p:cNvSpPr>
            <a:spLocks noGrp="1"/>
          </p:cNvSpPr>
          <p:nvPr>
            <p:ph type="sldNum" sz="quarter" idx="5"/>
          </p:nvPr>
        </p:nvSpPr>
        <p:spPr/>
        <p:txBody>
          <a:bodyPr/>
          <a:lstStyle/>
          <a:p>
            <a:pPr marL="0" marR="0" lvl="0" indent="0" algn="r" defTabSz="521711" rtl="0" eaLnBrk="1" fontAlgn="auto" latinLnBrk="0" hangingPunct="1">
              <a:lnSpc>
                <a:spcPct val="100000"/>
              </a:lnSpc>
              <a:spcBef>
                <a:spcPts val="0"/>
              </a:spcBef>
              <a:spcAft>
                <a:spcPts val="0"/>
              </a:spcAft>
              <a:buClrTx/>
              <a:buSzTx/>
              <a:buFontTx/>
              <a:buNone/>
              <a:tabLst/>
              <a:defRPr/>
            </a:pPr>
            <a:fld id="{1DDF6ACA-DC83-49A3-8481-9F442A3C32BB}" type="slidenum">
              <a:rPr kumimoji="0" lang="en-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521711" rtl="0" eaLnBrk="1" fontAlgn="auto" latinLnBrk="0" hangingPunct="1">
                <a:lnSpc>
                  <a:spcPct val="100000"/>
                </a:lnSpc>
                <a:spcBef>
                  <a:spcPts val="0"/>
                </a:spcBef>
                <a:spcAft>
                  <a:spcPts val="0"/>
                </a:spcAft>
                <a:buClrTx/>
                <a:buSzTx/>
                <a:buFontTx/>
                <a:buNone/>
                <a:tabLst/>
                <a:defRPr/>
              </a:pPr>
              <a:t>19</a:t>
            </a:fld>
            <a:endParaRPr kumimoji="0" lang="en-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73897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nl-NL" sz="1800" b="0" i="0" u="none" strike="noStrike" baseline="0" dirty="0">
                <a:solidFill>
                  <a:srgbClr val="000000"/>
                </a:solidFill>
                <a:latin typeface="Calibri" panose="020F0502020204030204" pitchFamily="34" charset="0"/>
              </a:rPr>
              <a:t>En die verandering moet ook NU gebeuren, want oude TL verlichting wordt vanaf dit jaar verboden. </a:t>
            </a:r>
            <a:endParaRPr lang="nl-NL" dirty="0"/>
          </a:p>
        </p:txBody>
      </p:sp>
      <p:sp>
        <p:nvSpPr>
          <p:cNvPr id="4" name="Slide Number Placeholder 3"/>
          <p:cNvSpPr>
            <a:spLocks noGrp="1"/>
          </p:cNvSpPr>
          <p:nvPr>
            <p:ph type="sldNum" sz="quarter" idx="5"/>
          </p:nvPr>
        </p:nvSpPr>
        <p:spPr/>
        <p:txBody>
          <a:bodyPr/>
          <a:lstStyle/>
          <a:p>
            <a:fld id="{EB76CC90-A44C-4E13-BEC7-0F8CA1F95A1E}" type="slidenum">
              <a:rPr lang="en-US" smtClean="0"/>
              <a:t>20</a:t>
            </a:fld>
            <a:endParaRPr lang="en-US"/>
          </a:p>
        </p:txBody>
      </p:sp>
    </p:spTree>
    <p:extLst>
      <p:ext uri="{BB962C8B-B14F-4D97-AF65-F5344CB8AC3E}">
        <p14:creationId xmlns:p14="http://schemas.microsoft.com/office/powerpoint/2010/main" val="33702830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cs typeface="Calibri"/>
              </a:rPr>
              <a:t>Foto relamping: LED tube Instant fit T8 – Foto Relighting: Flexblend armatuur SM340C</a:t>
            </a:r>
          </a:p>
        </p:txBody>
      </p:sp>
      <p:sp>
        <p:nvSpPr>
          <p:cNvPr id="4" name="Foliennummernplatzhalter 3"/>
          <p:cNvSpPr>
            <a:spLocks noGrp="1"/>
          </p:cNvSpPr>
          <p:nvPr>
            <p:ph type="sldNum" sz="quarter" idx="5"/>
          </p:nvPr>
        </p:nvSpPr>
        <p:spPr/>
        <p:txBody>
          <a:bodyPr/>
          <a:lstStyle/>
          <a:p>
            <a:pPr marL="0" marR="0" lvl="0" indent="0" algn="r" defTabSz="521711" rtl="0" eaLnBrk="1" fontAlgn="auto" latinLnBrk="0" hangingPunct="1">
              <a:lnSpc>
                <a:spcPct val="100000"/>
              </a:lnSpc>
              <a:spcBef>
                <a:spcPts val="0"/>
              </a:spcBef>
              <a:spcAft>
                <a:spcPts val="0"/>
              </a:spcAft>
              <a:buClrTx/>
              <a:buSzTx/>
              <a:buFontTx/>
              <a:buNone/>
              <a:tabLst/>
              <a:defRPr/>
            </a:pPr>
            <a:fld id="{EB76CC90-A44C-4E13-BEC7-0F8CA1F95A1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521711"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03343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3725FA-C6D4-4D2F-834B-236FE935B47B}"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0541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Daglicht</a:t>
            </a:r>
            <a:r>
              <a:rPr lang="en-US" dirty="0"/>
              <a:t> is </a:t>
            </a:r>
            <a:r>
              <a:rPr lang="en-US" dirty="0" err="1"/>
              <a:t>onze</a:t>
            </a:r>
            <a:r>
              <a:rPr lang="en-US" dirty="0"/>
              <a:t> </a:t>
            </a:r>
            <a:r>
              <a:rPr lang="en-US" dirty="0" err="1"/>
              <a:t>beste</a:t>
            </a:r>
            <a:r>
              <a:rPr lang="en-US" dirty="0"/>
              <a:t> </a:t>
            </a:r>
            <a:r>
              <a:rPr lang="en-US" dirty="0" err="1"/>
              <a:t>licht</a:t>
            </a:r>
            <a:r>
              <a:rPr lang="en-US" dirty="0"/>
              <a:t> </a:t>
            </a:r>
            <a:r>
              <a:rPr lang="en-US" dirty="0" err="1"/>
              <a:t>gever</a:t>
            </a:r>
            <a:r>
              <a:rPr lang="en-US" dirty="0"/>
              <a:t>, </a:t>
            </a:r>
            <a:r>
              <a:rPr lang="en-US" dirty="0" err="1"/>
              <a:t>toch</a:t>
            </a:r>
            <a:r>
              <a:rPr lang="en-US" dirty="0"/>
              <a:t> </a:t>
            </a:r>
            <a:r>
              <a:rPr lang="en-US" dirty="0" err="1"/>
              <a:t>zien</a:t>
            </a:r>
            <a:r>
              <a:rPr lang="en-US" dirty="0"/>
              <a:t> we </a:t>
            </a:r>
            <a:r>
              <a:rPr lang="en-US" dirty="0" err="1"/>
              <a:t>dat</a:t>
            </a:r>
            <a:r>
              <a:rPr lang="en-US" dirty="0"/>
              <a:t> </a:t>
            </a:r>
            <a:r>
              <a:rPr lang="en-US" dirty="0" err="1"/>
              <a:t>licht</a:t>
            </a:r>
            <a:r>
              <a:rPr lang="en-US" dirty="0"/>
              <a:t> brand op </a:t>
            </a:r>
            <a:r>
              <a:rPr lang="en-US" dirty="0" err="1"/>
              <a:t>momenten</a:t>
            </a:r>
            <a:r>
              <a:rPr lang="en-US" dirty="0"/>
              <a:t> </a:t>
            </a:r>
            <a:r>
              <a:rPr lang="en-US" dirty="0" err="1"/>
              <a:t>dat</a:t>
            </a:r>
            <a:r>
              <a:rPr lang="en-US" dirty="0"/>
              <a:t> er </a:t>
            </a:r>
            <a:r>
              <a:rPr lang="en-US" dirty="0" err="1"/>
              <a:t>veel</a:t>
            </a:r>
            <a:r>
              <a:rPr lang="en-US" dirty="0"/>
              <a:t> </a:t>
            </a:r>
            <a:r>
              <a:rPr lang="en-US" dirty="0" err="1"/>
              <a:t>daglicht</a:t>
            </a:r>
            <a:r>
              <a:rPr lang="en-US" dirty="0"/>
              <a:t> </a:t>
            </a:r>
            <a:r>
              <a:rPr lang="en-US" dirty="0" err="1"/>
              <a:t>binnen</a:t>
            </a:r>
            <a:r>
              <a:rPr lang="en-US" dirty="0"/>
              <a:t> </a:t>
            </a:r>
            <a:r>
              <a:rPr lang="en-US" dirty="0" err="1"/>
              <a:t>valt</a:t>
            </a:r>
            <a:r>
              <a:rPr lang="en-US" dirty="0"/>
              <a:t>, of </a:t>
            </a:r>
            <a:r>
              <a:rPr lang="en-US" dirty="0" err="1"/>
              <a:t>zien</a:t>
            </a:r>
            <a:r>
              <a:rPr lang="en-US" dirty="0"/>
              <a:t> we </a:t>
            </a:r>
            <a:r>
              <a:rPr lang="en-US" dirty="0" err="1"/>
              <a:t>licht</a:t>
            </a:r>
            <a:r>
              <a:rPr lang="en-US" dirty="0"/>
              <a:t> </a:t>
            </a:r>
            <a:r>
              <a:rPr lang="en-US" dirty="0" err="1"/>
              <a:t>branden</a:t>
            </a:r>
            <a:r>
              <a:rPr lang="en-US" dirty="0"/>
              <a:t> </a:t>
            </a:r>
            <a:r>
              <a:rPr lang="en-US" dirty="0" err="1"/>
              <a:t>als</a:t>
            </a:r>
            <a:r>
              <a:rPr lang="en-US" dirty="0"/>
              <a:t> er </a:t>
            </a:r>
            <a:r>
              <a:rPr lang="en-US" dirty="0" err="1"/>
              <a:t>geen</a:t>
            </a:r>
            <a:r>
              <a:rPr lang="en-US" dirty="0"/>
              <a:t> </a:t>
            </a:r>
            <a:r>
              <a:rPr lang="en-US" dirty="0" err="1"/>
              <a:t>mensen</a:t>
            </a:r>
            <a:r>
              <a:rPr lang="en-US" dirty="0"/>
              <a:t> </a:t>
            </a:r>
            <a:r>
              <a:rPr lang="en-US" dirty="0" err="1"/>
              <a:t>zijn</a:t>
            </a:r>
            <a:r>
              <a:rPr lang="en-US" dirty="0"/>
              <a:t>…..</a:t>
            </a:r>
            <a:endParaRPr lang="en-BE" dirty="0"/>
          </a:p>
        </p:txBody>
      </p:sp>
      <p:sp>
        <p:nvSpPr>
          <p:cNvPr id="4" name="Slide Number Placeholder 3"/>
          <p:cNvSpPr>
            <a:spLocks noGrp="1"/>
          </p:cNvSpPr>
          <p:nvPr>
            <p:ph type="sldNum" sz="quarter" idx="5"/>
          </p:nvPr>
        </p:nvSpPr>
        <p:spPr/>
        <p:txBody>
          <a:bodyPr/>
          <a:lstStyle/>
          <a:p>
            <a:fld id="{EB76CC90-A44C-4E13-BEC7-0F8CA1F95A1E}" type="slidenum">
              <a:rPr lang="en-US" smtClean="0"/>
              <a:t>2</a:t>
            </a:fld>
            <a:endParaRPr lang="en-US" dirty="0"/>
          </a:p>
        </p:txBody>
      </p:sp>
    </p:spTree>
    <p:extLst>
      <p:ext uri="{BB962C8B-B14F-4D97-AF65-F5344CB8AC3E}">
        <p14:creationId xmlns:p14="http://schemas.microsoft.com/office/powerpoint/2010/main" val="340341837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3725FA-C6D4-4D2F-834B-236FE935B47B}"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2641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happened on last Sunday, 26 of March It was earth overshoot day of Belgium. It means the day that we are using more materials from mother earth that It can reproduce for one year. So we consumed more in 3 months than that the planet can recover in a year. We need to treat our raw materials better.</a:t>
            </a:r>
            <a:endParaRPr lang="en-BE" dirty="0"/>
          </a:p>
        </p:txBody>
      </p:sp>
      <p:sp>
        <p:nvSpPr>
          <p:cNvPr id="4" name="Slide Number Placeholder 3"/>
          <p:cNvSpPr>
            <a:spLocks noGrp="1"/>
          </p:cNvSpPr>
          <p:nvPr>
            <p:ph type="sldNum" sz="quarter" idx="5"/>
          </p:nvPr>
        </p:nvSpPr>
        <p:spPr/>
        <p:txBody>
          <a:bodyPr/>
          <a:lstStyle/>
          <a:p>
            <a:fld id="{2D7A1C87-64FC-48FB-8C9A-F39762358785}" type="slidenum">
              <a:rPr lang="nl-NL" smtClean="0"/>
              <a:t>24</a:t>
            </a:fld>
            <a:endParaRPr lang="nl-NL"/>
          </a:p>
        </p:txBody>
      </p:sp>
    </p:spTree>
    <p:extLst>
      <p:ext uri="{BB962C8B-B14F-4D97-AF65-F5344CB8AC3E}">
        <p14:creationId xmlns:p14="http://schemas.microsoft.com/office/powerpoint/2010/main" val="39065893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hat happened on last Sunday, 26 of March It was earth overshoot day of Belgium. It means the day that we are using more materials from mother earth that It can reproduce for one year. So we consumed more in 3 months than that the planet can recover in a year. We need to treat our raw materials better.</a:t>
            </a:r>
            <a:endParaRPr lang="en-BE" dirty="0"/>
          </a:p>
          <a:p>
            <a:endParaRPr lang="en-BE" dirty="0"/>
          </a:p>
        </p:txBody>
      </p:sp>
      <p:sp>
        <p:nvSpPr>
          <p:cNvPr id="4" name="Slide Number Placeholder 3"/>
          <p:cNvSpPr>
            <a:spLocks noGrp="1"/>
          </p:cNvSpPr>
          <p:nvPr>
            <p:ph type="sldNum" sz="quarter" idx="5"/>
          </p:nvPr>
        </p:nvSpPr>
        <p:spPr/>
        <p:txBody>
          <a:bodyPr/>
          <a:lstStyle/>
          <a:p>
            <a:fld id="{2D7A1C87-64FC-48FB-8C9A-F39762358785}" type="slidenum">
              <a:rPr lang="nl-NL" smtClean="0"/>
              <a:t>25</a:t>
            </a:fld>
            <a:endParaRPr lang="nl-NL"/>
          </a:p>
        </p:txBody>
      </p:sp>
    </p:spTree>
    <p:extLst>
      <p:ext uri="{BB962C8B-B14F-4D97-AF65-F5344CB8AC3E}">
        <p14:creationId xmlns:p14="http://schemas.microsoft.com/office/powerpoint/2010/main" val="32599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3838" y="808038"/>
            <a:ext cx="7185026" cy="4041775"/>
          </a:xfrm>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srgbClr val="3C3C41"/>
                </a:solidFill>
                <a:effectLst/>
                <a:uLnTx/>
                <a:uFillTx/>
                <a:latin typeface="Calibri"/>
                <a:ea typeface="+mn-ea"/>
                <a:cs typeface="+mn-cs"/>
              </a:rPr>
              <a:t>The current economic model of take-make-waste isn’t sustainable. We need to do it different.</a:t>
            </a:r>
            <a:endParaRPr lang="en-US" dirty="0"/>
          </a:p>
        </p:txBody>
      </p:sp>
    </p:spTree>
    <p:extLst>
      <p:ext uri="{BB962C8B-B14F-4D97-AF65-F5344CB8AC3E}">
        <p14:creationId xmlns:p14="http://schemas.microsoft.com/office/powerpoint/2010/main" val="39806002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Grondstoffen zijn schaars </a:t>
            </a:r>
          </a:p>
          <a:p>
            <a:r>
              <a:rPr lang="nl-NL" dirty="0"/>
              <a:t>Minder afval </a:t>
            </a:r>
          </a:p>
        </p:txBody>
      </p:sp>
      <p:sp>
        <p:nvSpPr>
          <p:cNvPr id="4" name="Slide Number Placeholder 3"/>
          <p:cNvSpPr>
            <a:spLocks noGrp="1"/>
          </p:cNvSpPr>
          <p:nvPr>
            <p:ph type="sldNum" sz="quarter" idx="5"/>
          </p:nvPr>
        </p:nvSpPr>
        <p:spPr/>
        <p:txBody>
          <a:bodyPr/>
          <a:lstStyle/>
          <a:p>
            <a:fld id="{2D7A1C87-64FC-48FB-8C9A-F39762358785}" type="slidenum">
              <a:rPr lang="nl-NL" smtClean="0"/>
              <a:t>28</a:t>
            </a:fld>
            <a:endParaRPr lang="nl-NL"/>
          </a:p>
        </p:txBody>
      </p:sp>
    </p:spTree>
    <p:extLst>
      <p:ext uri="{BB962C8B-B14F-4D97-AF65-F5344CB8AC3E}">
        <p14:creationId xmlns:p14="http://schemas.microsoft.com/office/powerpoint/2010/main" val="145152679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lnSpc>
                <a:spcPct val="90000"/>
              </a:lnSpc>
              <a:spcAft>
                <a:spcPts val="900"/>
              </a:spcAft>
            </a:pPr>
            <a:r>
              <a:rPr lang="en-US" sz="1600" b="1" dirty="0">
                <a:solidFill>
                  <a:schemeClr val="bg2"/>
                </a:solidFill>
              </a:rPr>
              <a:t>From waste to wonder </a:t>
            </a:r>
          </a:p>
          <a:p>
            <a:pPr algn="l">
              <a:lnSpc>
                <a:spcPct val="90000"/>
              </a:lnSpc>
              <a:spcAft>
                <a:spcPts val="900"/>
              </a:spcAft>
            </a:pPr>
            <a:r>
              <a:rPr lang="en-US" sz="1200" b="1" dirty="0">
                <a:solidFill>
                  <a:schemeClr val="bg2"/>
                </a:solidFill>
              </a:rPr>
              <a:t>100% recycled fishing nets</a:t>
            </a:r>
            <a:r>
              <a:rPr lang="en-US" sz="1600" b="1" dirty="0">
                <a:solidFill>
                  <a:schemeClr val="bg2"/>
                </a:solidFill>
              </a:rPr>
              <a:t>		</a:t>
            </a:r>
            <a:endParaRPr lang="en-NL" sz="1600" b="1" dirty="0">
              <a:solidFill>
                <a:schemeClr val="bg2"/>
              </a:solidFill>
            </a:endParaRPr>
          </a:p>
          <a:p>
            <a:endParaRPr lang="nl-NL" dirty="0"/>
          </a:p>
        </p:txBody>
      </p:sp>
      <p:sp>
        <p:nvSpPr>
          <p:cNvPr id="4" name="Slide Number Placeholder 3"/>
          <p:cNvSpPr>
            <a:spLocks noGrp="1"/>
          </p:cNvSpPr>
          <p:nvPr>
            <p:ph type="sldNum" sz="quarter" idx="5"/>
          </p:nvPr>
        </p:nvSpPr>
        <p:spPr/>
        <p:txBody>
          <a:bodyPr/>
          <a:lstStyle/>
          <a:p>
            <a:fld id="{2D7A1C87-64FC-48FB-8C9A-F39762358785}" type="slidenum">
              <a:rPr lang="nl-NL" smtClean="0"/>
              <a:t>29</a:t>
            </a:fld>
            <a:endParaRPr lang="nl-NL"/>
          </a:p>
        </p:txBody>
      </p:sp>
    </p:spTree>
    <p:extLst>
      <p:ext uri="{BB962C8B-B14F-4D97-AF65-F5344CB8AC3E}">
        <p14:creationId xmlns:p14="http://schemas.microsoft.com/office/powerpoint/2010/main" val="103628015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ople, profit, Planet. Or how can it saves money uses less raw materials and improves the well being of people </a:t>
            </a:r>
            <a:endParaRPr lang="en-BE" dirty="0"/>
          </a:p>
        </p:txBody>
      </p:sp>
      <p:sp>
        <p:nvSpPr>
          <p:cNvPr id="4" name="Slide Number Placeholder 3"/>
          <p:cNvSpPr>
            <a:spLocks noGrp="1"/>
          </p:cNvSpPr>
          <p:nvPr>
            <p:ph type="sldNum" sz="quarter" idx="5"/>
          </p:nvPr>
        </p:nvSpPr>
        <p:spPr/>
        <p:txBody>
          <a:bodyPr/>
          <a:lstStyle/>
          <a:p>
            <a:fld id="{2D7A1C87-64FC-48FB-8C9A-F39762358785}" type="slidenum">
              <a:rPr lang="nl-NL" smtClean="0"/>
              <a:t>30</a:t>
            </a:fld>
            <a:endParaRPr lang="nl-NL"/>
          </a:p>
        </p:txBody>
      </p:sp>
    </p:spTree>
    <p:extLst>
      <p:ext uri="{BB962C8B-B14F-4D97-AF65-F5344CB8AC3E}">
        <p14:creationId xmlns:p14="http://schemas.microsoft.com/office/powerpoint/2010/main" val="57930754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3725FA-C6D4-4D2F-834B-236FE935B47B}"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20349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Calibri" panose="020F0502020204030204" pitchFamily="34" charset="0"/>
              </a:rPr>
              <a:t>En </a:t>
            </a:r>
            <a:r>
              <a:rPr lang="en-US" sz="1800" dirty="0" err="1">
                <a:effectLst/>
                <a:latin typeface="Calibri" panose="020F0502020204030204" pitchFamily="34" charset="0"/>
                <a:ea typeface="Calibri" panose="020F0502020204030204" pitchFamily="34" charset="0"/>
              </a:rPr>
              <a:t>zie</a:t>
            </a:r>
            <a:r>
              <a:rPr lang="en-US" sz="1800" dirty="0">
                <a:effectLst/>
                <a:latin typeface="Calibri" panose="020F0502020204030204" pitchFamily="34" charset="0"/>
                <a:ea typeface="Calibri" panose="020F0502020204030204" pitchFamily="34" charset="0"/>
              </a:rPr>
              <a:t> </a:t>
            </a:r>
            <a:r>
              <a:rPr lang="en-US" sz="1800" dirty="0" err="1">
                <a:effectLst/>
                <a:latin typeface="Calibri" panose="020F0502020204030204" pitchFamily="34" charset="0"/>
                <a:ea typeface="Calibri" panose="020F0502020204030204" pitchFamily="34" charset="0"/>
              </a:rPr>
              <a:t>ik</a:t>
            </a:r>
            <a:r>
              <a:rPr lang="en-US" sz="1800" dirty="0">
                <a:effectLst/>
                <a:latin typeface="Calibri" panose="020F0502020204030204" pitchFamily="34" charset="0"/>
                <a:ea typeface="Calibri" panose="020F0502020204030204" pitchFamily="34" charset="0"/>
              </a:rPr>
              <a:t> </a:t>
            </a:r>
            <a:r>
              <a:rPr lang="en-US" sz="1800" dirty="0" err="1">
                <a:effectLst/>
                <a:latin typeface="Calibri" panose="020F0502020204030204" pitchFamily="34" charset="0"/>
                <a:ea typeface="Calibri" panose="020F0502020204030204" pitchFamily="34" charset="0"/>
              </a:rPr>
              <a:t>regelmatig</a:t>
            </a:r>
            <a:r>
              <a:rPr lang="en-US" sz="1800" dirty="0">
                <a:effectLst/>
                <a:latin typeface="Calibri" panose="020F0502020204030204" pitchFamily="34" charset="0"/>
                <a:ea typeface="Calibri" panose="020F0502020204030204" pitchFamily="34" charset="0"/>
              </a:rPr>
              <a:t> </a:t>
            </a:r>
            <a:r>
              <a:rPr lang="en-US" sz="1800" dirty="0" err="1">
                <a:effectLst/>
                <a:latin typeface="Calibri" panose="020F0502020204030204" pitchFamily="34" charset="0"/>
                <a:ea typeface="Calibri" panose="020F0502020204030204" pitchFamily="34" charset="0"/>
              </a:rPr>
              <a:t>nog</a:t>
            </a:r>
            <a:r>
              <a:rPr lang="en-US" sz="1800" dirty="0">
                <a:effectLst/>
                <a:latin typeface="Calibri" panose="020F0502020204030204" pitchFamily="34" charset="0"/>
                <a:ea typeface="Calibri" panose="020F0502020204030204" pitchFamily="34" charset="0"/>
              </a:rPr>
              <a:t> </a:t>
            </a:r>
            <a:r>
              <a:rPr lang="en-US" sz="1800" dirty="0" err="1">
                <a:effectLst/>
                <a:latin typeface="Calibri" panose="020F0502020204030204" pitchFamily="34" charset="0"/>
                <a:ea typeface="Calibri" panose="020F0502020204030204" pitchFamily="34" charset="0"/>
              </a:rPr>
              <a:t>dit</a:t>
            </a:r>
            <a:r>
              <a:rPr lang="en-US" sz="1800" dirty="0">
                <a:effectLst/>
                <a:latin typeface="Calibri" panose="020F0502020204030204" pitchFamily="34" charset="0"/>
                <a:ea typeface="Calibri" panose="020F0502020204030204" pitchFamily="34" charset="0"/>
              </a:rPr>
              <a:t>! Midden in de </a:t>
            </a:r>
            <a:r>
              <a:rPr lang="en-US" sz="1800" dirty="0" err="1">
                <a:effectLst/>
                <a:latin typeface="Calibri" panose="020F0502020204030204" pitchFamily="34" charset="0"/>
                <a:ea typeface="Calibri" panose="020F0502020204030204" pitchFamily="34" charset="0"/>
              </a:rPr>
              <a:t>nacht</a:t>
            </a:r>
            <a:r>
              <a:rPr lang="en-US" sz="1800" dirty="0">
                <a:effectLst/>
                <a:latin typeface="Calibri" panose="020F0502020204030204" pitchFamily="34" charset="0"/>
                <a:ea typeface="Calibri" panose="020F0502020204030204" pitchFamily="34" charset="0"/>
              </a:rPr>
              <a:t>, </a:t>
            </a:r>
            <a:r>
              <a:rPr lang="en-US" sz="1800" dirty="0" err="1">
                <a:effectLst/>
                <a:latin typeface="Calibri" panose="020F0502020204030204" pitchFamily="34" charset="0"/>
                <a:ea typeface="Calibri" panose="020F0502020204030204" pitchFamily="34" charset="0"/>
              </a:rPr>
              <a:t>geen</a:t>
            </a:r>
            <a:r>
              <a:rPr lang="en-US" sz="1800" dirty="0">
                <a:effectLst/>
                <a:latin typeface="Calibri" panose="020F0502020204030204" pitchFamily="34" charset="0"/>
                <a:ea typeface="Calibri" panose="020F0502020204030204" pitchFamily="34" charset="0"/>
              </a:rPr>
              <a:t> </a:t>
            </a:r>
            <a:r>
              <a:rPr lang="en-US" sz="1800" dirty="0" err="1">
                <a:effectLst/>
                <a:latin typeface="Calibri" panose="020F0502020204030204" pitchFamily="34" charset="0"/>
                <a:ea typeface="Calibri" panose="020F0502020204030204" pitchFamily="34" charset="0"/>
              </a:rPr>
              <a:t>werkende</a:t>
            </a:r>
            <a:r>
              <a:rPr lang="en-US" sz="1800" dirty="0">
                <a:effectLst/>
                <a:latin typeface="Calibri" panose="020F0502020204030204" pitchFamily="34" charset="0"/>
                <a:ea typeface="Calibri" panose="020F0502020204030204" pitchFamily="34" charset="0"/>
              </a:rPr>
              <a:t> </a:t>
            </a:r>
            <a:r>
              <a:rPr lang="en-US" sz="1800" dirty="0" err="1">
                <a:effectLst/>
                <a:latin typeface="Calibri" panose="020F0502020204030204" pitchFamily="34" charset="0"/>
                <a:ea typeface="Calibri" panose="020F0502020204030204" pitchFamily="34" charset="0"/>
              </a:rPr>
              <a:t>mens</a:t>
            </a:r>
            <a:r>
              <a:rPr lang="en-US" sz="1800" dirty="0">
                <a:effectLst/>
                <a:latin typeface="Calibri" panose="020F0502020204030204" pitchFamily="34" charset="0"/>
                <a:ea typeface="Calibri" panose="020F0502020204030204" pitchFamily="34" charset="0"/>
              </a:rPr>
              <a:t> </a:t>
            </a:r>
            <a:r>
              <a:rPr lang="en-US" sz="1800" dirty="0" err="1">
                <a:effectLst/>
                <a:latin typeface="Calibri" panose="020F0502020204030204" pitchFamily="34" charset="0"/>
                <a:ea typeface="Calibri" panose="020F0502020204030204" pitchFamily="34" charset="0"/>
              </a:rPr>
              <a:t>te</a:t>
            </a:r>
            <a:r>
              <a:rPr lang="en-US" sz="1800" dirty="0">
                <a:effectLst/>
                <a:latin typeface="Calibri" panose="020F0502020204030204" pitchFamily="34" charset="0"/>
                <a:ea typeface="Calibri" panose="020F0502020204030204" pitchFamily="34" charset="0"/>
              </a:rPr>
              <a:t> </a:t>
            </a:r>
            <a:r>
              <a:rPr lang="en-US" sz="1800" dirty="0" err="1">
                <a:effectLst/>
                <a:latin typeface="Calibri" panose="020F0502020204030204" pitchFamily="34" charset="0"/>
                <a:ea typeface="Calibri" panose="020F0502020204030204" pitchFamily="34" charset="0"/>
              </a:rPr>
              <a:t>zien</a:t>
            </a:r>
            <a:r>
              <a:rPr lang="en-US" sz="1800" dirty="0">
                <a:effectLst/>
                <a:latin typeface="Calibri" panose="020F0502020204030204" pitchFamily="34" charset="0"/>
                <a:ea typeface="Calibri" panose="020F0502020204030204" pitchFamily="34" charset="0"/>
              </a:rPr>
              <a:t> in de </a:t>
            </a:r>
            <a:r>
              <a:rPr lang="en-US" sz="1800" dirty="0" err="1">
                <a:effectLst/>
                <a:latin typeface="Calibri" panose="020F0502020204030204" pitchFamily="34" charset="0"/>
                <a:ea typeface="Calibri" panose="020F0502020204030204" pitchFamily="34" charset="0"/>
              </a:rPr>
              <a:t>gebouwen</a:t>
            </a:r>
            <a:r>
              <a:rPr lang="en-US" sz="1800" dirty="0">
                <a:effectLst/>
                <a:latin typeface="Calibri" panose="020F0502020204030204" pitchFamily="34" charset="0"/>
                <a:ea typeface="Calibri" panose="020F0502020204030204" pitchFamily="34" charset="0"/>
              </a:rPr>
              <a:t> </a:t>
            </a:r>
            <a:r>
              <a:rPr lang="en-US" sz="1800" dirty="0" err="1">
                <a:effectLst/>
                <a:latin typeface="Calibri" panose="020F0502020204030204" pitchFamily="34" charset="0"/>
                <a:ea typeface="Calibri" panose="020F0502020204030204" pitchFamily="34" charset="0"/>
              </a:rPr>
              <a:t>en</a:t>
            </a:r>
            <a:r>
              <a:rPr lang="en-US" sz="1800" dirty="0">
                <a:effectLst/>
                <a:latin typeface="Calibri" panose="020F0502020204030204" pitchFamily="34" charset="0"/>
                <a:ea typeface="Calibri" panose="020F0502020204030204" pitchFamily="34" charset="0"/>
              </a:rPr>
              <a:t> </a:t>
            </a:r>
            <a:r>
              <a:rPr lang="en-US" sz="1800" dirty="0" err="1">
                <a:effectLst/>
                <a:latin typeface="Calibri" panose="020F0502020204030204" pitchFamily="34" charset="0"/>
                <a:ea typeface="Calibri" panose="020F0502020204030204" pitchFamily="34" charset="0"/>
              </a:rPr>
              <a:t>toch</a:t>
            </a:r>
            <a:r>
              <a:rPr lang="en-US" sz="1800" dirty="0">
                <a:effectLst/>
                <a:latin typeface="Calibri" panose="020F0502020204030204" pitchFamily="34" charset="0"/>
                <a:ea typeface="Calibri" panose="020F0502020204030204" pitchFamily="34" charset="0"/>
              </a:rPr>
              <a:t> </a:t>
            </a:r>
            <a:r>
              <a:rPr lang="en-US" sz="1800" dirty="0" err="1">
                <a:effectLst/>
                <a:latin typeface="Calibri" panose="020F0502020204030204" pitchFamily="34" charset="0"/>
                <a:ea typeface="Calibri" panose="020F0502020204030204" pitchFamily="34" charset="0"/>
              </a:rPr>
              <a:t>brandt</a:t>
            </a:r>
            <a:r>
              <a:rPr lang="en-US" sz="1800" dirty="0">
                <a:effectLst/>
                <a:latin typeface="Calibri" panose="020F0502020204030204" pitchFamily="34" charset="0"/>
                <a:ea typeface="Calibri" panose="020F0502020204030204" pitchFamily="34" charset="0"/>
              </a:rPr>
              <a:t> het </a:t>
            </a:r>
            <a:r>
              <a:rPr lang="en-US" sz="1800" dirty="0" err="1">
                <a:effectLst/>
                <a:latin typeface="Calibri" panose="020F0502020204030204" pitchFamily="34" charset="0"/>
                <a:ea typeface="Calibri" panose="020F0502020204030204" pitchFamily="34" charset="0"/>
              </a:rPr>
              <a:t>licht</a:t>
            </a:r>
            <a:r>
              <a:rPr lang="en-US" sz="1800" dirty="0">
                <a:effectLst/>
                <a:latin typeface="Calibri" panose="020F0502020204030204" pitchFamily="34" charset="0"/>
                <a:ea typeface="Calibri" panose="020F0502020204030204" pitchFamily="34" charset="0"/>
              </a:rPr>
              <a:t>. </a:t>
            </a:r>
            <a:r>
              <a:rPr lang="en-US" sz="1800" dirty="0" err="1">
                <a:effectLst/>
                <a:latin typeface="Calibri" panose="020F0502020204030204" pitchFamily="34" charset="0"/>
                <a:ea typeface="Calibri" panose="020F0502020204030204" pitchFamily="34" charset="0"/>
              </a:rPr>
              <a:t>Bedrijfskantoren</a:t>
            </a:r>
            <a:r>
              <a:rPr lang="en-US" sz="1800" dirty="0">
                <a:effectLst/>
                <a:latin typeface="Calibri" panose="020F0502020204030204" pitchFamily="34" charset="0"/>
                <a:ea typeface="Calibri" panose="020F0502020204030204" pitchFamily="34" charset="0"/>
              </a:rPr>
              <a:t> maar </a:t>
            </a:r>
            <a:r>
              <a:rPr lang="en-US" sz="1800" dirty="0" err="1">
                <a:effectLst/>
                <a:latin typeface="Calibri" panose="020F0502020204030204" pitchFamily="34" charset="0"/>
                <a:ea typeface="Calibri" panose="020F0502020204030204" pitchFamily="34" charset="0"/>
              </a:rPr>
              <a:t>ook</a:t>
            </a:r>
            <a:r>
              <a:rPr lang="en-US" sz="1800" dirty="0">
                <a:effectLst/>
                <a:latin typeface="Calibri" panose="020F0502020204030204" pitchFamily="34" charset="0"/>
                <a:ea typeface="Calibri" panose="020F0502020204030204" pitchFamily="34" charset="0"/>
              </a:rPr>
              <a:t> </a:t>
            </a:r>
            <a:r>
              <a:rPr lang="en-US" sz="1800" dirty="0" err="1">
                <a:effectLst/>
                <a:latin typeface="Calibri" panose="020F0502020204030204" pitchFamily="34" charset="0"/>
                <a:ea typeface="Calibri" panose="020F0502020204030204" pitchFamily="34" charset="0"/>
              </a:rPr>
              <a:t>publieke</a:t>
            </a:r>
            <a:r>
              <a:rPr lang="en-US" sz="1800" dirty="0">
                <a:effectLst/>
                <a:latin typeface="Calibri" panose="020F0502020204030204" pitchFamily="34" charset="0"/>
                <a:ea typeface="Calibri" panose="020F0502020204030204" pitchFamily="34" charset="0"/>
              </a:rPr>
              <a:t> </a:t>
            </a:r>
            <a:r>
              <a:rPr lang="en-US" sz="1800" dirty="0" err="1">
                <a:effectLst/>
                <a:latin typeface="Calibri" panose="020F0502020204030204" pitchFamily="34" charset="0"/>
                <a:ea typeface="Calibri" panose="020F0502020204030204" pitchFamily="34" charset="0"/>
              </a:rPr>
              <a:t>gebouwen</a:t>
            </a:r>
            <a:r>
              <a:rPr lang="en-US" sz="1800" dirty="0">
                <a:effectLst/>
                <a:latin typeface="Calibri" panose="020F0502020204030204" pitchFamily="34" charset="0"/>
                <a:ea typeface="Calibri" panose="020F0502020204030204" pitchFamily="34" charset="0"/>
              </a:rPr>
              <a:t>, </a:t>
            </a:r>
            <a:r>
              <a:rPr lang="en-US" sz="1800" dirty="0" err="1">
                <a:effectLst/>
                <a:latin typeface="Calibri" panose="020F0502020204030204" pitchFamily="34" charset="0"/>
                <a:ea typeface="Calibri" panose="020F0502020204030204" pitchFamily="34" charset="0"/>
              </a:rPr>
              <a:t>scholen</a:t>
            </a:r>
            <a:r>
              <a:rPr lang="en-US" sz="1800" dirty="0">
                <a:effectLst/>
                <a:latin typeface="Calibri" panose="020F0502020204030204" pitchFamily="34" charset="0"/>
                <a:ea typeface="Calibri" panose="020F0502020204030204" pitchFamily="34" charset="0"/>
              </a:rPr>
              <a:t>, etc. </a:t>
            </a:r>
          </a:p>
          <a:p>
            <a:r>
              <a:rPr lang="en-US" sz="1800" dirty="0">
                <a:effectLst/>
                <a:latin typeface="Calibri" panose="020F0502020204030204" pitchFamily="34" charset="0"/>
                <a:ea typeface="Calibri" panose="020F0502020204030204" pitchFamily="34" charset="0"/>
              </a:rPr>
              <a:t>Er </a:t>
            </a:r>
            <a:r>
              <a:rPr lang="en-US" sz="1800" dirty="0" err="1">
                <a:effectLst/>
                <a:latin typeface="Calibri" panose="020F0502020204030204" pitchFamily="34" charset="0"/>
                <a:ea typeface="Calibri" panose="020F0502020204030204" pitchFamily="34" charset="0"/>
              </a:rPr>
              <a:t>wordt</a:t>
            </a:r>
            <a:r>
              <a:rPr lang="en-US" sz="1800" dirty="0">
                <a:effectLst/>
                <a:latin typeface="Calibri" panose="020F0502020204030204" pitchFamily="34" charset="0"/>
                <a:ea typeface="Calibri" panose="020F0502020204030204" pitchFamily="34" charset="0"/>
              </a:rPr>
              <a:t> al heel </a:t>
            </a:r>
            <a:r>
              <a:rPr lang="en-US" sz="1800" dirty="0" err="1">
                <a:effectLst/>
                <a:latin typeface="Calibri" panose="020F0502020204030204" pitchFamily="34" charset="0"/>
                <a:ea typeface="Calibri" panose="020F0502020204030204" pitchFamily="34" charset="0"/>
              </a:rPr>
              <a:t>veel</a:t>
            </a:r>
            <a:r>
              <a:rPr lang="en-US" sz="1800" dirty="0">
                <a:effectLst/>
                <a:latin typeface="Calibri" panose="020F0502020204030204" pitchFamily="34" charset="0"/>
                <a:ea typeface="Calibri" panose="020F0502020204030204" pitchFamily="34" charset="0"/>
              </a:rPr>
              <a:t> </a:t>
            </a:r>
            <a:r>
              <a:rPr lang="en-US" sz="1800" dirty="0" err="1">
                <a:effectLst/>
                <a:latin typeface="Calibri" panose="020F0502020204030204" pitchFamily="34" charset="0"/>
                <a:ea typeface="Calibri" panose="020F0502020204030204" pitchFamily="34" charset="0"/>
              </a:rPr>
              <a:t>gedaan</a:t>
            </a:r>
            <a:r>
              <a:rPr lang="en-US" sz="1800" dirty="0">
                <a:effectLst/>
                <a:latin typeface="Calibri" panose="020F0502020204030204" pitchFamily="34" charset="0"/>
                <a:ea typeface="Calibri" panose="020F0502020204030204" pitchFamily="34" charset="0"/>
              </a:rPr>
              <a:t> om </a:t>
            </a:r>
            <a:r>
              <a:rPr lang="en-US" sz="1800" dirty="0" err="1">
                <a:effectLst/>
                <a:latin typeface="Calibri" panose="020F0502020204030204" pitchFamily="34" charset="0"/>
                <a:ea typeface="Calibri" panose="020F0502020204030204" pitchFamily="34" charset="0"/>
              </a:rPr>
              <a:t>energie</a:t>
            </a:r>
            <a:r>
              <a:rPr lang="en-US" sz="1800" dirty="0">
                <a:effectLst/>
                <a:latin typeface="Calibri" panose="020F0502020204030204" pitchFamily="34" charset="0"/>
                <a:ea typeface="Calibri" panose="020F0502020204030204" pitchFamily="34" charset="0"/>
              </a:rPr>
              <a:t> </a:t>
            </a:r>
            <a:r>
              <a:rPr lang="en-US" sz="1800" dirty="0" err="1">
                <a:effectLst/>
                <a:latin typeface="Calibri" panose="020F0502020204030204" pitchFamily="34" charset="0"/>
                <a:ea typeface="Calibri" panose="020F0502020204030204" pitchFamily="34" charset="0"/>
              </a:rPr>
              <a:t>te</a:t>
            </a:r>
            <a:r>
              <a:rPr lang="en-US" sz="1800" dirty="0">
                <a:effectLst/>
                <a:latin typeface="Calibri" panose="020F0502020204030204" pitchFamily="34" charset="0"/>
                <a:ea typeface="Calibri" panose="020F0502020204030204" pitchFamily="34" charset="0"/>
              </a:rPr>
              <a:t> </a:t>
            </a:r>
            <a:r>
              <a:rPr lang="en-US" sz="1800" dirty="0" err="1">
                <a:effectLst/>
                <a:latin typeface="Calibri" panose="020F0502020204030204" pitchFamily="34" charset="0"/>
                <a:ea typeface="Calibri" panose="020F0502020204030204" pitchFamily="34" charset="0"/>
              </a:rPr>
              <a:t>besparen</a:t>
            </a:r>
            <a:r>
              <a:rPr lang="en-US" sz="1800" dirty="0">
                <a:effectLst/>
                <a:latin typeface="Calibri" panose="020F0502020204030204" pitchFamily="34" charset="0"/>
                <a:ea typeface="Calibri" panose="020F0502020204030204" pitchFamily="34" charset="0"/>
              </a:rPr>
              <a:t>. Toch </a:t>
            </a:r>
            <a:r>
              <a:rPr lang="en-US" sz="1800" dirty="0" err="1">
                <a:effectLst/>
                <a:latin typeface="Calibri" panose="020F0502020204030204" pitchFamily="34" charset="0"/>
                <a:ea typeface="Calibri" panose="020F0502020204030204" pitchFamily="34" charset="0"/>
              </a:rPr>
              <a:t>zien</a:t>
            </a:r>
            <a:r>
              <a:rPr lang="en-US" sz="1800" dirty="0">
                <a:effectLst/>
                <a:latin typeface="Calibri" panose="020F0502020204030204" pitchFamily="34" charset="0"/>
                <a:ea typeface="Calibri" panose="020F0502020204030204" pitchFamily="34" charset="0"/>
              </a:rPr>
              <a:t> we </a:t>
            </a:r>
            <a:r>
              <a:rPr lang="en-US" sz="1800" dirty="0" err="1">
                <a:effectLst/>
                <a:latin typeface="Calibri" panose="020F0502020204030204" pitchFamily="34" charset="0"/>
                <a:ea typeface="Calibri" panose="020F0502020204030204" pitchFamily="34" charset="0"/>
              </a:rPr>
              <a:t>nog</a:t>
            </a:r>
            <a:r>
              <a:rPr lang="en-US" sz="1800" dirty="0">
                <a:effectLst/>
                <a:latin typeface="Calibri" panose="020F0502020204030204" pitchFamily="34" charset="0"/>
                <a:ea typeface="Calibri" panose="020F0502020204030204" pitchFamily="34" charset="0"/>
              </a:rPr>
              <a:t> </a:t>
            </a:r>
            <a:r>
              <a:rPr lang="en-US" sz="1800" dirty="0" err="1">
                <a:effectLst/>
                <a:latin typeface="Calibri" panose="020F0502020204030204" pitchFamily="34" charset="0"/>
                <a:ea typeface="Calibri" panose="020F0502020204030204" pitchFamily="34" charset="0"/>
              </a:rPr>
              <a:t>te</a:t>
            </a:r>
            <a:r>
              <a:rPr lang="en-US" sz="1800" dirty="0">
                <a:effectLst/>
                <a:latin typeface="Calibri" panose="020F0502020204030204" pitchFamily="34" charset="0"/>
                <a:ea typeface="Calibri" panose="020F0502020204030204" pitchFamily="34" charset="0"/>
              </a:rPr>
              <a:t> </a:t>
            </a:r>
            <a:r>
              <a:rPr lang="en-US" sz="1800" dirty="0" err="1">
                <a:effectLst/>
                <a:latin typeface="Calibri" panose="020F0502020204030204" pitchFamily="34" charset="0"/>
                <a:ea typeface="Calibri" panose="020F0502020204030204" pitchFamily="34" charset="0"/>
              </a:rPr>
              <a:t>veel</a:t>
            </a:r>
            <a:r>
              <a:rPr lang="en-US" sz="1800" dirty="0">
                <a:effectLst/>
                <a:latin typeface="Calibri" panose="020F0502020204030204" pitchFamily="34" charset="0"/>
                <a:ea typeface="Calibri" panose="020F0502020204030204" pitchFamily="34" charset="0"/>
              </a:rPr>
              <a:t> </a:t>
            </a:r>
            <a:r>
              <a:rPr lang="en-US" sz="1800" dirty="0" err="1">
                <a:effectLst/>
                <a:latin typeface="Calibri" panose="020F0502020204030204" pitchFamily="34" charset="0"/>
                <a:ea typeface="Calibri" panose="020F0502020204030204" pitchFamily="34" charset="0"/>
              </a:rPr>
              <a:t>gebouwen</a:t>
            </a:r>
            <a:r>
              <a:rPr lang="en-US" sz="1800" dirty="0">
                <a:effectLst/>
                <a:latin typeface="Calibri" panose="020F0502020204030204" pitchFamily="34" charset="0"/>
                <a:ea typeface="Calibri" panose="020F0502020204030204" pitchFamily="34" charset="0"/>
              </a:rPr>
              <a:t> die </a:t>
            </a:r>
            <a:r>
              <a:rPr lang="en-US" sz="1800" dirty="0" err="1">
                <a:effectLst/>
                <a:latin typeface="Calibri" panose="020F0502020204030204" pitchFamily="34" charset="0"/>
                <a:ea typeface="Calibri" panose="020F0502020204030204" pitchFamily="34" charset="0"/>
              </a:rPr>
              <a:t>onnodig</a:t>
            </a:r>
            <a:r>
              <a:rPr lang="en-US" sz="1800" dirty="0">
                <a:effectLst/>
                <a:latin typeface="Calibri" panose="020F0502020204030204" pitchFamily="34" charset="0"/>
                <a:ea typeface="Calibri" panose="020F0502020204030204" pitchFamily="34" charset="0"/>
              </a:rPr>
              <a:t> </a:t>
            </a:r>
            <a:r>
              <a:rPr lang="en-US" sz="1800" dirty="0" err="1">
                <a:effectLst/>
                <a:latin typeface="Calibri" panose="020F0502020204030204" pitchFamily="34" charset="0"/>
                <a:ea typeface="Calibri" panose="020F0502020204030204" pitchFamily="34" charset="0"/>
              </a:rPr>
              <a:t>verlicht</a:t>
            </a:r>
            <a:r>
              <a:rPr lang="en-US" sz="1800" dirty="0">
                <a:effectLst/>
                <a:latin typeface="Calibri" panose="020F0502020204030204" pitchFamily="34" charset="0"/>
                <a:ea typeface="Calibri" panose="020F0502020204030204" pitchFamily="34" charset="0"/>
              </a:rPr>
              <a:t> </a:t>
            </a:r>
            <a:r>
              <a:rPr lang="en-US" sz="1800" dirty="0" err="1">
                <a:effectLst/>
                <a:latin typeface="Calibri" panose="020F0502020204030204" pitchFamily="34" charset="0"/>
                <a:ea typeface="Calibri" panose="020F0502020204030204" pitchFamily="34" charset="0"/>
              </a:rPr>
              <a:t>zijn</a:t>
            </a:r>
            <a:r>
              <a:rPr lang="en-US" sz="1800" dirty="0">
                <a:effectLst/>
                <a:latin typeface="Calibri" panose="020F0502020204030204" pitchFamily="34" charset="0"/>
                <a:ea typeface="Calibri" panose="020F0502020204030204" pitchFamily="34" charset="0"/>
              </a:rPr>
              <a:t>. </a:t>
            </a:r>
            <a:endParaRPr lang="en-BE" dirty="0"/>
          </a:p>
        </p:txBody>
      </p:sp>
      <p:sp>
        <p:nvSpPr>
          <p:cNvPr id="4" name="Slide Number Placeholder 3"/>
          <p:cNvSpPr>
            <a:spLocks noGrp="1"/>
          </p:cNvSpPr>
          <p:nvPr>
            <p:ph type="sldNum" sz="quarter" idx="5"/>
          </p:nvPr>
        </p:nvSpPr>
        <p:spPr/>
        <p:txBody>
          <a:bodyPr/>
          <a:lstStyle/>
          <a:p>
            <a:fld id="{EB76CC90-A44C-4E13-BEC7-0F8CA1F95A1E}" type="slidenum">
              <a:rPr lang="en-US" smtClean="0"/>
              <a:t>3</a:t>
            </a:fld>
            <a:endParaRPr lang="en-US" dirty="0"/>
          </a:p>
        </p:txBody>
      </p:sp>
    </p:spTree>
    <p:extLst>
      <p:ext uri="{BB962C8B-B14F-4D97-AF65-F5344CB8AC3E}">
        <p14:creationId xmlns:p14="http://schemas.microsoft.com/office/powerpoint/2010/main" val="20018622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dirty="0"/>
          </a:p>
        </p:txBody>
      </p:sp>
      <p:sp>
        <p:nvSpPr>
          <p:cNvPr id="4" name="Slide Number Placeholder 3"/>
          <p:cNvSpPr>
            <a:spLocks noGrp="1"/>
          </p:cNvSpPr>
          <p:nvPr>
            <p:ph type="sldNum" sz="quarter" idx="5"/>
          </p:nvPr>
        </p:nvSpPr>
        <p:spPr/>
        <p:txBody>
          <a:bodyPr/>
          <a:lstStyle/>
          <a:p>
            <a:fld id="{2D7A1C87-64FC-48FB-8C9A-F39762358785}" type="slidenum">
              <a:rPr lang="nl-NL" smtClean="0"/>
              <a:t>4</a:t>
            </a:fld>
            <a:endParaRPr lang="nl-NL"/>
          </a:p>
        </p:txBody>
      </p:sp>
    </p:spTree>
    <p:extLst>
      <p:ext uri="{BB962C8B-B14F-4D97-AF65-F5344CB8AC3E}">
        <p14:creationId xmlns:p14="http://schemas.microsoft.com/office/powerpoint/2010/main" val="8110158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ople, profit, Planet. Or how can it saves money uses less raw materials and improves the well being of people </a:t>
            </a:r>
            <a:endParaRPr lang="en-BE" dirty="0"/>
          </a:p>
        </p:txBody>
      </p:sp>
      <p:sp>
        <p:nvSpPr>
          <p:cNvPr id="4" name="Slide Number Placeholder 3"/>
          <p:cNvSpPr>
            <a:spLocks noGrp="1"/>
          </p:cNvSpPr>
          <p:nvPr>
            <p:ph type="sldNum" sz="quarter" idx="5"/>
          </p:nvPr>
        </p:nvSpPr>
        <p:spPr/>
        <p:txBody>
          <a:bodyPr/>
          <a:lstStyle/>
          <a:p>
            <a:fld id="{2D7A1C87-64FC-48FB-8C9A-F39762358785}" type="slidenum">
              <a:rPr lang="nl-NL" smtClean="0"/>
              <a:t>5</a:t>
            </a:fld>
            <a:endParaRPr lang="nl-NL"/>
          </a:p>
        </p:txBody>
      </p:sp>
    </p:spTree>
    <p:extLst>
      <p:ext uri="{BB962C8B-B14F-4D97-AF65-F5344CB8AC3E}">
        <p14:creationId xmlns:p14="http://schemas.microsoft.com/office/powerpoint/2010/main" val="27091314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impact of light on human being is huge. I don’t know how happy you feel about switching back to </a:t>
            </a:r>
            <a:r>
              <a:rPr lang="en-US" b="1" dirty="0"/>
              <a:t>summertime,</a:t>
            </a:r>
            <a:r>
              <a:rPr lang="en-US" dirty="0"/>
              <a:t> that we have more light again. What a </a:t>
            </a:r>
            <a:r>
              <a:rPr lang="en-US" b="1" dirty="0"/>
              <a:t>sunrise </a:t>
            </a:r>
            <a:r>
              <a:rPr lang="en-US" dirty="0"/>
              <a:t>can do with us. </a:t>
            </a:r>
            <a:r>
              <a:rPr lang="en-US" b="1" dirty="0"/>
              <a:t>The power of light, is the power of Live</a:t>
            </a:r>
            <a:endParaRPr lang="en-BE" b="1" dirty="0"/>
          </a:p>
        </p:txBody>
      </p:sp>
      <p:sp>
        <p:nvSpPr>
          <p:cNvPr id="4" name="Slide Number Placeholder 3"/>
          <p:cNvSpPr>
            <a:spLocks noGrp="1"/>
          </p:cNvSpPr>
          <p:nvPr>
            <p:ph type="sldNum" sz="quarter" idx="5"/>
          </p:nvPr>
        </p:nvSpPr>
        <p:spPr/>
        <p:txBody>
          <a:bodyPr/>
          <a:lstStyle/>
          <a:p>
            <a:fld id="{2D7A1C87-64FC-48FB-8C9A-F39762358785}" type="slidenum">
              <a:rPr lang="nl-NL" smtClean="0"/>
              <a:t>6</a:t>
            </a:fld>
            <a:endParaRPr lang="nl-NL"/>
          </a:p>
        </p:txBody>
      </p:sp>
    </p:spTree>
    <p:extLst>
      <p:ext uri="{BB962C8B-B14F-4D97-AF65-F5344CB8AC3E}">
        <p14:creationId xmlns:p14="http://schemas.microsoft.com/office/powerpoint/2010/main" val="28884305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Image you have to study all day in a room with no light, how do you feel after such a day. What is your </a:t>
            </a:r>
            <a:r>
              <a:rPr lang="nl-NL" b="1" dirty="0"/>
              <a:t>energy level. </a:t>
            </a:r>
            <a:r>
              <a:rPr lang="nl-NL" dirty="0"/>
              <a:t>We are </a:t>
            </a:r>
            <a:r>
              <a:rPr lang="nl-NL" b="1" dirty="0"/>
              <a:t>spending 80 % of the time inside </a:t>
            </a:r>
            <a:r>
              <a:rPr lang="nl-NL" dirty="0"/>
              <a:t>(during summer it’s less). </a:t>
            </a:r>
          </a:p>
        </p:txBody>
      </p:sp>
      <p:sp>
        <p:nvSpPr>
          <p:cNvPr id="4" name="Slide Number Placeholder 3"/>
          <p:cNvSpPr>
            <a:spLocks noGrp="1"/>
          </p:cNvSpPr>
          <p:nvPr>
            <p:ph type="sldNum" sz="quarter" idx="5"/>
          </p:nvPr>
        </p:nvSpPr>
        <p:spPr/>
        <p:txBody>
          <a:bodyPr/>
          <a:lstStyle/>
          <a:p>
            <a:fld id="{2D7A1C87-64FC-48FB-8C9A-F39762358785}" type="slidenum">
              <a:rPr lang="nl-NL" smtClean="0"/>
              <a:t>7</a:t>
            </a:fld>
            <a:endParaRPr lang="nl-NL"/>
          </a:p>
        </p:txBody>
      </p:sp>
    </p:spTree>
    <p:extLst>
      <p:ext uri="{BB962C8B-B14F-4D97-AF65-F5344CB8AC3E}">
        <p14:creationId xmlns:p14="http://schemas.microsoft.com/office/powerpoint/2010/main" val="21264414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Een Smart Building is niet alleen slim, het moet ook duurzaam zijn en het moet ook een gezonde werkplek aanbieden.</a:t>
            </a:r>
          </a:p>
          <a:p>
            <a:endParaRPr lang="nl-BE" dirty="0"/>
          </a:p>
          <a:p>
            <a:r>
              <a:rPr lang="nl-BE" dirty="0"/>
              <a:t>Gezonde lucht is belangrijk. Vermijden van lawaai is belangrijk.</a:t>
            </a:r>
          </a:p>
          <a:p>
            <a:r>
              <a:rPr lang="nl-BE" dirty="0"/>
              <a:t>Maar ook het belang van licht mag niet onderschat worden. Want licht doet veel meer dan ons helpen zien. Het heeft invloed op hoe we ons voelen en hoe we functioneren. </a:t>
            </a:r>
          </a:p>
          <a:p>
            <a:pPr marL="0" marR="0" lvl="0" indent="0" algn="l" defTabSz="914400" rtl="0" eaLnBrk="1" fontAlgn="auto" latinLnBrk="0" hangingPunct="1">
              <a:lnSpc>
                <a:spcPct val="100000"/>
              </a:lnSpc>
              <a:spcBef>
                <a:spcPts val="0"/>
              </a:spcBef>
              <a:spcAft>
                <a:spcPts val="0"/>
              </a:spcAft>
              <a:buClrTx/>
              <a:buSzTx/>
              <a:buFontTx/>
              <a:buNone/>
              <a:tabLst/>
              <a:defRPr/>
            </a:pPr>
            <a:r>
              <a:rPr lang="nl-NL" sz="1200" dirty="0">
                <a:solidFill>
                  <a:srgbClr val="000000"/>
                </a:solidFill>
                <a:effectLst/>
                <a:latin typeface="Calibri" panose="020F0502020204030204" pitchFamily="34" charset="0"/>
                <a:ea typeface="Times New Roman" panose="02020603050405020304" pitchFamily="18" charset="0"/>
              </a:rPr>
              <a:t>Er is steeds meer wetenschappelijk inzicht is in hoe licht ons slaap/waak ritme bepaald, hoe het de interne klok ook onze organen regelt, wat het effect is op ons metabolisme, herstelproces, hartslag en bloeddruk... </a:t>
            </a:r>
          </a:p>
          <a:p>
            <a:pPr marL="0" marR="0" lvl="0" indent="0" algn="l" defTabSz="914400" rtl="0" eaLnBrk="1" fontAlgn="auto" latinLnBrk="0" hangingPunct="1">
              <a:lnSpc>
                <a:spcPct val="100000"/>
              </a:lnSpc>
              <a:spcBef>
                <a:spcPts val="0"/>
              </a:spcBef>
              <a:spcAft>
                <a:spcPts val="0"/>
              </a:spcAft>
              <a:buClrTx/>
              <a:buSzTx/>
              <a:buFontTx/>
              <a:buNone/>
              <a:tabLst/>
              <a:defRPr/>
            </a:pPr>
            <a:r>
              <a:rPr lang="nl-NL" sz="1200" dirty="0">
                <a:solidFill>
                  <a:srgbClr val="000000"/>
                </a:solidFill>
                <a:effectLst/>
                <a:latin typeface="Calibri" panose="020F0502020204030204" pitchFamily="34" charset="0"/>
                <a:ea typeface="Times New Roman" panose="02020603050405020304" pitchFamily="18" charset="0"/>
              </a:rPr>
              <a:t>Dat is ook niet zo vreemd, we zijn nog altijd biologische wezens die duizenden jaren buiten hebben geleefd, op het ritme van de zon.</a:t>
            </a:r>
          </a:p>
          <a:p>
            <a:endParaRPr lang="en-NL" dirty="0"/>
          </a:p>
          <a:p>
            <a:pPr>
              <a:lnSpc>
                <a:spcPts val="1500"/>
              </a:lnSpc>
            </a:pPr>
            <a:r>
              <a:rPr lang="nl-NL" sz="1200" dirty="0">
                <a:solidFill>
                  <a:srgbClr val="000000"/>
                </a:solidFill>
                <a:effectLst/>
                <a:latin typeface="Calibri" panose="020F0502020204030204" pitchFamily="34" charset="0"/>
                <a:ea typeface="Times New Roman" panose="02020603050405020304" pitchFamily="18" charset="0"/>
              </a:rPr>
              <a:t>En wat doen wij vandaag? We spenderen 90% van onze tijd binnen, 36% daarvan op ons werk. Bovendien vliegen kriskras over de aarde, tweemaal per jaar verzetten we pardoes de klok, we socializen als we eigenlijk zouden moeten slapen en turen ’s avonds, als het zonlicht allang verdwenen is, nog urenlang op te blauwe schermpjes.</a:t>
            </a:r>
            <a:endParaRPr lang="en-NL" sz="1200" dirty="0">
              <a:effectLst/>
              <a:latin typeface="Times New Roman" panose="02020603050405020304" pitchFamily="18" charset="0"/>
              <a:ea typeface="Times New Roman" panose="02020603050405020304" pitchFamily="18" charset="0"/>
            </a:endParaRPr>
          </a:p>
          <a:p>
            <a:pPr>
              <a:lnSpc>
                <a:spcPts val="1500"/>
              </a:lnSpc>
            </a:pPr>
            <a:r>
              <a:rPr lang="nl-NL" sz="1200" dirty="0">
                <a:solidFill>
                  <a:srgbClr val="000000"/>
                </a:solidFill>
                <a:effectLst/>
                <a:latin typeface="Calibri" panose="020F0502020204030204" pitchFamily="34" charset="0"/>
                <a:ea typeface="Times New Roman" panose="02020603050405020304" pitchFamily="18" charset="0"/>
              </a:rPr>
              <a:t>  Hoe zorgen we ervoor dat kunstlicht ons welzijn ondersteunt?</a:t>
            </a:r>
          </a:p>
          <a:p>
            <a:endParaRPr lang="en-NL"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86A1DE-D8EA-4848-AC4A-B43407E7F665}" type="slidenum">
              <a:rPr kumimoji="0" lang="en-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28269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if we bring natural light in a room. That you feel the same energy, that you give exactly the same feeling inside a room</a:t>
            </a:r>
            <a:endParaRPr lang="en-BE" dirty="0"/>
          </a:p>
        </p:txBody>
      </p:sp>
      <p:sp>
        <p:nvSpPr>
          <p:cNvPr id="4" name="Slide Number Placeholder 3"/>
          <p:cNvSpPr>
            <a:spLocks noGrp="1"/>
          </p:cNvSpPr>
          <p:nvPr>
            <p:ph type="sldNum" sz="quarter" idx="5"/>
          </p:nvPr>
        </p:nvSpPr>
        <p:spPr/>
        <p:txBody>
          <a:bodyPr/>
          <a:lstStyle/>
          <a:p>
            <a:fld id="{2D7A1C87-64FC-48FB-8C9A-F39762358785}" type="slidenum">
              <a:rPr lang="nl-NL" smtClean="0"/>
              <a:t>10</a:t>
            </a:fld>
            <a:endParaRPr lang="nl-NL"/>
          </a:p>
        </p:txBody>
      </p:sp>
    </p:spTree>
    <p:extLst>
      <p:ext uri="{BB962C8B-B14F-4D97-AF65-F5344CB8AC3E}">
        <p14:creationId xmlns:p14="http://schemas.microsoft.com/office/powerpoint/2010/main" val="9436071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7.xml"/><Relationship Id="rId1" Type="http://schemas.openxmlformats.org/officeDocument/2006/relationships/tags" Target="../tags/tag51.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3.emf"/><Relationship Id="rId4" Type="http://schemas.openxmlformats.org/officeDocument/2006/relationships/oleObject" Target="../embeddings/oleObject28.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5.emf"/><Relationship Id="rId5" Type="http://schemas.openxmlformats.org/officeDocument/2006/relationships/image" Target="../media/image3.emf"/><Relationship Id="rId4" Type="http://schemas.openxmlformats.org/officeDocument/2006/relationships/oleObject" Target="../embeddings/oleObject29.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3.emf"/><Relationship Id="rId4" Type="http://schemas.openxmlformats.org/officeDocument/2006/relationships/oleObject" Target="../embeddings/oleObject30.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5.emf"/><Relationship Id="rId5" Type="http://schemas.openxmlformats.org/officeDocument/2006/relationships/image" Target="../media/image3.emf"/><Relationship Id="rId4" Type="http://schemas.openxmlformats.org/officeDocument/2006/relationships/oleObject" Target="../embeddings/oleObject31.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3.emf"/><Relationship Id="rId4" Type="http://schemas.openxmlformats.org/officeDocument/2006/relationships/oleObject" Target="../embeddings/oleObject32.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5.emf"/><Relationship Id="rId5" Type="http://schemas.openxmlformats.org/officeDocument/2006/relationships/image" Target="../media/image3.emf"/><Relationship Id="rId4" Type="http://schemas.openxmlformats.org/officeDocument/2006/relationships/oleObject" Target="../embeddings/oleObject33.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image" Target="../media/image3.emf"/><Relationship Id="rId4" Type="http://schemas.openxmlformats.org/officeDocument/2006/relationships/oleObject" Target="../embeddings/oleObject34.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oleObject" Target="../embeddings/oleObject35.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3.emf"/><Relationship Id="rId4" Type="http://schemas.openxmlformats.org/officeDocument/2006/relationships/oleObject" Target="../embeddings/oleObject36.bin"/></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1.xml"/><Relationship Id="rId1" Type="http://schemas.openxmlformats.org/officeDocument/2006/relationships/tags" Target="../tags/tag70.xml"/><Relationship Id="rId5" Type="http://schemas.openxmlformats.org/officeDocument/2006/relationships/image" Target="../media/image3.emf"/><Relationship Id="rId4" Type="http://schemas.openxmlformats.org/officeDocument/2006/relationships/oleObject" Target="../embeddings/oleObject37.bin"/></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7.xml"/><Relationship Id="rId1" Type="http://schemas.openxmlformats.org/officeDocument/2006/relationships/tags" Target="../tags/tag72.xml"/><Relationship Id="rId5" Type="http://schemas.openxmlformats.org/officeDocument/2006/relationships/image" Target="../media/image6.png"/><Relationship Id="rId4" Type="http://schemas.openxmlformats.org/officeDocument/2006/relationships/image" Target="../media/image3.emf"/></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7.xml"/><Relationship Id="rId1" Type="http://schemas.openxmlformats.org/officeDocument/2006/relationships/tags" Target="../tags/tag73.xml"/><Relationship Id="rId4" Type="http://schemas.openxmlformats.org/officeDocument/2006/relationships/image" Target="../media/image3.emf"/></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7.xml"/><Relationship Id="rId1" Type="http://schemas.openxmlformats.org/officeDocument/2006/relationships/tags" Target="../tags/tag74.xml"/><Relationship Id="rId5" Type="http://schemas.openxmlformats.org/officeDocument/2006/relationships/image" Target="../media/image6.png"/><Relationship Id="rId4" Type="http://schemas.openxmlformats.org/officeDocument/2006/relationships/image" Target="../media/image3.emf"/></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7.xml"/><Relationship Id="rId1" Type="http://schemas.openxmlformats.org/officeDocument/2006/relationships/tags" Target="../tags/tag75.xml"/><Relationship Id="rId5" Type="http://schemas.openxmlformats.org/officeDocument/2006/relationships/image" Target="../media/image6.png"/><Relationship Id="rId4" Type="http://schemas.openxmlformats.org/officeDocument/2006/relationships/image" Target="../media/image3.emf"/></Relationships>
</file>

<file path=ppt/slideLayouts/_rels/slideLayout158.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7.xml"/><Relationship Id="rId1" Type="http://schemas.openxmlformats.org/officeDocument/2006/relationships/tags" Target="../tags/tag76.xml"/><Relationship Id="rId5" Type="http://schemas.openxmlformats.org/officeDocument/2006/relationships/image" Target="../media/image6.png"/><Relationship Id="rId4" Type="http://schemas.openxmlformats.org/officeDocument/2006/relationships/image" Target="../media/image3.emf"/></Relationships>
</file>

<file path=ppt/slideLayouts/_rels/slideLayout159.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7.xml"/><Relationship Id="rId1" Type="http://schemas.openxmlformats.org/officeDocument/2006/relationships/tags" Target="../tags/tag77.xml"/><Relationship Id="rId5" Type="http://schemas.openxmlformats.org/officeDocument/2006/relationships/image" Target="../media/image6.png"/><Relationship Id="rId4"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7.xml"/><Relationship Id="rId1" Type="http://schemas.openxmlformats.org/officeDocument/2006/relationships/tags" Target="../tags/tag78.xml"/><Relationship Id="rId5" Type="http://schemas.openxmlformats.org/officeDocument/2006/relationships/image" Target="../media/image6.png"/><Relationship Id="rId4" Type="http://schemas.openxmlformats.org/officeDocument/2006/relationships/image" Target="../media/image3.emf"/></Relationships>
</file>

<file path=ppt/slideLayouts/_rels/slideLayout161.xml.rels><?xml version="1.0" encoding="UTF-8" standalone="yes"?>
<Relationships xmlns="http://schemas.openxmlformats.org/package/2006/relationships"><Relationship Id="rId3" Type="http://schemas.openxmlformats.org/officeDocument/2006/relationships/tags" Target="../tags/tag8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3.emf"/><Relationship Id="rId5" Type="http://schemas.openxmlformats.org/officeDocument/2006/relationships/oleObject" Target="../embeddings/oleObject45.bin"/><Relationship Id="rId4"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3" Type="http://schemas.openxmlformats.org/officeDocument/2006/relationships/tags" Target="../tags/tag84.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3.emf"/><Relationship Id="rId5" Type="http://schemas.openxmlformats.org/officeDocument/2006/relationships/oleObject" Target="../embeddings/oleObject46.bin"/><Relationship Id="rId4"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3" Type="http://schemas.openxmlformats.org/officeDocument/2006/relationships/tags" Target="../tags/tag87.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3.emf"/><Relationship Id="rId5" Type="http://schemas.openxmlformats.org/officeDocument/2006/relationships/oleObject" Target="../embeddings/oleObject47.bin"/><Relationship Id="rId4"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3.emf"/><Relationship Id="rId5" Type="http://schemas.openxmlformats.org/officeDocument/2006/relationships/oleObject" Target="../embeddings/oleObject48.bin"/><Relationship Id="rId4"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image" Target="../media/image3.emf"/><Relationship Id="rId5" Type="http://schemas.openxmlformats.org/officeDocument/2006/relationships/oleObject" Target="../embeddings/oleObject49.bin"/><Relationship Id="rId4"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3" Type="http://schemas.openxmlformats.org/officeDocument/2006/relationships/tags" Target="../tags/tag96.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3.emf"/><Relationship Id="rId5" Type="http://schemas.openxmlformats.org/officeDocument/2006/relationships/oleObject" Target="../embeddings/oleObject50.bin"/><Relationship Id="rId4"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8" Type="http://schemas.openxmlformats.org/officeDocument/2006/relationships/hyperlink" Target="https://www.youtube.com/WiZlighting" TargetMode="External"/><Relationship Id="rId3" Type="http://schemas.openxmlformats.org/officeDocument/2006/relationships/hyperlink" Target="https://www.wizconnected.com/" TargetMode="External"/><Relationship Id="rId7" Type="http://schemas.openxmlformats.org/officeDocument/2006/relationships/image" Target="../media/image15.emf"/><Relationship Id="rId2" Type="http://schemas.openxmlformats.org/officeDocument/2006/relationships/image" Target="../media/image12.jpeg"/><Relationship Id="rId1" Type="http://schemas.openxmlformats.org/officeDocument/2006/relationships/slideMaster" Target="../slideMasters/slideMaster8.xml"/><Relationship Id="rId6" Type="http://schemas.openxmlformats.org/officeDocument/2006/relationships/hyperlink" Target="https://www.instagram.com/WiZlighting" TargetMode="External"/><Relationship Id="rId11" Type="http://schemas.openxmlformats.org/officeDocument/2006/relationships/image" Target="../media/image17.emf"/><Relationship Id="rId5" Type="http://schemas.openxmlformats.org/officeDocument/2006/relationships/image" Target="../media/image14.png"/><Relationship Id="rId10" Type="http://schemas.openxmlformats.org/officeDocument/2006/relationships/hyperlink" Target="https://www.facebook.com/WiZlighting" TargetMode="External"/><Relationship Id="rId4" Type="http://schemas.openxmlformats.org/officeDocument/2006/relationships/image" Target="../media/image13.png"/><Relationship Id="rId9" Type="http://schemas.openxmlformats.org/officeDocument/2006/relationships/image" Target="../media/image16.emf"/></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slideMaster" Target="../slideMasters/slideMaster9.xml"/><Relationship Id="rId1" Type="http://schemas.openxmlformats.org/officeDocument/2006/relationships/tags" Target="../tags/tag9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3.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5.emf"/><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5.emf"/><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5.emf"/><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3.emf"/><Relationship Id="rId4" Type="http://schemas.openxmlformats.org/officeDocument/2006/relationships/oleObject" Target="../embeddings/oleObject11.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3.emf"/><Relationship Id="rId4" Type="http://schemas.openxmlformats.org/officeDocument/2006/relationships/oleObject" Target="../embeddings/oleObject12.bin"/></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24.xml"/><Relationship Id="rId5" Type="http://schemas.openxmlformats.org/officeDocument/2006/relationships/image" Target="../media/image6.png"/><Relationship Id="rId4" Type="http://schemas.openxmlformats.org/officeDocument/2006/relationships/image" Target="../media/image3.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25.xml"/><Relationship Id="rId4" Type="http://schemas.openxmlformats.org/officeDocument/2006/relationships/image" Target="../media/image3.emf"/></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26.xml"/><Relationship Id="rId5" Type="http://schemas.openxmlformats.org/officeDocument/2006/relationships/image" Target="../media/image6.png"/><Relationship Id="rId4" Type="http://schemas.openxmlformats.org/officeDocument/2006/relationships/image" Target="../media/image3.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27.xml"/><Relationship Id="rId5" Type="http://schemas.openxmlformats.org/officeDocument/2006/relationships/image" Target="../media/image6.png"/><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28.xml"/><Relationship Id="rId5" Type="http://schemas.openxmlformats.org/officeDocument/2006/relationships/image" Target="../media/image6.png"/><Relationship Id="rId4" Type="http://schemas.openxmlformats.org/officeDocument/2006/relationships/image" Target="../media/image3.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29.xml"/><Relationship Id="rId5" Type="http://schemas.openxmlformats.org/officeDocument/2006/relationships/image" Target="../media/image6.png"/><Relationship Id="rId4" Type="http://schemas.openxmlformats.org/officeDocument/2006/relationships/image" Target="../media/image3.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30.xml"/><Relationship Id="rId5" Type="http://schemas.openxmlformats.org/officeDocument/2006/relationships/image" Target="../media/image6.png"/><Relationship Id="rId4" Type="http://schemas.openxmlformats.org/officeDocument/2006/relationships/image" Target="../media/image3.emf"/></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3.emf"/><Relationship Id="rId5" Type="http://schemas.openxmlformats.org/officeDocument/2006/relationships/oleObject" Target="../embeddings/oleObject20.bin"/><Relationship Id="rId4"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3.emf"/><Relationship Id="rId5" Type="http://schemas.openxmlformats.org/officeDocument/2006/relationships/oleObject" Target="../embeddings/oleObject21.bin"/><Relationship Id="rId4"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3.emf"/><Relationship Id="rId5" Type="http://schemas.openxmlformats.org/officeDocument/2006/relationships/oleObject" Target="../embeddings/oleObject22.bin"/><Relationship Id="rId4"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3.emf"/><Relationship Id="rId5" Type="http://schemas.openxmlformats.org/officeDocument/2006/relationships/oleObject" Target="../embeddings/oleObject23.bin"/><Relationship Id="rId4"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3.emf"/><Relationship Id="rId5" Type="http://schemas.openxmlformats.org/officeDocument/2006/relationships/oleObject" Target="../embeddings/oleObject24.bin"/><Relationship Id="rId4"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3.emf"/><Relationship Id="rId5" Type="http://schemas.openxmlformats.org/officeDocument/2006/relationships/oleObject" Target="../embeddings/oleObject25.bin"/><Relationship Id="rId4"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806139"/>
            <a:ext cx="9144001" cy="3245724"/>
          </a:xfrm>
        </p:spPr>
        <p:txBody>
          <a:bodyPr anchor="ctr"/>
          <a:lstStyle>
            <a:lvl1pPr algn="ctr">
              <a:defRPr sz="4000"/>
            </a:lvl1pPr>
          </a:lstStyle>
          <a:p>
            <a:r>
              <a:rPr lang="en-US"/>
              <a:t>Click to edit Master title style</a:t>
            </a:r>
          </a:p>
        </p:txBody>
      </p:sp>
      <p:sp>
        <p:nvSpPr>
          <p:cNvPr id="3" name="Subtitle 2"/>
          <p:cNvSpPr>
            <a:spLocks noGrp="1"/>
          </p:cNvSpPr>
          <p:nvPr>
            <p:ph type="subTitle" idx="1"/>
          </p:nvPr>
        </p:nvSpPr>
        <p:spPr>
          <a:xfrm>
            <a:off x="1524000" y="5714325"/>
            <a:ext cx="9144001" cy="453754"/>
          </a:xfrm>
        </p:spPr>
        <p:txBody>
          <a:bodyPr/>
          <a:lstStyle>
            <a:lvl1pPr marL="0" indent="0" algn="ctr">
              <a:buNone/>
              <a:defRPr sz="2400">
                <a:solidFill>
                  <a:schemeClr val="tx2"/>
                </a:solidFill>
              </a:defRPr>
            </a:lvl1pPr>
            <a:lvl2pPr marL="521258" indent="0" algn="ctr">
              <a:buNone/>
              <a:defRPr sz="2280"/>
            </a:lvl2pPr>
            <a:lvl3pPr marL="1042512" indent="0" algn="ctr">
              <a:buNone/>
              <a:defRPr sz="2052"/>
            </a:lvl3pPr>
            <a:lvl4pPr marL="1563773" indent="0" algn="ctr">
              <a:buNone/>
              <a:defRPr sz="1824"/>
            </a:lvl4pPr>
            <a:lvl5pPr marL="2085031" indent="0" algn="ctr">
              <a:buNone/>
              <a:defRPr sz="1824"/>
            </a:lvl5pPr>
            <a:lvl6pPr marL="2606285" indent="0" algn="ctr">
              <a:buNone/>
              <a:defRPr sz="1824"/>
            </a:lvl6pPr>
            <a:lvl7pPr marL="3127543" indent="0" algn="ctr">
              <a:buNone/>
              <a:defRPr sz="1824"/>
            </a:lvl7pPr>
            <a:lvl8pPr marL="3648803" indent="0" algn="ctr">
              <a:buNone/>
              <a:defRPr sz="1824"/>
            </a:lvl8pPr>
            <a:lvl9pPr marL="4170060" indent="0" algn="ctr">
              <a:buNone/>
              <a:defRPr sz="1824"/>
            </a:lvl9pPr>
          </a:lstStyle>
          <a:p>
            <a:r>
              <a:rPr lang="en-US"/>
              <a:t>Click to edit Master subtitle style</a:t>
            </a:r>
          </a:p>
        </p:txBody>
      </p:sp>
      <p:sp>
        <p:nvSpPr>
          <p:cNvPr id="18" name="Freeform 5">
            <a:extLst>
              <a:ext uri="{FF2B5EF4-FFF2-40B4-BE49-F238E27FC236}">
                <a16:creationId xmlns:a16="http://schemas.microsoft.com/office/drawing/2014/main" id="{D24CE919-A7C7-49EF-8CB7-9F5CE00A26FB}"/>
              </a:ext>
            </a:extLst>
          </p:cNvPr>
          <p:cNvSpPr>
            <a:spLocks noChangeAspect="1" noEditPoints="1"/>
          </p:cNvSpPr>
          <p:nvPr/>
        </p:nvSpPr>
        <p:spPr bwMode="auto">
          <a:xfrm>
            <a:off x="5282400" y="662400"/>
            <a:ext cx="1627200" cy="283542"/>
          </a:xfrm>
          <a:custGeom>
            <a:avLst/>
            <a:gdLst>
              <a:gd name="T0" fmla="*/ 2108 w 2301"/>
              <a:gd name="T1" fmla="*/ 43 h 400"/>
              <a:gd name="T2" fmla="*/ 2257 w 2301"/>
              <a:gd name="T3" fmla="*/ 121 h 400"/>
              <a:gd name="T4" fmla="*/ 2154 w 2301"/>
              <a:gd name="T5" fmla="*/ 289 h 400"/>
              <a:gd name="T6" fmla="*/ 2261 w 2301"/>
              <a:gd name="T7" fmla="*/ 295 h 400"/>
              <a:gd name="T8" fmla="*/ 2301 w 2301"/>
              <a:gd name="T9" fmla="*/ 300 h 400"/>
              <a:gd name="T10" fmla="*/ 2108 w 2301"/>
              <a:gd name="T11" fmla="*/ 167 h 400"/>
              <a:gd name="T12" fmla="*/ 548 w 2301"/>
              <a:gd name="T13" fmla="*/ 121 h 400"/>
              <a:gd name="T14" fmla="*/ 643 w 2301"/>
              <a:gd name="T15" fmla="*/ 43 h 400"/>
              <a:gd name="T16" fmla="*/ 746 w 2301"/>
              <a:gd name="T17" fmla="*/ 167 h 400"/>
              <a:gd name="T18" fmla="*/ 729 w 2301"/>
              <a:gd name="T19" fmla="*/ 342 h 400"/>
              <a:gd name="T20" fmla="*/ 789 w 2301"/>
              <a:gd name="T21" fmla="*/ 296 h 400"/>
              <a:gd name="T22" fmla="*/ 622 w 2301"/>
              <a:gd name="T23" fmla="*/ 371 h 400"/>
              <a:gd name="T24" fmla="*/ 1997 w 2301"/>
              <a:gd name="T25" fmla="*/ 297 h 400"/>
              <a:gd name="T26" fmla="*/ 1822 w 2301"/>
              <a:gd name="T27" fmla="*/ 327 h 400"/>
              <a:gd name="T28" fmla="*/ 1954 w 2301"/>
              <a:gd name="T29" fmla="*/ 213 h 400"/>
              <a:gd name="T30" fmla="*/ 1962 w 2301"/>
              <a:gd name="T31" fmla="*/ 141 h 400"/>
              <a:gd name="T32" fmla="*/ 1885 w 2301"/>
              <a:gd name="T33" fmla="*/ 400 h 400"/>
              <a:gd name="T34" fmla="*/ 0 w 2301"/>
              <a:gd name="T35" fmla="*/ 389 h 400"/>
              <a:gd name="T36" fmla="*/ 19 w 2301"/>
              <a:gd name="T37" fmla="*/ 167 h 400"/>
              <a:gd name="T38" fmla="*/ 125 w 2301"/>
              <a:gd name="T39" fmla="*/ 126 h 400"/>
              <a:gd name="T40" fmla="*/ 206 w 2301"/>
              <a:gd name="T41" fmla="*/ 395 h 400"/>
              <a:gd name="T42" fmla="*/ 381 w 2301"/>
              <a:gd name="T43" fmla="*/ 116 h 400"/>
              <a:gd name="T44" fmla="*/ 266 w 2301"/>
              <a:gd name="T45" fmla="*/ 126 h 400"/>
              <a:gd name="T46" fmla="*/ 272 w 2301"/>
              <a:gd name="T47" fmla="*/ 395 h 400"/>
              <a:gd name="T48" fmla="*/ 312 w 2301"/>
              <a:gd name="T49" fmla="*/ 250 h 400"/>
              <a:gd name="T50" fmla="*/ 313 w 2301"/>
              <a:gd name="T51" fmla="*/ 228 h 400"/>
              <a:gd name="T52" fmla="*/ 313 w 2301"/>
              <a:gd name="T53" fmla="*/ 215 h 400"/>
              <a:gd name="T54" fmla="*/ 316 w 2301"/>
              <a:gd name="T55" fmla="*/ 206 h 400"/>
              <a:gd name="T56" fmla="*/ 319 w 2301"/>
              <a:gd name="T57" fmla="*/ 197 h 400"/>
              <a:gd name="T58" fmla="*/ 327 w 2301"/>
              <a:gd name="T59" fmla="*/ 186 h 400"/>
              <a:gd name="T60" fmla="*/ 447 w 2301"/>
              <a:gd name="T61" fmla="*/ 389 h 400"/>
              <a:gd name="T62" fmla="*/ 493 w 2301"/>
              <a:gd name="T63" fmla="*/ 228 h 400"/>
              <a:gd name="T64" fmla="*/ 142 w 2301"/>
              <a:gd name="T65" fmla="*/ 38 h 400"/>
              <a:gd name="T66" fmla="*/ 1292 w 2301"/>
              <a:gd name="T67" fmla="*/ 116 h 400"/>
              <a:gd name="T68" fmla="*/ 1177 w 2301"/>
              <a:gd name="T69" fmla="*/ 126 h 400"/>
              <a:gd name="T70" fmla="*/ 1183 w 2301"/>
              <a:gd name="T71" fmla="*/ 395 h 400"/>
              <a:gd name="T72" fmla="*/ 1223 w 2301"/>
              <a:gd name="T73" fmla="*/ 250 h 400"/>
              <a:gd name="T74" fmla="*/ 1224 w 2301"/>
              <a:gd name="T75" fmla="*/ 228 h 400"/>
              <a:gd name="T76" fmla="*/ 1224 w 2301"/>
              <a:gd name="T77" fmla="*/ 215 h 400"/>
              <a:gd name="T78" fmla="*/ 1227 w 2301"/>
              <a:gd name="T79" fmla="*/ 206 h 400"/>
              <a:gd name="T80" fmla="*/ 1230 w 2301"/>
              <a:gd name="T81" fmla="*/ 197 h 400"/>
              <a:gd name="T82" fmla="*/ 1238 w 2301"/>
              <a:gd name="T83" fmla="*/ 186 h 400"/>
              <a:gd name="T84" fmla="*/ 1386 w 2301"/>
              <a:gd name="T85" fmla="*/ 179 h 400"/>
              <a:gd name="T86" fmla="*/ 1002 w 2301"/>
              <a:gd name="T87" fmla="*/ 126 h 400"/>
              <a:gd name="T88" fmla="*/ 956 w 2301"/>
              <a:gd name="T89" fmla="*/ 170 h 400"/>
              <a:gd name="T90" fmla="*/ 981 w 2301"/>
              <a:gd name="T91" fmla="*/ 400 h 400"/>
              <a:gd name="T92" fmla="*/ 981 w 2301"/>
              <a:gd name="T93" fmla="*/ 354 h 400"/>
              <a:gd name="T94" fmla="*/ 1692 w 2301"/>
              <a:gd name="T95" fmla="*/ 232 h 400"/>
              <a:gd name="T96" fmla="*/ 1646 w 2301"/>
              <a:gd name="T97" fmla="*/ 149 h 400"/>
              <a:gd name="T98" fmla="*/ 1648 w 2301"/>
              <a:gd name="T99" fmla="*/ 258 h 400"/>
              <a:gd name="T100" fmla="*/ 1536 w 2301"/>
              <a:gd name="T101" fmla="*/ 120 h 400"/>
              <a:gd name="T102" fmla="*/ 1646 w 2301"/>
              <a:gd name="T103" fmla="*/ 390 h 400"/>
              <a:gd name="T104" fmla="*/ 1692 w 2301"/>
              <a:gd name="T105" fmla="*/ 242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01" h="400">
                <a:moveTo>
                  <a:pt x="2054" y="162"/>
                </a:moveTo>
                <a:cubicBezTo>
                  <a:pt x="2054" y="126"/>
                  <a:pt x="2054" y="126"/>
                  <a:pt x="2054" y="126"/>
                </a:cubicBezTo>
                <a:cubicBezTo>
                  <a:pt x="2054" y="122"/>
                  <a:pt x="2055" y="121"/>
                  <a:pt x="2059" y="121"/>
                </a:cubicBezTo>
                <a:cubicBezTo>
                  <a:pt x="2108" y="121"/>
                  <a:pt x="2108" y="121"/>
                  <a:pt x="2108" y="121"/>
                </a:cubicBezTo>
                <a:cubicBezTo>
                  <a:pt x="2108" y="43"/>
                  <a:pt x="2108" y="43"/>
                  <a:pt x="2108" y="43"/>
                </a:cubicBezTo>
                <a:cubicBezTo>
                  <a:pt x="2108" y="39"/>
                  <a:pt x="2110" y="38"/>
                  <a:pt x="2113" y="38"/>
                </a:cubicBezTo>
                <a:cubicBezTo>
                  <a:pt x="2149" y="38"/>
                  <a:pt x="2149" y="38"/>
                  <a:pt x="2149" y="38"/>
                </a:cubicBezTo>
                <a:cubicBezTo>
                  <a:pt x="2152" y="38"/>
                  <a:pt x="2154" y="39"/>
                  <a:pt x="2154" y="43"/>
                </a:cubicBezTo>
                <a:cubicBezTo>
                  <a:pt x="2154" y="121"/>
                  <a:pt x="2154" y="121"/>
                  <a:pt x="2154" y="121"/>
                </a:cubicBezTo>
                <a:cubicBezTo>
                  <a:pt x="2257" y="121"/>
                  <a:pt x="2257" y="121"/>
                  <a:pt x="2257" y="121"/>
                </a:cubicBezTo>
                <a:cubicBezTo>
                  <a:pt x="2260" y="121"/>
                  <a:pt x="2262" y="122"/>
                  <a:pt x="2262" y="126"/>
                </a:cubicBezTo>
                <a:cubicBezTo>
                  <a:pt x="2262" y="162"/>
                  <a:pt x="2262" y="162"/>
                  <a:pt x="2262" y="162"/>
                </a:cubicBezTo>
                <a:cubicBezTo>
                  <a:pt x="2262" y="165"/>
                  <a:pt x="2260" y="167"/>
                  <a:pt x="2257" y="167"/>
                </a:cubicBezTo>
                <a:cubicBezTo>
                  <a:pt x="2154" y="167"/>
                  <a:pt x="2154" y="167"/>
                  <a:pt x="2154" y="167"/>
                </a:cubicBezTo>
                <a:cubicBezTo>
                  <a:pt x="2154" y="289"/>
                  <a:pt x="2154" y="289"/>
                  <a:pt x="2154" y="289"/>
                </a:cubicBezTo>
                <a:cubicBezTo>
                  <a:pt x="2154" y="311"/>
                  <a:pt x="2158" y="326"/>
                  <a:pt x="2166" y="336"/>
                </a:cubicBezTo>
                <a:cubicBezTo>
                  <a:pt x="2174" y="348"/>
                  <a:pt x="2186" y="353"/>
                  <a:pt x="2204" y="353"/>
                </a:cubicBezTo>
                <a:cubicBezTo>
                  <a:pt x="2221" y="353"/>
                  <a:pt x="2232" y="351"/>
                  <a:pt x="2240" y="342"/>
                </a:cubicBezTo>
                <a:cubicBezTo>
                  <a:pt x="2248" y="333"/>
                  <a:pt x="2252" y="319"/>
                  <a:pt x="2255" y="300"/>
                </a:cubicBezTo>
                <a:cubicBezTo>
                  <a:pt x="2255" y="297"/>
                  <a:pt x="2257" y="295"/>
                  <a:pt x="2261" y="295"/>
                </a:cubicBezTo>
                <a:cubicBezTo>
                  <a:pt x="2296" y="295"/>
                  <a:pt x="2296" y="295"/>
                  <a:pt x="2296" y="295"/>
                </a:cubicBezTo>
                <a:cubicBezTo>
                  <a:pt x="2298" y="295"/>
                  <a:pt x="2298" y="295"/>
                  <a:pt x="2298" y="295"/>
                </a:cubicBezTo>
                <a:cubicBezTo>
                  <a:pt x="2298" y="295"/>
                  <a:pt x="2299" y="295"/>
                  <a:pt x="2300" y="296"/>
                </a:cubicBezTo>
                <a:cubicBezTo>
                  <a:pt x="2300" y="296"/>
                  <a:pt x="2301" y="297"/>
                  <a:pt x="2301" y="297"/>
                </a:cubicBezTo>
                <a:cubicBezTo>
                  <a:pt x="2301" y="298"/>
                  <a:pt x="2301" y="299"/>
                  <a:pt x="2301" y="300"/>
                </a:cubicBezTo>
                <a:cubicBezTo>
                  <a:pt x="2301" y="327"/>
                  <a:pt x="2295" y="350"/>
                  <a:pt x="2276" y="371"/>
                </a:cubicBezTo>
                <a:cubicBezTo>
                  <a:pt x="2259" y="390"/>
                  <a:pt x="2235" y="400"/>
                  <a:pt x="2205" y="400"/>
                </a:cubicBezTo>
                <a:cubicBezTo>
                  <a:pt x="2173" y="400"/>
                  <a:pt x="2149" y="390"/>
                  <a:pt x="2133" y="371"/>
                </a:cubicBezTo>
                <a:cubicBezTo>
                  <a:pt x="2116" y="353"/>
                  <a:pt x="2108" y="325"/>
                  <a:pt x="2108" y="289"/>
                </a:cubicBezTo>
                <a:cubicBezTo>
                  <a:pt x="2108" y="167"/>
                  <a:pt x="2108" y="167"/>
                  <a:pt x="2108" y="167"/>
                </a:cubicBezTo>
                <a:cubicBezTo>
                  <a:pt x="2059" y="167"/>
                  <a:pt x="2059" y="167"/>
                  <a:pt x="2059" y="167"/>
                </a:cubicBezTo>
                <a:cubicBezTo>
                  <a:pt x="2055" y="167"/>
                  <a:pt x="2054" y="165"/>
                  <a:pt x="2054" y="162"/>
                </a:cubicBezTo>
                <a:moveTo>
                  <a:pt x="543" y="162"/>
                </a:moveTo>
                <a:cubicBezTo>
                  <a:pt x="543" y="126"/>
                  <a:pt x="543" y="126"/>
                  <a:pt x="543" y="126"/>
                </a:cubicBezTo>
                <a:cubicBezTo>
                  <a:pt x="543" y="122"/>
                  <a:pt x="545" y="121"/>
                  <a:pt x="548" y="121"/>
                </a:cubicBezTo>
                <a:cubicBezTo>
                  <a:pt x="597" y="121"/>
                  <a:pt x="597" y="121"/>
                  <a:pt x="597" y="121"/>
                </a:cubicBezTo>
                <a:cubicBezTo>
                  <a:pt x="597" y="43"/>
                  <a:pt x="597" y="43"/>
                  <a:pt x="597" y="43"/>
                </a:cubicBezTo>
                <a:cubicBezTo>
                  <a:pt x="597" y="39"/>
                  <a:pt x="599" y="38"/>
                  <a:pt x="603" y="38"/>
                </a:cubicBezTo>
                <a:cubicBezTo>
                  <a:pt x="638" y="38"/>
                  <a:pt x="638" y="38"/>
                  <a:pt x="638" y="38"/>
                </a:cubicBezTo>
                <a:cubicBezTo>
                  <a:pt x="642" y="38"/>
                  <a:pt x="643" y="39"/>
                  <a:pt x="643" y="43"/>
                </a:cubicBezTo>
                <a:cubicBezTo>
                  <a:pt x="643" y="121"/>
                  <a:pt x="643" y="121"/>
                  <a:pt x="643" y="121"/>
                </a:cubicBezTo>
                <a:cubicBezTo>
                  <a:pt x="746" y="121"/>
                  <a:pt x="746" y="121"/>
                  <a:pt x="746" y="121"/>
                </a:cubicBezTo>
                <a:cubicBezTo>
                  <a:pt x="750" y="121"/>
                  <a:pt x="751" y="122"/>
                  <a:pt x="751" y="126"/>
                </a:cubicBezTo>
                <a:cubicBezTo>
                  <a:pt x="751" y="162"/>
                  <a:pt x="751" y="162"/>
                  <a:pt x="751" y="162"/>
                </a:cubicBezTo>
                <a:cubicBezTo>
                  <a:pt x="751" y="165"/>
                  <a:pt x="750" y="167"/>
                  <a:pt x="746" y="167"/>
                </a:cubicBezTo>
                <a:cubicBezTo>
                  <a:pt x="644" y="167"/>
                  <a:pt x="644" y="167"/>
                  <a:pt x="644" y="167"/>
                </a:cubicBezTo>
                <a:cubicBezTo>
                  <a:pt x="644" y="289"/>
                  <a:pt x="644" y="289"/>
                  <a:pt x="644" y="289"/>
                </a:cubicBezTo>
                <a:cubicBezTo>
                  <a:pt x="644" y="311"/>
                  <a:pt x="648" y="326"/>
                  <a:pt x="655" y="336"/>
                </a:cubicBezTo>
                <a:cubicBezTo>
                  <a:pt x="663" y="348"/>
                  <a:pt x="675" y="353"/>
                  <a:pt x="694" y="353"/>
                </a:cubicBezTo>
                <a:cubicBezTo>
                  <a:pt x="711" y="353"/>
                  <a:pt x="721" y="351"/>
                  <a:pt x="729" y="342"/>
                </a:cubicBezTo>
                <a:cubicBezTo>
                  <a:pt x="737" y="333"/>
                  <a:pt x="741" y="319"/>
                  <a:pt x="744" y="300"/>
                </a:cubicBezTo>
                <a:cubicBezTo>
                  <a:pt x="745" y="297"/>
                  <a:pt x="746" y="295"/>
                  <a:pt x="750" y="295"/>
                </a:cubicBezTo>
                <a:cubicBezTo>
                  <a:pt x="785" y="295"/>
                  <a:pt x="785" y="295"/>
                  <a:pt x="785" y="295"/>
                </a:cubicBezTo>
                <a:cubicBezTo>
                  <a:pt x="787" y="295"/>
                  <a:pt x="787" y="295"/>
                  <a:pt x="787" y="295"/>
                </a:cubicBezTo>
                <a:cubicBezTo>
                  <a:pt x="788" y="295"/>
                  <a:pt x="788" y="295"/>
                  <a:pt x="789" y="296"/>
                </a:cubicBezTo>
                <a:cubicBezTo>
                  <a:pt x="790" y="296"/>
                  <a:pt x="790" y="297"/>
                  <a:pt x="790" y="297"/>
                </a:cubicBezTo>
                <a:cubicBezTo>
                  <a:pt x="790" y="298"/>
                  <a:pt x="790" y="299"/>
                  <a:pt x="790" y="300"/>
                </a:cubicBezTo>
                <a:cubicBezTo>
                  <a:pt x="790" y="327"/>
                  <a:pt x="784" y="350"/>
                  <a:pt x="765" y="371"/>
                </a:cubicBezTo>
                <a:cubicBezTo>
                  <a:pt x="748" y="390"/>
                  <a:pt x="725" y="400"/>
                  <a:pt x="694" y="400"/>
                </a:cubicBezTo>
                <a:cubicBezTo>
                  <a:pt x="662" y="400"/>
                  <a:pt x="639" y="390"/>
                  <a:pt x="622" y="371"/>
                </a:cubicBezTo>
                <a:cubicBezTo>
                  <a:pt x="606" y="353"/>
                  <a:pt x="597" y="325"/>
                  <a:pt x="597" y="289"/>
                </a:cubicBezTo>
                <a:cubicBezTo>
                  <a:pt x="597" y="167"/>
                  <a:pt x="597" y="167"/>
                  <a:pt x="597" y="167"/>
                </a:cubicBezTo>
                <a:cubicBezTo>
                  <a:pt x="548" y="167"/>
                  <a:pt x="548" y="167"/>
                  <a:pt x="548" y="167"/>
                </a:cubicBezTo>
                <a:cubicBezTo>
                  <a:pt x="545" y="167"/>
                  <a:pt x="543" y="165"/>
                  <a:pt x="543" y="162"/>
                </a:cubicBezTo>
                <a:moveTo>
                  <a:pt x="1997" y="297"/>
                </a:moveTo>
                <a:cubicBezTo>
                  <a:pt x="1965" y="297"/>
                  <a:pt x="1965" y="297"/>
                  <a:pt x="1965" y="297"/>
                </a:cubicBezTo>
                <a:cubicBezTo>
                  <a:pt x="1958" y="297"/>
                  <a:pt x="1956" y="301"/>
                  <a:pt x="1955" y="304"/>
                </a:cubicBezTo>
                <a:cubicBezTo>
                  <a:pt x="1950" y="319"/>
                  <a:pt x="1942" y="331"/>
                  <a:pt x="1929" y="340"/>
                </a:cubicBezTo>
                <a:cubicBezTo>
                  <a:pt x="1917" y="349"/>
                  <a:pt x="1902" y="354"/>
                  <a:pt x="1885" y="354"/>
                </a:cubicBezTo>
                <a:cubicBezTo>
                  <a:pt x="1860" y="354"/>
                  <a:pt x="1837" y="345"/>
                  <a:pt x="1822" y="327"/>
                </a:cubicBezTo>
                <a:cubicBezTo>
                  <a:pt x="1807" y="309"/>
                  <a:pt x="1799" y="286"/>
                  <a:pt x="1799" y="258"/>
                </a:cubicBezTo>
                <a:cubicBezTo>
                  <a:pt x="1799" y="230"/>
                  <a:pt x="1807" y="206"/>
                  <a:pt x="1822" y="188"/>
                </a:cubicBezTo>
                <a:cubicBezTo>
                  <a:pt x="1837" y="170"/>
                  <a:pt x="1860" y="162"/>
                  <a:pt x="1885" y="162"/>
                </a:cubicBezTo>
                <a:cubicBezTo>
                  <a:pt x="1902" y="162"/>
                  <a:pt x="1916" y="166"/>
                  <a:pt x="1928" y="175"/>
                </a:cubicBezTo>
                <a:cubicBezTo>
                  <a:pt x="1941" y="184"/>
                  <a:pt x="1949" y="197"/>
                  <a:pt x="1954" y="213"/>
                </a:cubicBezTo>
                <a:cubicBezTo>
                  <a:pt x="1955" y="215"/>
                  <a:pt x="1957" y="219"/>
                  <a:pt x="1964" y="219"/>
                </a:cubicBezTo>
                <a:cubicBezTo>
                  <a:pt x="1996" y="219"/>
                  <a:pt x="1996" y="219"/>
                  <a:pt x="1996" y="219"/>
                </a:cubicBezTo>
                <a:cubicBezTo>
                  <a:pt x="1999" y="219"/>
                  <a:pt x="2002" y="217"/>
                  <a:pt x="2002" y="213"/>
                </a:cubicBezTo>
                <a:cubicBezTo>
                  <a:pt x="2002" y="211"/>
                  <a:pt x="2002" y="209"/>
                  <a:pt x="2001" y="207"/>
                </a:cubicBezTo>
                <a:cubicBezTo>
                  <a:pt x="1994" y="179"/>
                  <a:pt x="1982" y="157"/>
                  <a:pt x="1962" y="141"/>
                </a:cubicBezTo>
                <a:cubicBezTo>
                  <a:pt x="1942" y="125"/>
                  <a:pt x="1916" y="117"/>
                  <a:pt x="1885" y="117"/>
                </a:cubicBezTo>
                <a:cubicBezTo>
                  <a:pt x="1845" y="117"/>
                  <a:pt x="1812" y="130"/>
                  <a:pt x="1788" y="157"/>
                </a:cubicBezTo>
                <a:cubicBezTo>
                  <a:pt x="1765" y="183"/>
                  <a:pt x="1753" y="217"/>
                  <a:pt x="1753" y="258"/>
                </a:cubicBezTo>
                <a:cubicBezTo>
                  <a:pt x="1753" y="299"/>
                  <a:pt x="1765" y="333"/>
                  <a:pt x="1789" y="360"/>
                </a:cubicBezTo>
                <a:cubicBezTo>
                  <a:pt x="1812" y="386"/>
                  <a:pt x="1845" y="400"/>
                  <a:pt x="1885" y="400"/>
                </a:cubicBezTo>
                <a:cubicBezTo>
                  <a:pt x="1916" y="400"/>
                  <a:pt x="1942" y="392"/>
                  <a:pt x="1962" y="376"/>
                </a:cubicBezTo>
                <a:cubicBezTo>
                  <a:pt x="1982" y="360"/>
                  <a:pt x="1995" y="337"/>
                  <a:pt x="2003" y="309"/>
                </a:cubicBezTo>
                <a:cubicBezTo>
                  <a:pt x="2003" y="307"/>
                  <a:pt x="2003" y="305"/>
                  <a:pt x="2003" y="303"/>
                </a:cubicBezTo>
                <a:cubicBezTo>
                  <a:pt x="2003" y="300"/>
                  <a:pt x="2002" y="297"/>
                  <a:pt x="1997" y="297"/>
                </a:cubicBezTo>
                <a:moveTo>
                  <a:pt x="0" y="389"/>
                </a:moveTo>
                <a:cubicBezTo>
                  <a:pt x="0" y="354"/>
                  <a:pt x="0" y="354"/>
                  <a:pt x="0" y="354"/>
                </a:cubicBezTo>
                <a:cubicBezTo>
                  <a:pt x="0" y="351"/>
                  <a:pt x="2" y="349"/>
                  <a:pt x="6" y="349"/>
                </a:cubicBezTo>
                <a:cubicBezTo>
                  <a:pt x="78" y="349"/>
                  <a:pt x="78" y="349"/>
                  <a:pt x="78" y="349"/>
                </a:cubicBezTo>
                <a:cubicBezTo>
                  <a:pt x="78" y="167"/>
                  <a:pt x="78" y="167"/>
                  <a:pt x="78" y="167"/>
                </a:cubicBezTo>
                <a:cubicBezTo>
                  <a:pt x="19" y="167"/>
                  <a:pt x="19" y="167"/>
                  <a:pt x="19" y="167"/>
                </a:cubicBezTo>
                <a:cubicBezTo>
                  <a:pt x="16" y="167"/>
                  <a:pt x="14" y="165"/>
                  <a:pt x="14" y="162"/>
                </a:cubicBezTo>
                <a:cubicBezTo>
                  <a:pt x="14" y="126"/>
                  <a:pt x="14" y="126"/>
                  <a:pt x="14" y="126"/>
                </a:cubicBezTo>
                <a:cubicBezTo>
                  <a:pt x="14" y="122"/>
                  <a:pt x="16" y="121"/>
                  <a:pt x="19" y="121"/>
                </a:cubicBezTo>
                <a:cubicBezTo>
                  <a:pt x="119" y="121"/>
                  <a:pt x="119" y="121"/>
                  <a:pt x="119" y="121"/>
                </a:cubicBezTo>
                <a:cubicBezTo>
                  <a:pt x="122" y="121"/>
                  <a:pt x="124" y="122"/>
                  <a:pt x="125" y="126"/>
                </a:cubicBezTo>
                <a:cubicBezTo>
                  <a:pt x="125" y="349"/>
                  <a:pt x="125" y="349"/>
                  <a:pt x="125" y="349"/>
                </a:cubicBezTo>
                <a:cubicBezTo>
                  <a:pt x="206" y="349"/>
                  <a:pt x="206" y="349"/>
                  <a:pt x="206" y="349"/>
                </a:cubicBezTo>
                <a:cubicBezTo>
                  <a:pt x="209" y="349"/>
                  <a:pt x="211" y="351"/>
                  <a:pt x="211" y="354"/>
                </a:cubicBezTo>
                <a:cubicBezTo>
                  <a:pt x="211" y="389"/>
                  <a:pt x="211" y="389"/>
                  <a:pt x="211" y="389"/>
                </a:cubicBezTo>
                <a:cubicBezTo>
                  <a:pt x="211" y="393"/>
                  <a:pt x="210" y="395"/>
                  <a:pt x="206" y="395"/>
                </a:cubicBezTo>
                <a:cubicBezTo>
                  <a:pt x="6" y="395"/>
                  <a:pt x="6" y="395"/>
                  <a:pt x="6" y="395"/>
                </a:cubicBezTo>
                <a:cubicBezTo>
                  <a:pt x="2" y="395"/>
                  <a:pt x="0" y="393"/>
                  <a:pt x="0" y="389"/>
                </a:cubicBezTo>
                <a:moveTo>
                  <a:pt x="493" y="227"/>
                </a:moveTo>
                <a:cubicBezTo>
                  <a:pt x="493" y="199"/>
                  <a:pt x="485" y="173"/>
                  <a:pt x="463" y="149"/>
                </a:cubicBezTo>
                <a:cubicBezTo>
                  <a:pt x="444" y="128"/>
                  <a:pt x="411" y="116"/>
                  <a:pt x="381" y="116"/>
                </a:cubicBezTo>
                <a:cubicBezTo>
                  <a:pt x="332" y="116"/>
                  <a:pt x="312" y="150"/>
                  <a:pt x="312" y="150"/>
                </a:cubicBezTo>
                <a:cubicBezTo>
                  <a:pt x="312" y="126"/>
                  <a:pt x="312" y="126"/>
                  <a:pt x="312" y="126"/>
                </a:cubicBezTo>
                <a:cubicBezTo>
                  <a:pt x="312" y="122"/>
                  <a:pt x="311" y="121"/>
                  <a:pt x="307" y="121"/>
                </a:cubicBezTo>
                <a:cubicBezTo>
                  <a:pt x="272" y="121"/>
                  <a:pt x="272" y="121"/>
                  <a:pt x="272" y="121"/>
                </a:cubicBezTo>
                <a:cubicBezTo>
                  <a:pt x="268" y="121"/>
                  <a:pt x="266" y="122"/>
                  <a:pt x="266" y="126"/>
                </a:cubicBezTo>
                <a:cubicBezTo>
                  <a:pt x="266" y="231"/>
                  <a:pt x="266" y="231"/>
                  <a:pt x="266" y="231"/>
                </a:cubicBezTo>
                <a:cubicBezTo>
                  <a:pt x="266" y="235"/>
                  <a:pt x="266" y="238"/>
                  <a:pt x="266" y="242"/>
                </a:cubicBezTo>
                <a:cubicBezTo>
                  <a:pt x="266" y="244"/>
                  <a:pt x="266" y="247"/>
                  <a:pt x="266" y="250"/>
                </a:cubicBezTo>
                <a:cubicBezTo>
                  <a:pt x="266" y="389"/>
                  <a:pt x="266" y="389"/>
                  <a:pt x="266" y="389"/>
                </a:cubicBezTo>
                <a:cubicBezTo>
                  <a:pt x="266" y="393"/>
                  <a:pt x="268" y="395"/>
                  <a:pt x="272" y="395"/>
                </a:cubicBezTo>
                <a:cubicBezTo>
                  <a:pt x="307" y="395"/>
                  <a:pt x="307" y="395"/>
                  <a:pt x="307" y="395"/>
                </a:cubicBezTo>
                <a:cubicBezTo>
                  <a:pt x="311" y="395"/>
                  <a:pt x="312" y="393"/>
                  <a:pt x="312" y="389"/>
                </a:cubicBezTo>
                <a:cubicBezTo>
                  <a:pt x="312" y="251"/>
                  <a:pt x="312" y="251"/>
                  <a:pt x="312" y="251"/>
                </a:cubicBezTo>
                <a:cubicBezTo>
                  <a:pt x="312" y="250"/>
                  <a:pt x="312" y="250"/>
                  <a:pt x="312" y="250"/>
                </a:cubicBezTo>
                <a:cubicBezTo>
                  <a:pt x="312" y="250"/>
                  <a:pt x="312" y="250"/>
                  <a:pt x="312" y="250"/>
                </a:cubicBezTo>
                <a:cubicBezTo>
                  <a:pt x="312" y="243"/>
                  <a:pt x="312" y="241"/>
                  <a:pt x="312" y="236"/>
                </a:cubicBezTo>
                <a:cubicBezTo>
                  <a:pt x="312" y="235"/>
                  <a:pt x="312" y="235"/>
                  <a:pt x="312" y="235"/>
                </a:cubicBezTo>
                <a:cubicBezTo>
                  <a:pt x="312" y="234"/>
                  <a:pt x="312" y="233"/>
                  <a:pt x="312" y="232"/>
                </a:cubicBezTo>
                <a:cubicBezTo>
                  <a:pt x="312" y="232"/>
                  <a:pt x="312" y="231"/>
                  <a:pt x="312" y="231"/>
                </a:cubicBezTo>
                <a:cubicBezTo>
                  <a:pt x="312" y="230"/>
                  <a:pt x="313" y="229"/>
                  <a:pt x="313" y="228"/>
                </a:cubicBezTo>
                <a:cubicBezTo>
                  <a:pt x="313" y="228"/>
                  <a:pt x="313" y="224"/>
                  <a:pt x="313" y="223"/>
                </a:cubicBezTo>
                <a:cubicBezTo>
                  <a:pt x="313" y="222"/>
                  <a:pt x="313" y="222"/>
                  <a:pt x="313" y="221"/>
                </a:cubicBezTo>
                <a:cubicBezTo>
                  <a:pt x="313" y="220"/>
                  <a:pt x="313" y="220"/>
                  <a:pt x="313" y="219"/>
                </a:cubicBezTo>
                <a:cubicBezTo>
                  <a:pt x="313" y="218"/>
                  <a:pt x="313" y="218"/>
                  <a:pt x="313" y="217"/>
                </a:cubicBezTo>
                <a:cubicBezTo>
                  <a:pt x="313" y="216"/>
                  <a:pt x="313" y="216"/>
                  <a:pt x="313" y="215"/>
                </a:cubicBezTo>
                <a:cubicBezTo>
                  <a:pt x="314" y="215"/>
                  <a:pt x="314" y="214"/>
                  <a:pt x="314" y="213"/>
                </a:cubicBezTo>
                <a:cubicBezTo>
                  <a:pt x="314" y="213"/>
                  <a:pt x="314" y="212"/>
                  <a:pt x="314" y="211"/>
                </a:cubicBezTo>
                <a:cubicBezTo>
                  <a:pt x="314" y="211"/>
                  <a:pt x="314" y="210"/>
                  <a:pt x="315" y="210"/>
                </a:cubicBezTo>
                <a:cubicBezTo>
                  <a:pt x="315" y="209"/>
                  <a:pt x="315" y="208"/>
                  <a:pt x="315" y="208"/>
                </a:cubicBezTo>
                <a:cubicBezTo>
                  <a:pt x="315" y="207"/>
                  <a:pt x="315" y="207"/>
                  <a:pt x="316" y="206"/>
                </a:cubicBezTo>
                <a:cubicBezTo>
                  <a:pt x="316" y="205"/>
                  <a:pt x="316" y="205"/>
                  <a:pt x="316" y="204"/>
                </a:cubicBezTo>
                <a:cubicBezTo>
                  <a:pt x="316" y="203"/>
                  <a:pt x="317" y="203"/>
                  <a:pt x="317" y="202"/>
                </a:cubicBezTo>
                <a:cubicBezTo>
                  <a:pt x="317" y="202"/>
                  <a:pt x="317" y="201"/>
                  <a:pt x="318" y="200"/>
                </a:cubicBezTo>
                <a:cubicBezTo>
                  <a:pt x="318" y="200"/>
                  <a:pt x="318" y="199"/>
                  <a:pt x="319" y="199"/>
                </a:cubicBezTo>
                <a:cubicBezTo>
                  <a:pt x="319" y="198"/>
                  <a:pt x="319" y="197"/>
                  <a:pt x="319" y="197"/>
                </a:cubicBezTo>
                <a:cubicBezTo>
                  <a:pt x="320" y="196"/>
                  <a:pt x="320" y="195"/>
                  <a:pt x="321" y="195"/>
                </a:cubicBezTo>
                <a:cubicBezTo>
                  <a:pt x="321" y="194"/>
                  <a:pt x="321" y="194"/>
                  <a:pt x="322" y="193"/>
                </a:cubicBezTo>
                <a:cubicBezTo>
                  <a:pt x="322" y="192"/>
                  <a:pt x="323" y="192"/>
                  <a:pt x="323" y="191"/>
                </a:cubicBezTo>
                <a:cubicBezTo>
                  <a:pt x="323" y="190"/>
                  <a:pt x="324" y="190"/>
                  <a:pt x="324" y="189"/>
                </a:cubicBezTo>
                <a:cubicBezTo>
                  <a:pt x="325" y="188"/>
                  <a:pt x="326" y="187"/>
                  <a:pt x="327" y="186"/>
                </a:cubicBezTo>
                <a:cubicBezTo>
                  <a:pt x="342" y="168"/>
                  <a:pt x="360" y="162"/>
                  <a:pt x="380" y="162"/>
                </a:cubicBezTo>
                <a:cubicBezTo>
                  <a:pt x="398" y="162"/>
                  <a:pt x="416" y="169"/>
                  <a:pt x="427" y="180"/>
                </a:cubicBezTo>
                <a:cubicBezTo>
                  <a:pt x="439" y="192"/>
                  <a:pt x="447" y="210"/>
                  <a:pt x="447" y="229"/>
                </a:cubicBezTo>
                <a:cubicBezTo>
                  <a:pt x="447" y="254"/>
                  <a:pt x="447" y="254"/>
                  <a:pt x="447" y="254"/>
                </a:cubicBezTo>
                <a:cubicBezTo>
                  <a:pt x="447" y="389"/>
                  <a:pt x="447" y="389"/>
                  <a:pt x="447" y="389"/>
                </a:cubicBezTo>
                <a:cubicBezTo>
                  <a:pt x="447" y="393"/>
                  <a:pt x="449" y="395"/>
                  <a:pt x="453" y="395"/>
                </a:cubicBezTo>
                <a:cubicBezTo>
                  <a:pt x="488" y="395"/>
                  <a:pt x="488" y="395"/>
                  <a:pt x="488" y="395"/>
                </a:cubicBezTo>
                <a:cubicBezTo>
                  <a:pt x="492" y="395"/>
                  <a:pt x="493" y="393"/>
                  <a:pt x="493" y="389"/>
                </a:cubicBezTo>
                <a:cubicBezTo>
                  <a:pt x="493" y="254"/>
                  <a:pt x="493" y="254"/>
                  <a:pt x="493" y="254"/>
                </a:cubicBezTo>
                <a:cubicBezTo>
                  <a:pt x="493" y="228"/>
                  <a:pt x="493" y="228"/>
                  <a:pt x="493" y="228"/>
                </a:cubicBezTo>
                <a:cubicBezTo>
                  <a:pt x="493" y="227"/>
                  <a:pt x="493" y="227"/>
                  <a:pt x="493" y="227"/>
                </a:cubicBezTo>
                <a:close/>
                <a:moveTo>
                  <a:pt x="105" y="0"/>
                </a:moveTo>
                <a:cubicBezTo>
                  <a:pt x="84" y="0"/>
                  <a:pt x="67" y="17"/>
                  <a:pt x="67" y="38"/>
                </a:cubicBezTo>
                <a:cubicBezTo>
                  <a:pt x="67" y="58"/>
                  <a:pt x="84" y="75"/>
                  <a:pt x="105" y="75"/>
                </a:cubicBezTo>
                <a:cubicBezTo>
                  <a:pt x="125" y="75"/>
                  <a:pt x="142" y="58"/>
                  <a:pt x="142" y="38"/>
                </a:cubicBezTo>
                <a:cubicBezTo>
                  <a:pt x="142" y="17"/>
                  <a:pt x="125" y="0"/>
                  <a:pt x="105" y="0"/>
                </a:cubicBezTo>
                <a:moveTo>
                  <a:pt x="1386" y="179"/>
                </a:moveTo>
                <a:cubicBezTo>
                  <a:pt x="1390" y="177"/>
                  <a:pt x="1391" y="173"/>
                  <a:pt x="1389" y="169"/>
                </a:cubicBezTo>
                <a:cubicBezTo>
                  <a:pt x="1385" y="162"/>
                  <a:pt x="1380" y="156"/>
                  <a:pt x="1374" y="149"/>
                </a:cubicBezTo>
                <a:cubicBezTo>
                  <a:pt x="1355" y="128"/>
                  <a:pt x="1322" y="116"/>
                  <a:pt x="1292" y="116"/>
                </a:cubicBezTo>
                <a:cubicBezTo>
                  <a:pt x="1243" y="116"/>
                  <a:pt x="1223" y="150"/>
                  <a:pt x="1223" y="150"/>
                </a:cubicBezTo>
                <a:cubicBezTo>
                  <a:pt x="1223" y="126"/>
                  <a:pt x="1223" y="126"/>
                  <a:pt x="1223" y="126"/>
                </a:cubicBezTo>
                <a:cubicBezTo>
                  <a:pt x="1223" y="123"/>
                  <a:pt x="1221" y="121"/>
                  <a:pt x="1218" y="121"/>
                </a:cubicBezTo>
                <a:cubicBezTo>
                  <a:pt x="1183" y="121"/>
                  <a:pt x="1183" y="121"/>
                  <a:pt x="1183" y="121"/>
                </a:cubicBezTo>
                <a:cubicBezTo>
                  <a:pt x="1179" y="121"/>
                  <a:pt x="1177" y="122"/>
                  <a:pt x="1177" y="126"/>
                </a:cubicBezTo>
                <a:cubicBezTo>
                  <a:pt x="1177" y="231"/>
                  <a:pt x="1177" y="231"/>
                  <a:pt x="1177" y="231"/>
                </a:cubicBezTo>
                <a:cubicBezTo>
                  <a:pt x="1177" y="235"/>
                  <a:pt x="1177" y="238"/>
                  <a:pt x="1177" y="242"/>
                </a:cubicBezTo>
                <a:cubicBezTo>
                  <a:pt x="1177" y="244"/>
                  <a:pt x="1177" y="247"/>
                  <a:pt x="1177" y="250"/>
                </a:cubicBezTo>
                <a:cubicBezTo>
                  <a:pt x="1177" y="389"/>
                  <a:pt x="1177" y="389"/>
                  <a:pt x="1177" y="389"/>
                </a:cubicBezTo>
                <a:cubicBezTo>
                  <a:pt x="1177" y="393"/>
                  <a:pt x="1179" y="395"/>
                  <a:pt x="1183" y="395"/>
                </a:cubicBezTo>
                <a:cubicBezTo>
                  <a:pt x="1218" y="395"/>
                  <a:pt x="1218" y="395"/>
                  <a:pt x="1218" y="395"/>
                </a:cubicBezTo>
                <a:cubicBezTo>
                  <a:pt x="1221" y="395"/>
                  <a:pt x="1223" y="392"/>
                  <a:pt x="1223" y="389"/>
                </a:cubicBezTo>
                <a:cubicBezTo>
                  <a:pt x="1223" y="251"/>
                  <a:pt x="1223" y="251"/>
                  <a:pt x="1223" y="251"/>
                </a:cubicBezTo>
                <a:cubicBezTo>
                  <a:pt x="1223" y="250"/>
                  <a:pt x="1223" y="250"/>
                  <a:pt x="1223" y="250"/>
                </a:cubicBezTo>
                <a:cubicBezTo>
                  <a:pt x="1223" y="250"/>
                  <a:pt x="1223" y="250"/>
                  <a:pt x="1223" y="250"/>
                </a:cubicBezTo>
                <a:cubicBezTo>
                  <a:pt x="1223" y="243"/>
                  <a:pt x="1223" y="241"/>
                  <a:pt x="1223" y="236"/>
                </a:cubicBezTo>
                <a:cubicBezTo>
                  <a:pt x="1223" y="236"/>
                  <a:pt x="1223" y="235"/>
                  <a:pt x="1223" y="235"/>
                </a:cubicBezTo>
                <a:cubicBezTo>
                  <a:pt x="1223" y="234"/>
                  <a:pt x="1223" y="233"/>
                  <a:pt x="1223" y="232"/>
                </a:cubicBezTo>
                <a:cubicBezTo>
                  <a:pt x="1223" y="232"/>
                  <a:pt x="1223" y="231"/>
                  <a:pt x="1223" y="231"/>
                </a:cubicBezTo>
                <a:cubicBezTo>
                  <a:pt x="1223" y="230"/>
                  <a:pt x="1223" y="229"/>
                  <a:pt x="1224" y="228"/>
                </a:cubicBezTo>
                <a:cubicBezTo>
                  <a:pt x="1224" y="228"/>
                  <a:pt x="1224" y="224"/>
                  <a:pt x="1224" y="223"/>
                </a:cubicBezTo>
                <a:cubicBezTo>
                  <a:pt x="1224" y="222"/>
                  <a:pt x="1224" y="222"/>
                  <a:pt x="1224" y="221"/>
                </a:cubicBezTo>
                <a:cubicBezTo>
                  <a:pt x="1224" y="220"/>
                  <a:pt x="1224" y="220"/>
                  <a:pt x="1224" y="219"/>
                </a:cubicBezTo>
                <a:cubicBezTo>
                  <a:pt x="1224" y="218"/>
                  <a:pt x="1224" y="218"/>
                  <a:pt x="1224" y="217"/>
                </a:cubicBezTo>
                <a:cubicBezTo>
                  <a:pt x="1224" y="216"/>
                  <a:pt x="1224" y="216"/>
                  <a:pt x="1224" y="215"/>
                </a:cubicBezTo>
                <a:cubicBezTo>
                  <a:pt x="1225" y="215"/>
                  <a:pt x="1225" y="214"/>
                  <a:pt x="1225" y="213"/>
                </a:cubicBezTo>
                <a:cubicBezTo>
                  <a:pt x="1225" y="213"/>
                  <a:pt x="1225" y="212"/>
                  <a:pt x="1225" y="211"/>
                </a:cubicBezTo>
                <a:cubicBezTo>
                  <a:pt x="1225" y="211"/>
                  <a:pt x="1225" y="210"/>
                  <a:pt x="1226" y="210"/>
                </a:cubicBezTo>
                <a:cubicBezTo>
                  <a:pt x="1226" y="209"/>
                  <a:pt x="1226" y="208"/>
                  <a:pt x="1226" y="208"/>
                </a:cubicBezTo>
                <a:cubicBezTo>
                  <a:pt x="1226" y="207"/>
                  <a:pt x="1226" y="207"/>
                  <a:pt x="1227" y="206"/>
                </a:cubicBezTo>
                <a:cubicBezTo>
                  <a:pt x="1227" y="205"/>
                  <a:pt x="1227" y="205"/>
                  <a:pt x="1227" y="204"/>
                </a:cubicBezTo>
                <a:cubicBezTo>
                  <a:pt x="1227" y="203"/>
                  <a:pt x="1228" y="203"/>
                  <a:pt x="1228" y="202"/>
                </a:cubicBezTo>
                <a:cubicBezTo>
                  <a:pt x="1228" y="202"/>
                  <a:pt x="1228" y="201"/>
                  <a:pt x="1229" y="200"/>
                </a:cubicBezTo>
                <a:cubicBezTo>
                  <a:pt x="1229" y="200"/>
                  <a:pt x="1229" y="199"/>
                  <a:pt x="1230" y="199"/>
                </a:cubicBezTo>
                <a:cubicBezTo>
                  <a:pt x="1230" y="198"/>
                  <a:pt x="1230" y="197"/>
                  <a:pt x="1230" y="197"/>
                </a:cubicBezTo>
                <a:cubicBezTo>
                  <a:pt x="1231" y="196"/>
                  <a:pt x="1231" y="195"/>
                  <a:pt x="1232" y="195"/>
                </a:cubicBezTo>
                <a:cubicBezTo>
                  <a:pt x="1232" y="194"/>
                  <a:pt x="1232" y="194"/>
                  <a:pt x="1232" y="193"/>
                </a:cubicBezTo>
                <a:cubicBezTo>
                  <a:pt x="1233" y="192"/>
                  <a:pt x="1233" y="192"/>
                  <a:pt x="1234" y="191"/>
                </a:cubicBezTo>
                <a:cubicBezTo>
                  <a:pt x="1234" y="190"/>
                  <a:pt x="1235" y="190"/>
                  <a:pt x="1235" y="189"/>
                </a:cubicBezTo>
                <a:cubicBezTo>
                  <a:pt x="1236" y="188"/>
                  <a:pt x="1237" y="187"/>
                  <a:pt x="1238" y="186"/>
                </a:cubicBezTo>
                <a:cubicBezTo>
                  <a:pt x="1253" y="168"/>
                  <a:pt x="1271" y="162"/>
                  <a:pt x="1291" y="162"/>
                </a:cubicBezTo>
                <a:cubicBezTo>
                  <a:pt x="1308" y="162"/>
                  <a:pt x="1328" y="169"/>
                  <a:pt x="1338" y="180"/>
                </a:cubicBezTo>
                <a:cubicBezTo>
                  <a:pt x="1341" y="184"/>
                  <a:pt x="1345" y="188"/>
                  <a:pt x="1348" y="192"/>
                </a:cubicBezTo>
                <a:cubicBezTo>
                  <a:pt x="1350" y="196"/>
                  <a:pt x="1354" y="197"/>
                  <a:pt x="1357" y="195"/>
                </a:cubicBezTo>
                <a:lnTo>
                  <a:pt x="1386" y="179"/>
                </a:lnTo>
                <a:close/>
                <a:moveTo>
                  <a:pt x="1106" y="268"/>
                </a:moveTo>
                <a:cubicBezTo>
                  <a:pt x="1109" y="268"/>
                  <a:pt x="1112" y="265"/>
                  <a:pt x="1112" y="262"/>
                </a:cubicBezTo>
                <a:cubicBezTo>
                  <a:pt x="1112" y="256"/>
                  <a:pt x="1112" y="249"/>
                  <a:pt x="1112" y="246"/>
                </a:cubicBezTo>
                <a:cubicBezTo>
                  <a:pt x="1107" y="184"/>
                  <a:pt x="1065" y="133"/>
                  <a:pt x="1010" y="120"/>
                </a:cubicBezTo>
                <a:cubicBezTo>
                  <a:pt x="1006" y="119"/>
                  <a:pt x="1002" y="122"/>
                  <a:pt x="1002" y="126"/>
                </a:cubicBezTo>
                <a:cubicBezTo>
                  <a:pt x="1002" y="164"/>
                  <a:pt x="1002" y="164"/>
                  <a:pt x="1002" y="164"/>
                </a:cubicBezTo>
                <a:cubicBezTo>
                  <a:pt x="1002" y="166"/>
                  <a:pt x="1004" y="169"/>
                  <a:pt x="1006" y="170"/>
                </a:cubicBezTo>
                <a:cubicBezTo>
                  <a:pt x="1032" y="179"/>
                  <a:pt x="1053" y="201"/>
                  <a:pt x="1062" y="229"/>
                </a:cubicBezTo>
                <a:cubicBezTo>
                  <a:pt x="900" y="229"/>
                  <a:pt x="900" y="229"/>
                  <a:pt x="900" y="229"/>
                </a:cubicBezTo>
                <a:cubicBezTo>
                  <a:pt x="909" y="201"/>
                  <a:pt x="930" y="179"/>
                  <a:pt x="956" y="170"/>
                </a:cubicBezTo>
                <a:cubicBezTo>
                  <a:pt x="958" y="169"/>
                  <a:pt x="960" y="166"/>
                  <a:pt x="960" y="164"/>
                </a:cubicBezTo>
                <a:cubicBezTo>
                  <a:pt x="960" y="126"/>
                  <a:pt x="960" y="126"/>
                  <a:pt x="960" y="126"/>
                </a:cubicBezTo>
                <a:cubicBezTo>
                  <a:pt x="960" y="122"/>
                  <a:pt x="956" y="119"/>
                  <a:pt x="952" y="120"/>
                </a:cubicBezTo>
                <a:cubicBezTo>
                  <a:pt x="893" y="134"/>
                  <a:pt x="850" y="191"/>
                  <a:pt x="850" y="258"/>
                </a:cubicBezTo>
                <a:cubicBezTo>
                  <a:pt x="850" y="337"/>
                  <a:pt x="908" y="400"/>
                  <a:pt x="981" y="400"/>
                </a:cubicBezTo>
                <a:cubicBezTo>
                  <a:pt x="1032" y="400"/>
                  <a:pt x="1076" y="369"/>
                  <a:pt x="1098" y="322"/>
                </a:cubicBezTo>
                <a:cubicBezTo>
                  <a:pt x="1100" y="318"/>
                  <a:pt x="1097" y="313"/>
                  <a:pt x="1092" y="313"/>
                </a:cubicBezTo>
                <a:cubicBezTo>
                  <a:pt x="1055" y="313"/>
                  <a:pt x="1055" y="313"/>
                  <a:pt x="1055" y="313"/>
                </a:cubicBezTo>
                <a:cubicBezTo>
                  <a:pt x="1053" y="313"/>
                  <a:pt x="1051" y="314"/>
                  <a:pt x="1049" y="316"/>
                </a:cubicBezTo>
                <a:cubicBezTo>
                  <a:pt x="1034" y="339"/>
                  <a:pt x="1009" y="354"/>
                  <a:pt x="981" y="354"/>
                </a:cubicBezTo>
                <a:cubicBezTo>
                  <a:pt x="936" y="354"/>
                  <a:pt x="900" y="316"/>
                  <a:pt x="896" y="268"/>
                </a:cubicBezTo>
                <a:cubicBezTo>
                  <a:pt x="1066" y="268"/>
                  <a:pt x="1066" y="268"/>
                  <a:pt x="1066" y="268"/>
                </a:cubicBezTo>
                <a:cubicBezTo>
                  <a:pt x="1066" y="268"/>
                  <a:pt x="1066" y="268"/>
                  <a:pt x="1066" y="268"/>
                </a:cubicBezTo>
                <a:lnTo>
                  <a:pt x="1106" y="268"/>
                </a:lnTo>
                <a:close/>
                <a:moveTo>
                  <a:pt x="1692" y="232"/>
                </a:moveTo>
                <a:cubicBezTo>
                  <a:pt x="1692" y="126"/>
                  <a:pt x="1692" y="126"/>
                  <a:pt x="1692" y="126"/>
                </a:cubicBezTo>
                <a:cubicBezTo>
                  <a:pt x="1692" y="123"/>
                  <a:pt x="1690" y="121"/>
                  <a:pt x="1686" y="121"/>
                </a:cubicBezTo>
                <a:cubicBezTo>
                  <a:pt x="1651" y="121"/>
                  <a:pt x="1651" y="121"/>
                  <a:pt x="1651" y="121"/>
                </a:cubicBezTo>
                <a:cubicBezTo>
                  <a:pt x="1648" y="121"/>
                  <a:pt x="1646" y="123"/>
                  <a:pt x="1646" y="126"/>
                </a:cubicBezTo>
                <a:cubicBezTo>
                  <a:pt x="1646" y="149"/>
                  <a:pt x="1646" y="149"/>
                  <a:pt x="1646" y="149"/>
                </a:cubicBezTo>
                <a:cubicBezTo>
                  <a:pt x="1628" y="133"/>
                  <a:pt x="1607" y="121"/>
                  <a:pt x="1583" y="116"/>
                </a:cubicBezTo>
                <a:cubicBezTo>
                  <a:pt x="1580" y="115"/>
                  <a:pt x="1578" y="117"/>
                  <a:pt x="1578" y="120"/>
                </a:cubicBezTo>
                <a:cubicBezTo>
                  <a:pt x="1578" y="161"/>
                  <a:pt x="1578" y="161"/>
                  <a:pt x="1578" y="161"/>
                </a:cubicBezTo>
                <a:cubicBezTo>
                  <a:pt x="1578" y="163"/>
                  <a:pt x="1579" y="165"/>
                  <a:pt x="1581" y="165"/>
                </a:cubicBezTo>
                <a:cubicBezTo>
                  <a:pt x="1619" y="176"/>
                  <a:pt x="1648" y="213"/>
                  <a:pt x="1648" y="258"/>
                </a:cubicBezTo>
                <a:cubicBezTo>
                  <a:pt x="1648" y="311"/>
                  <a:pt x="1608" y="354"/>
                  <a:pt x="1558" y="354"/>
                </a:cubicBezTo>
                <a:cubicBezTo>
                  <a:pt x="1509" y="354"/>
                  <a:pt x="1469" y="311"/>
                  <a:pt x="1469" y="258"/>
                </a:cubicBezTo>
                <a:cubicBezTo>
                  <a:pt x="1469" y="214"/>
                  <a:pt x="1496" y="178"/>
                  <a:pt x="1533" y="166"/>
                </a:cubicBezTo>
                <a:cubicBezTo>
                  <a:pt x="1535" y="165"/>
                  <a:pt x="1536" y="164"/>
                  <a:pt x="1536" y="162"/>
                </a:cubicBezTo>
                <a:cubicBezTo>
                  <a:pt x="1536" y="120"/>
                  <a:pt x="1536" y="120"/>
                  <a:pt x="1536" y="120"/>
                </a:cubicBezTo>
                <a:cubicBezTo>
                  <a:pt x="1536" y="117"/>
                  <a:pt x="1534" y="115"/>
                  <a:pt x="1531" y="116"/>
                </a:cubicBezTo>
                <a:cubicBezTo>
                  <a:pt x="1469" y="128"/>
                  <a:pt x="1422" y="187"/>
                  <a:pt x="1422" y="257"/>
                </a:cubicBezTo>
                <a:cubicBezTo>
                  <a:pt x="1422" y="336"/>
                  <a:pt x="1482" y="400"/>
                  <a:pt x="1557" y="400"/>
                </a:cubicBezTo>
                <a:cubicBezTo>
                  <a:pt x="1591" y="400"/>
                  <a:pt x="1622" y="386"/>
                  <a:pt x="1646" y="364"/>
                </a:cubicBezTo>
                <a:cubicBezTo>
                  <a:pt x="1646" y="390"/>
                  <a:pt x="1646" y="390"/>
                  <a:pt x="1646" y="390"/>
                </a:cubicBezTo>
                <a:cubicBezTo>
                  <a:pt x="1646" y="393"/>
                  <a:pt x="1648" y="395"/>
                  <a:pt x="1651" y="395"/>
                </a:cubicBezTo>
                <a:cubicBezTo>
                  <a:pt x="1686" y="395"/>
                  <a:pt x="1686" y="395"/>
                  <a:pt x="1686" y="395"/>
                </a:cubicBezTo>
                <a:cubicBezTo>
                  <a:pt x="1690" y="395"/>
                  <a:pt x="1692" y="393"/>
                  <a:pt x="1692" y="390"/>
                </a:cubicBezTo>
                <a:cubicBezTo>
                  <a:pt x="1692" y="250"/>
                  <a:pt x="1692" y="250"/>
                  <a:pt x="1692" y="250"/>
                </a:cubicBezTo>
                <a:cubicBezTo>
                  <a:pt x="1692" y="247"/>
                  <a:pt x="1692" y="245"/>
                  <a:pt x="1692" y="242"/>
                </a:cubicBezTo>
                <a:cubicBezTo>
                  <a:pt x="1692" y="239"/>
                  <a:pt x="1692" y="235"/>
                  <a:pt x="1692" y="232"/>
                </a:cubicBezTo>
              </a:path>
            </a:pathLst>
          </a:custGeom>
          <a:solidFill>
            <a:srgbClr val="FF37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568605402"/>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10878" y="1521184"/>
            <a:ext cx="5292112" cy="44947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86790" y="1521184"/>
            <a:ext cx="5292112" cy="44947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endParaRPr lang="en-BE"/>
          </a:p>
        </p:txBody>
      </p:sp>
      <p:sp>
        <p:nvSpPr>
          <p:cNvPr id="7" name="Slide Number Placeholder 6"/>
          <p:cNvSpPr>
            <a:spLocks noGrp="1"/>
          </p:cNvSpPr>
          <p:nvPr>
            <p:ph type="sldNum" sz="quarter" idx="12"/>
          </p:nvPr>
        </p:nvSpPr>
        <p:spPr/>
        <p:txBody>
          <a:bodyPr/>
          <a:lstStyle/>
          <a:p>
            <a:fld id="{9F5F79E4-174E-4D15-B5B9-2923F86E0116}" type="slidenum">
              <a:rPr lang="en-BE" smtClean="0"/>
              <a:t>‹#›</a:t>
            </a:fld>
            <a:endParaRPr lang="en-BE"/>
          </a:p>
        </p:txBody>
      </p:sp>
      <p:sp>
        <p:nvSpPr>
          <p:cNvPr id="8" name="Title 7">
            <a:extLst>
              <a:ext uri="{FF2B5EF4-FFF2-40B4-BE49-F238E27FC236}">
                <a16:creationId xmlns:a16="http://schemas.microsoft.com/office/drawing/2014/main" id="{2BEC790B-BB37-46AF-9CC2-582F081B640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4612015"/>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806139"/>
            <a:ext cx="9144001" cy="3245724"/>
          </a:xfrm>
        </p:spPr>
        <p:txBody>
          <a:bodyPr anchor="ctr"/>
          <a:lstStyle>
            <a:lvl1pPr algn="ctr">
              <a:defRPr sz="4000"/>
            </a:lvl1pPr>
          </a:lstStyle>
          <a:p>
            <a:r>
              <a:rPr lang="en-US"/>
              <a:t>Click to edit Master title style</a:t>
            </a:r>
            <a:endParaRPr lang="en-US" dirty="0"/>
          </a:p>
        </p:txBody>
      </p:sp>
      <p:sp>
        <p:nvSpPr>
          <p:cNvPr id="3" name="Subtitle 2"/>
          <p:cNvSpPr>
            <a:spLocks noGrp="1"/>
          </p:cNvSpPr>
          <p:nvPr>
            <p:ph type="subTitle" idx="1"/>
          </p:nvPr>
        </p:nvSpPr>
        <p:spPr>
          <a:xfrm>
            <a:off x="1524000" y="5714325"/>
            <a:ext cx="9144001" cy="453754"/>
          </a:xfrm>
        </p:spPr>
        <p:txBody>
          <a:bodyPr/>
          <a:lstStyle>
            <a:lvl1pPr marL="0" indent="0" algn="ctr">
              <a:buNone/>
              <a:defRPr sz="2400">
                <a:solidFill>
                  <a:schemeClr val="tx2"/>
                </a:solidFill>
              </a:defRPr>
            </a:lvl1pPr>
            <a:lvl2pPr marL="521258" indent="0" algn="ctr">
              <a:buNone/>
              <a:defRPr sz="2280"/>
            </a:lvl2pPr>
            <a:lvl3pPr marL="1042512" indent="0" algn="ctr">
              <a:buNone/>
              <a:defRPr sz="2052"/>
            </a:lvl3pPr>
            <a:lvl4pPr marL="1563773" indent="0" algn="ctr">
              <a:buNone/>
              <a:defRPr sz="1824"/>
            </a:lvl4pPr>
            <a:lvl5pPr marL="2085031" indent="0" algn="ctr">
              <a:buNone/>
              <a:defRPr sz="1824"/>
            </a:lvl5pPr>
            <a:lvl6pPr marL="2606285" indent="0" algn="ctr">
              <a:buNone/>
              <a:defRPr sz="1824"/>
            </a:lvl6pPr>
            <a:lvl7pPr marL="3127543" indent="0" algn="ctr">
              <a:buNone/>
              <a:defRPr sz="1824"/>
            </a:lvl7pPr>
            <a:lvl8pPr marL="3648803" indent="0" algn="ctr">
              <a:buNone/>
              <a:defRPr sz="1824"/>
            </a:lvl8pPr>
            <a:lvl9pPr marL="4170060" indent="0" algn="ctr">
              <a:buNone/>
              <a:defRPr sz="1824"/>
            </a:lvl9pPr>
          </a:lstStyle>
          <a:p>
            <a:r>
              <a:rPr lang="en-US"/>
              <a:t>Click to edit Master subtitle style</a:t>
            </a:r>
            <a:endParaRPr lang="en-US" dirty="0"/>
          </a:p>
        </p:txBody>
      </p:sp>
      <p:sp>
        <p:nvSpPr>
          <p:cNvPr id="18" name="Freeform 5">
            <a:extLst>
              <a:ext uri="{FF2B5EF4-FFF2-40B4-BE49-F238E27FC236}">
                <a16:creationId xmlns:a16="http://schemas.microsoft.com/office/drawing/2014/main" id="{D24CE919-A7C7-49EF-8CB7-9F5CE00A26FB}"/>
              </a:ext>
            </a:extLst>
          </p:cNvPr>
          <p:cNvSpPr>
            <a:spLocks noChangeAspect="1" noEditPoints="1"/>
          </p:cNvSpPr>
          <p:nvPr/>
        </p:nvSpPr>
        <p:spPr bwMode="auto">
          <a:xfrm>
            <a:off x="5282400" y="662400"/>
            <a:ext cx="1627200" cy="283542"/>
          </a:xfrm>
          <a:custGeom>
            <a:avLst/>
            <a:gdLst>
              <a:gd name="T0" fmla="*/ 2108 w 2301"/>
              <a:gd name="T1" fmla="*/ 43 h 400"/>
              <a:gd name="T2" fmla="*/ 2257 w 2301"/>
              <a:gd name="T3" fmla="*/ 121 h 400"/>
              <a:gd name="T4" fmla="*/ 2154 w 2301"/>
              <a:gd name="T5" fmla="*/ 289 h 400"/>
              <a:gd name="T6" fmla="*/ 2261 w 2301"/>
              <a:gd name="T7" fmla="*/ 295 h 400"/>
              <a:gd name="T8" fmla="*/ 2301 w 2301"/>
              <a:gd name="T9" fmla="*/ 300 h 400"/>
              <a:gd name="T10" fmla="*/ 2108 w 2301"/>
              <a:gd name="T11" fmla="*/ 167 h 400"/>
              <a:gd name="T12" fmla="*/ 548 w 2301"/>
              <a:gd name="T13" fmla="*/ 121 h 400"/>
              <a:gd name="T14" fmla="*/ 643 w 2301"/>
              <a:gd name="T15" fmla="*/ 43 h 400"/>
              <a:gd name="T16" fmla="*/ 746 w 2301"/>
              <a:gd name="T17" fmla="*/ 167 h 400"/>
              <a:gd name="T18" fmla="*/ 729 w 2301"/>
              <a:gd name="T19" fmla="*/ 342 h 400"/>
              <a:gd name="T20" fmla="*/ 789 w 2301"/>
              <a:gd name="T21" fmla="*/ 296 h 400"/>
              <a:gd name="T22" fmla="*/ 622 w 2301"/>
              <a:gd name="T23" fmla="*/ 371 h 400"/>
              <a:gd name="T24" fmla="*/ 1997 w 2301"/>
              <a:gd name="T25" fmla="*/ 297 h 400"/>
              <a:gd name="T26" fmla="*/ 1822 w 2301"/>
              <a:gd name="T27" fmla="*/ 327 h 400"/>
              <a:gd name="T28" fmla="*/ 1954 w 2301"/>
              <a:gd name="T29" fmla="*/ 213 h 400"/>
              <a:gd name="T30" fmla="*/ 1962 w 2301"/>
              <a:gd name="T31" fmla="*/ 141 h 400"/>
              <a:gd name="T32" fmla="*/ 1885 w 2301"/>
              <a:gd name="T33" fmla="*/ 400 h 400"/>
              <a:gd name="T34" fmla="*/ 0 w 2301"/>
              <a:gd name="T35" fmla="*/ 389 h 400"/>
              <a:gd name="T36" fmla="*/ 19 w 2301"/>
              <a:gd name="T37" fmla="*/ 167 h 400"/>
              <a:gd name="T38" fmla="*/ 125 w 2301"/>
              <a:gd name="T39" fmla="*/ 126 h 400"/>
              <a:gd name="T40" fmla="*/ 206 w 2301"/>
              <a:gd name="T41" fmla="*/ 395 h 400"/>
              <a:gd name="T42" fmla="*/ 381 w 2301"/>
              <a:gd name="T43" fmla="*/ 116 h 400"/>
              <a:gd name="T44" fmla="*/ 266 w 2301"/>
              <a:gd name="T45" fmla="*/ 126 h 400"/>
              <a:gd name="T46" fmla="*/ 272 w 2301"/>
              <a:gd name="T47" fmla="*/ 395 h 400"/>
              <a:gd name="T48" fmla="*/ 312 w 2301"/>
              <a:gd name="T49" fmla="*/ 250 h 400"/>
              <a:gd name="T50" fmla="*/ 313 w 2301"/>
              <a:gd name="T51" fmla="*/ 228 h 400"/>
              <a:gd name="T52" fmla="*/ 313 w 2301"/>
              <a:gd name="T53" fmla="*/ 215 h 400"/>
              <a:gd name="T54" fmla="*/ 316 w 2301"/>
              <a:gd name="T55" fmla="*/ 206 h 400"/>
              <a:gd name="T56" fmla="*/ 319 w 2301"/>
              <a:gd name="T57" fmla="*/ 197 h 400"/>
              <a:gd name="T58" fmla="*/ 327 w 2301"/>
              <a:gd name="T59" fmla="*/ 186 h 400"/>
              <a:gd name="T60" fmla="*/ 447 w 2301"/>
              <a:gd name="T61" fmla="*/ 389 h 400"/>
              <a:gd name="T62" fmla="*/ 493 w 2301"/>
              <a:gd name="T63" fmla="*/ 228 h 400"/>
              <a:gd name="T64" fmla="*/ 142 w 2301"/>
              <a:gd name="T65" fmla="*/ 38 h 400"/>
              <a:gd name="T66" fmla="*/ 1292 w 2301"/>
              <a:gd name="T67" fmla="*/ 116 h 400"/>
              <a:gd name="T68" fmla="*/ 1177 w 2301"/>
              <a:gd name="T69" fmla="*/ 126 h 400"/>
              <a:gd name="T70" fmla="*/ 1183 w 2301"/>
              <a:gd name="T71" fmla="*/ 395 h 400"/>
              <a:gd name="T72" fmla="*/ 1223 w 2301"/>
              <a:gd name="T73" fmla="*/ 250 h 400"/>
              <a:gd name="T74" fmla="*/ 1224 w 2301"/>
              <a:gd name="T75" fmla="*/ 228 h 400"/>
              <a:gd name="T76" fmla="*/ 1224 w 2301"/>
              <a:gd name="T77" fmla="*/ 215 h 400"/>
              <a:gd name="T78" fmla="*/ 1227 w 2301"/>
              <a:gd name="T79" fmla="*/ 206 h 400"/>
              <a:gd name="T80" fmla="*/ 1230 w 2301"/>
              <a:gd name="T81" fmla="*/ 197 h 400"/>
              <a:gd name="T82" fmla="*/ 1238 w 2301"/>
              <a:gd name="T83" fmla="*/ 186 h 400"/>
              <a:gd name="T84" fmla="*/ 1386 w 2301"/>
              <a:gd name="T85" fmla="*/ 179 h 400"/>
              <a:gd name="T86" fmla="*/ 1002 w 2301"/>
              <a:gd name="T87" fmla="*/ 126 h 400"/>
              <a:gd name="T88" fmla="*/ 956 w 2301"/>
              <a:gd name="T89" fmla="*/ 170 h 400"/>
              <a:gd name="T90" fmla="*/ 981 w 2301"/>
              <a:gd name="T91" fmla="*/ 400 h 400"/>
              <a:gd name="T92" fmla="*/ 981 w 2301"/>
              <a:gd name="T93" fmla="*/ 354 h 400"/>
              <a:gd name="T94" fmla="*/ 1692 w 2301"/>
              <a:gd name="T95" fmla="*/ 232 h 400"/>
              <a:gd name="T96" fmla="*/ 1646 w 2301"/>
              <a:gd name="T97" fmla="*/ 149 h 400"/>
              <a:gd name="T98" fmla="*/ 1648 w 2301"/>
              <a:gd name="T99" fmla="*/ 258 h 400"/>
              <a:gd name="T100" fmla="*/ 1536 w 2301"/>
              <a:gd name="T101" fmla="*/ 120 h 400"/>
              <a:gd name="T102" fmla="*/ 1646 w 2301"/>
              <a:gd name="T103" fmla="*/ 390 h 400"/>
              <a:gd name="T104" fmla="*/ 1692 w 2301"/>
              <a:gd name="T105" fmla="*/ 242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01" h="400">
                <a:moveTo>
                  <a:pt x="2054" y="162"/>
                </a:moveTo>
                <a:cubicBezTo>
                  <a:pt x="2054" y="126"/>
                  <a:pt x="2054" y="126"/>
                  <a:pt x="2054" y="126"/>
                </a:cubicBezTo>
                <a:cubicBezTo>
                  <a:pt x="2054" y="122"/>
                  <a:pt x="2055" y="121"/>
                  <a:pt x="2059" y="121"/>
                </a:cubicBezTo>
                <a:cubicBezTo>
                  <a:pt x="2108" y="121"/>
                  <a:pt x="2108" y="121"/>
                  <a:pt x="2108" y="121"/>
                </a:cubicBezTo>
                <a:cubicBezTo>
                  <a:pt x="2108" y="43"/>
                  <a:pt x="2108" y="43"/>
                  <a:pt x="2108" y="43"/>
                </a:cubicBezTo>
                <a:cubicBezTo>
                  <a:pt x="2108" y="39"/>
                  <a:pt x="2110" y="38"/>
                  <a:pt x="2113" y="38"/>
                </a:cubicBezTo>
                <a:cubicBezTo>
                  <a:pt x="2149" y="38"/>
                  <a:pt x="2149" y="38"/>
                  <a:pt x="2149" y="38"/>
                </a:cubicBezTo>
                <a:cubicBezTo>
                  <a:pt x="2152" y="38"/>
                  <a:pt x="2154" y="39"/>
                  <a:pt x="2154" y="43"/>
                </a:cubicBezTo>
                <a:cubicBezTo>
                  <a:pt x="2154" y="121"/>
                  <a:pt x="2154" y="121"/>
                  <a:pt x="2154" y="121"/>
                </a:cubicBezTo>
                <a:cubicBezTo>
                  <a:pt x="2257" y="121"/>
                  <a:pt x="2257" y="121"/>
                  <a:pt x="2257" y="121"/>
                </a:cubicBezTo>
                <a:cubicBezTo>
                  <a:pt x="2260" y="121"/>
                  <a:pt x="2262" y="122"/>
                  <a:pt x="2262" y="126"/>
                </a:cubicBezTo>
                <a:cubicBezTo>
                  <a:pt x="2262" y="162"/>
                  <a:pt x="2262" y="162"/>
                  <a:pt x="2262" y="162"/>
                </a:cubicBezTo>
                <a:cubicBezTo>
                  <a:pt x="2262" y="165"/>
                  <a:pt x="2260" y="167"/>
                  <a:pt x="2257" y="167"/>
                </a:cubicBezTo>
                <a:cubicBezTo>
                  <a:pt x="2154" y="167"/>
                  <a:pt x="2154" y="167"/>
                  <a:pt x="2154" y="167"/>
                </a:cubicBezTo>
                <a:cubicBezTo>
                  <a:pt x="2154" y="289"/>
                  <a:pt x="2154" y="289"/>
                  <a:pt x="2154" y="289"/>
                </a:cubicBezTo>
                <a:cubicBezTo>
                  <a:pt x="2154" y="311"/>
                  <a:pt x="2158" y="326"/>
                  <a:pt x="2166" y="336"/>
                </a:cubicBezTo>
                <a:cubicBezTo>
                  <a:pt x="2174" y="348"/>
                  <a:pt x="2186" y="353"/>
                  <a:pt x="2204" y="353"/>
                </a:cubicBezTo>
                <a:cubicBezTo>
                  <a:pt x="2221" y="353"/>
                  <a:pt x="2232" y="351"/>
                  <a:pt x="2240" y="342"/>
                </a:cubicBezTo>
                <a:cubicBezTo>
                  <a:pt x="2248" y="333"/>
                  <a:pt x="2252" y="319"/>
                  <a:pt x="2255" y="300"/>
                </a:cubicBezTo>
                <a:cubicBezTo>
                  <a:pt x="2255" y="297"/>
                  <a:pt x="2257" y="295"/>
                  <a:pt x="2261" y="295"/>
                </a:cubicBezTo>
                <a:cubicBezTo>
                  <a:pt x="2296" y="295"/>
                  <a:pt x="2296" y="295"/>
                  <a:pt x="2296" y="295"/>
                </a:cubicBezTo>
                <a:cubicBezTo>
                  <a:pt x="2298" y="295"/>
                  <a:pt x="2298" y="295"/>
                  <a:pt x="2298" y="295"/>
                </a:cubicBezTo>
                <a:cubicBezTo>
                  <a:pt x="2298" y="295"/>
                  <a:pt x="2299" y="295"/>
                  <a:pt x="2300" y="296"/>
                </a:cubicBezTo>
                <a:cubicBezTo>
                  <a:pt x="2300" y="296"/>
                  <a:pt x="2301" y="297"/>
                  <a:pt x="2301" y="297"/>
                </a:cubicBezTo>
                <a:cubicBezTo>
                  <a:pt x="2301" y="298"/>
                  <a:pt x="2301" y="299"/>
                  <a:pt x="2301" y="300"/>
                </a:cubicBezTo>
                <a:cubicBezTo>
                  <a:pt x="2301" y="327"/>
                  <a:pt x="2295" y="350"/>
                  <a:pt x="2276" y="371"/>
                </a:cubicBezTo>
                <a:cubicBezTo>
                  <a:pt x="2259" y="390"/>
                  <a:pt x="2235" y="400"/>
                  <a:pt x="2205" y="400"/>
                </a:cubicBezTo>
                <a:cubicBezTo>
                  <a:pt x="2173" y="400"/>
                  <a:pt x="2149" y="390"/>
                  <a:pt x="2133" y="371"/>
                </a:cubicBezTo>
                <a:cubicBezTo>
                  <a:pt x="2116" y="353"/>
                  <a:pt x="2108" y="325"/>
                  <a:pt x="2108" y="289"/>
                </a:cubicBezTo>
                <a:cubicBezTo>
                  <a:pt x="2108" y="167"/>
                  <a:pt x="2108" y="167"/>
                  <a:pt x="2108" y="167"/>
                </a:cubicBezTo>
                <a:cubicBezTo>
                  <a:pt x="2059" y="167"/>
                  <a:pt x="2059" y="167"/>
                  <a:pt x="2059" y="167"/>
                </a:cubicBezTo>
                <a:cubicBezTo>
                  <a:pt x="2055" y="167"/>
                  <a:pt x="2054" y="165"/>
                  <a:pt x="2054" y="162"/>
                </a:cubicBezTo>
                <a:moveTo>
                  <a:pt x="543" y="162"/>
                </a:moveTo>
                <a:cubicBezTo>
                  <a:pt x="543" y="126"/>
                  <a:pt x="543" y="126"/>
                  <a:pt x="543" y="126"/>
                </a:cubicBezTo>
                <a:cubicBezTo>
                  <a:pt x="543" y="122"/>
                  <a:pt x="545" y="121"/>
                  <a:pt x="548" y="121"/>
                </a:cubicBezTo>
                <a:cubicBezTo>
                  <a:pt x="597" y="121"/>
                  <a:pt x="597" y="121"/>
                  <a:pt x="597" y="121"/>
                </a:cubicBezTo>
                <a:cubicBezTo>
                  <a:pt x="597" y="43"/>
                  <a:pt x="597" y="43"/>
                  <a:pt x="597" y="43"/>
                </a:cubicBezTo>
                <a:cubicBezTo>
                  <a:pt x="597" y="39"/>
                  <a:pt x="599" y="38"/>
                  <a:pt x="603" y="38"/>
                </a:cubicBezTo>
                <a:cubicBezTo>
                  <a:pt x="638" y="38"/>
                  <a:pt x="638" y="38"/>
                  <a:pt x="638" y="38"/>
                </a:cubicBezTo>
                <a:cubicBezTo>
                  <a:pt x="642" y="38"/>
                  <a:pt x="643" y="39"/>
                  <a:pt x="643" y="43"/>
                </a:cubicBezTo>
                <a:cubicBezTo>
                  <a:pt x="643" y="121"/>
                  <a:pt x="643" y="121"/>
                  <a:pt x="643" y="121"/>
                </a:cubicBezTo>
                <a:cubicBezTo>
                  <a:pt x="746" y="121"/>
                  <a:pt x="746" y="121"/>
                  <a:pt x="746" y="121"/>
                </a:cubicBezTo>
                <a:cubicBezTo>
                  <a:pt x="750" y="121"/>
                  <a:pt x="751" y="122"/>
                  <a:pt x="751" y="126"/>
                </a:cubicBezTo>
                <a:cubicBezTo>
                  <a:pt x="751" y="162"/>
                  <a:pt x="751" y="162"/>
                  <a:pt x="751" y="162"/>
                </a:cubicBezTo>
                <a:cubicBezTo>
                  <a:pt x="751" y="165"/>
                  <a:pt x="750" y="167"/>
                  <a:pt x="746" y="167"/>
                </a:cubicBezTo>
                <a:cubicBezTo>
                  <a:pt x="644" y="167"/>
                  <a:pt x="644" y="167"/>
                  <a:pt x="644" y="167"/>
                </a:cubicBezTo>
                <a:cubicBezTo>
                  <a:pt x="644" y="289"/>
                  <a:pt x="644" y="289"/>
                  <a:pt x="644" y="289"/>
                </a:cubicBezTo>
                <a:cubicBezTo>
                  <a:pt x="644" y="311"/>
                  <a:pt x="648" y="326"/>
                  <a:pt x="655" y="336"/>
                </a:cubicBezTo>
                <a:cubicBezTo>
                  <a:pt x="663" y="348"/>
                  <a:pt x="675" y="353"/>
                  <a:pt x="694" y="353"/>
                </a:cubicBezTo>
                <a:cubicBezTo>
                  <a:pt x="711" y="353"/>
                  <a:pt x="721" y="351"/>
                  <a:pt x="729" y="342"/>
                </a:cubicBezTo>
                <a:cubicBezTo>
                  <a:pt x="737" y="333"/>
                  <a:pt x="741" y="319"/>
                  <a:pt x="744" y="300"/>
                </a:cubicBezTo>
                <a:cubicBezTo>
                  <a:pt x="745" y="297"/>
                  <a:pt x="746" y="295"/>
                  <a:pt x="750" y="295"/>
                </a:cubicBezTo>
                <a:cubicBezTo>
                  <a:pt x="785" y="295"/>
                  <a:pt x="785" y="295"/>
                  <a:pt x="785" y="295"/>
                </a:cubicBezTo>
                <a:cubicBezTo>
                  <a:pt x="787" y="295"/>
                  <a:pt x="787" y="295"/>
                  <a:pt x="787" y="295"/>
                </a:cubicBezTo>
                <a:cubicBezTo>
                  <a:pt x="788" y="295"/>
                  <a:pt x="788" y="295"/>
                  <a:pt x="789" y="296"/>
                </a:cubicBezTo>
                <a:cubicBezTo>
                  <a:pt x="790" y="296"/>
                  <a:pt x="790" y="297"/>
                  <a:pt x="790" y="297"/>
                </a:cubicBezTo>
                <a:cubicBezTo>
                  <a:pt x="790" y="298"/>
                  <a:pt x="790" y="299"/>
                  <a:pt x="790" y="300"/>
                </a:cubicBezTo>
                <a:cubicBezTo>
                  <a:pt x="790" y="327"/>
                  <a:pt x="784" y="350"/>
                  <a:pt x="765" y="371"/>
                </a:cubicBezTo>
                <a:cubicBezTo>
                  <a:pt x="748" y="390"/>
                  <a:pt x="725" y="400"/>
                  <a:pt x="694" y="400"/>
                </a:cubicBezTo>
                <a:cubicBezTo>
                  <a:pt x="662" y="400"/>
                  <a:pt x="639" y="390"/>
                  <a:pt x="622" y="371"/>
                </a:cubicBezTo>
                <a:cubicBezTo>
                  <a:pt x="606" y="353"/>
                  <a:pt x="597" y="325"/>
                  <a:pt x="597" y="289"/>
                </a:cubicBezTo>
                <a:cubicBezTo>
                  <a:pt x="597" y="167"/>
                  <a:pt x="597" y="167"/>
                  <a:pt x="597" y="167"/>
                </a:cubicBezTo>
                <a:cubicBezTo>
                  <a:pt x="548" y="167"/>
                  <a:pt x="548" y="167"/>
                  <a:pt x="548" y="167"/>
                </a:cubicBezTo>
                <a:cubicBezTo>
                  <a:pt x="545" y="167"/>
                  <a:pt x="543" y="165"/>
                  <a:pt x="543" y="162"/>
                </a:cubicBezTo>
                <a:moveTo>
                  <a:pt x="1997" y="297"/>
                </a:moveTo>
                <a:cubicBezTo>
                  <a:pt x="1965" y="297"/>
                  <a:pt x="1965" y="297"/>
                  <a:pt x="1965" y="297"/>
                </a:cubicBezTo>
                <a:cubicBezTo>
                  <a:pt x="1958" y="297"/>
                  <a:pt x="1956" y="301"/>
                  <a:pt x="1955" y="304"/>
                </a:cubicBezTo>
                <a:cubicBezTo>
                  <a:pt x="1950" y="319"/>
                  <a:pt x="1942" y="331"/>
                  <a:pt x="1929" y="340"/>
                </a:cubicBezTo>
                <a:cubicBezTo>
                  <a:pt x="1917" y="349"/>
                  <a:pt x="1902" y="354"/>
                  <a:pt x="1885" y="354"/>
                </a:cubicBezTo>
                <a:cubicBezTo>
                  <a:pt x="1860" y="354"/>
                  <a:pt x="1837" y="345"/>
                  <a:pt x="1822" y="327"/>
                </a:cubicBezTo>
                <a:cubicBezTo>
                  <a:pt x="1807" y="309"/>
                  <a:pt x="1799" y="286"/>
                  <a:pt x="1799" y="258"/>
                </a:cubicBezTo>
                <a:cubicBezTo>
                  <a:pt x="1799" y="230"/>
                  <a:pt x="1807" y="206"/>
                  <a:pt x="1822" y="188"/>
                </a:cubicBezTo>
                <a:cubicBezTo>
                  <a:pt x="1837" y="170"/>
                  <a:pt x="1860" y="162"/>
                  <a:pt x="1885" y="162"/>
                </a:cubicBezTo>
                <a:cubicBezTo>
                  <a:pt x="1902" y="162"/>
                  <a:pt x="1916" y="166"/>
                  <a:pt x="1928" y="175"/>
                </a:cubicBezTo>
                <a:cubicBezTo>
                  <a:pt x="1941" y="184"/>
                  <a:pt x="1949" y="197"/>
                  <a:pt x="1954" y="213"/>
                </a:cubicBezTo>
                <a:cubicBezTo>
                  <a:pt x="1955" y="215"/>
                  <a:pt x="1957" y="219"/>
                  <a:pt x="1964" y="219"/>
                </a:cubicBezTo>
                <a:cubicBezTo>
                  <a:pt x="1996" y="219"/>
                  <a:pt x="1996" y="219"/>
                  <a:pt x="1996" y="219"/>
                </a:cubicBezTo>
                <a:cubicBezTo>
                  <a:pt x="1999" y="219"/>
                  <a:pt x="2002" y="217"/>
                  <a:pt x="2002" y="213"/>
                </a:cubicBezTo>
                <a:cubicBezTo>
                  <a:pt x="2002" y="211"/>
                  <a:pt x="2002" y="209"/>
                  <a:pt x="2001" y="207"/>
                </a:cubicBezTo>
                <a:cubicBezTo>
                  <a:pt x="1994" y="179"/>
                  <a:pt x="1982" y="157"/>
                  <a:pt x="1962" y="141"/>
                </a:cubicBezTo>
                <a:cubicBezTo>
                  <a:pt x="1942" y="125"/>
                  <a:pt x="1916" y="117"/>
                  <a:pt x="1885" y="117"/>
                </a:cubicBezTo>
                <a:cubicBezTo>
                  <a:pt x="1845" y="117"/>
                  <a:pt x="1812" y="130"/>
                  <a:pt x="1788" y="157"/>
                </a:cubicBezTo>
                <a:cubicBezTo>
                  <a:pt x="1765" y="183"/>
                  <a:pt x="1753" y="217"/>
                  <a:pt x="1753" y="258"/>
                </a:cubicBezTo>
                <a:cubicBezTo>
                  <a:pt x="1753" y="299"/>
                  <a:pt x="1765" y="333"/>
                  <a:pt x="1789" y="360"/>
                </a:cubicBezTo>
                <a:cubicBezTo>
                  <a:pt x="1812" y="386"/>
                  <a:pt x="1845" y="400"/>
                  <a:pt x="1885" y="400"/>
                </a:cubicBezTo>
                <a:cubicBezTo>
                  <a:pt x="1916" y="400"/>
                  <a:pt x="1942" y="392"/>
                  <a:pt x="1962" y="376"/>
                </a:cubicBezTo>
                <a:cubicBezTo>
                  <a:pt x="1982" y="360"/>
                  <a:pt x="1995" y="337"/>
                  <a:pt x="2003" y="309"/>
                </a:cubicBezTo>
                <a:cubicBezTo>
                  <a:pt x="2003" y="307"/>
                  <a:pt x="2003" y="305"/>
                  <a:pt x="2003" y="303"/>
                </a:cubicBezTo>
                <a:cubicBezTo>
                  <a:pt x="2003" y="300"/>
                  <a:pt x="2002" y="297"/>
                  <a:pt x="1997" y="297"/>
                </a:cubicBezTo>
                <a:moveTo>
                  <a:pt x="0" y="389"/>
                </a:moveTo>
                <a:cubicBezTo>
                  <a:pt x="0" y="354"/>
                  <a:pt x="0" y="354"/>
                  <a:pt x="0" y="354"/>
                </a:cubicBezTo>
                <a:cubicBezTo>
                  <a:pt x="0" y="351"/>
                  <a:pt x="2" y="349"/>
                  <a:pt x="6" y="349"/>
                </a:cubicBezTo>
                <a:cubicBezTo>
                  <a:pt x="78" y="349"/>
                  <a:pt x="78" y="349"/>
                  <a:pt x="78" y="349"/>
                </a:cubicBezTo>
                <a:cubicBezTo>
                  <a:pt x="78" y="167"/>
                  <a:pt x="78" y="167"/>
                  <a:pt x="78" y="167"/>
                </a:cubicBezTo>
                <a:cubicBezTo>
                  <a:pt x="19" y="167"/>
                  <a:pt x="19" y="167"/>
                  <a:pt x="19" y="167"/>
                </a:cubicBezTo>
                <a:cubicBezTo>
                  <a:pt x="16" y="167"/>
                  <a:pt x="14" y="165"/>
                  <a:pt x="14" y="162"/>
                </a:cubicBezTo>
                <a:cubicBezTo>
                  <a:pt x="14" y="126"/>
                  <a:pt x="14" y="126"/>
                  <a:pt x="14" y="126"/>
                </a:cubicBezTo>
                <a:cubicBezTo>
                  <a:pt x="14" y="122"/>
                  <a:pt x="16" y="121"/>
                  <a:pt x="19" y="121"/>
                </a:cubicBezTo>
                <a:cubicBezTo>
                  <a:pt x="119" y="121"/>
                  <a:pt x="119" y="121"/>
                  <a:pt x="119" y="121"/>
                </a:cubicBezTo>
                <a:cubicBezTo>
                  <a:pt x="122" y="121"/>
                  <a:pt x="124" y="122"/>
                  <a:pt x="125" y="126"/>
                </a:cubicBezTo>
                <a:cubicBezTo>
                  <a:pt x="125" y="349"/>
                  <a:pt x="125" y="349"/>
                  <a:pt x="125" y="349"/>
                </a:cubicBezTo>
                <a:cubicBezTo>
                  <a:pt x="206" y="349"/>
                  <a:pt x="206" y="349"/>
                  <a:pt x="206" y="349"/>
                </a:cubicBezTo>
                <a:cubicBezTo>
                  <a:pt x="209" y="349"/>
                  <a:pt x="211" y="351"/>
                  <a:pt x="211" y="354"/>
                </a:cubicBezTo>
                <a:cubicBezTo>
                  <a:pt x="211" y="389"/>
                  <a:pt x="211" y="389"/>
                  <a:pt x="211" y="389"/>
                </a:cubicBezTo>
                <a:cubicBezTo>
                  <a:pt x="211" y="393"/>
                  <a:pt x="210" y="395"/>
                  <a:pt x="206" y="395"/>
                </a:cubicBezTo>
                <a:cubicBezTo>
                  <a:pt x="6" y="395"/>
                  <a:pt x="6" y="395"/>
                  <a:pt x="6" y="395"/>
                </a:cubicBezTo>
                <a:cubicBezTo>
                  <a:pt x="2" y="395"/>
                  <a:pt x="0" y="393"/>
                  <a:pt x="0" y="389"/>
                </a:cubicBezTo>
                <a:moveTo>
                  <a:pt x="493" y="227"/>
                </a:moveTo>
                <a:cubicBezTo>
                  <a:pt x="493" y="199"/>
                  <a:pt x="485" y="173"/>
                  <a:pt x="463" y="149"/>
                </a:cubicBezTo>
                <a:cubicBezTo>
                  <a:pt x="444" y="128"/>
                  <a:pt x="411" y="116"/>
                  <a:pt x="381" y="116"/>
                </a:cubicBezTo>
                <a:cubicBezTo>
                  <a:pt x="332" y="116"/>
                  <a:pt x="312" y="150"/>
                  <a:pt x="312" y="150"/>
                </a:cubicBezTo>
                <a:cubicBezTo>
                  <a:pt x="312" y="126"/>
                  <a:pt x="312" y="126"/>
                  <a:pt x="312" y="126"/>
                </a:cubicBezTo>
                <a:cubicBezTo>
                  <a:pt x="312" y="122"/>
                  <a:pt x="311" y="121"/>
                  <a:pt x="307" y="121"/>
                </a:cubicBezTo>
                <a:cubicBezTo>
                  <a:pt x="272" y="121"/>
                  <a:pt x="272" y="121"/>
                  <a:pt x="272" y="121"/>
                </a:cubicBezTo>
                <a:cubicBezTo>
                  <a:pt x="268" y="121"/>
                  <a:pt x="266" y="122"/>
                  <a:pt x="266" y="126"/>
                </a:cubicBezTo>
                <a:cubicBezTo>
                  <a:pt x="266" y="231"/>
                  <a:pt x="266" y="231"/>
                  <a:pt x="266" y="231"/>
                </a:cubicBezTo>
                <a:cubicBezTo>
                  <a:pt x="266" y="235"/>
                  <a:pt x="266" y="238"/>
                  <a:pt x="266" y="242"/>
                </a:cubicBezTo>
                <a:cubicBezTo>
                  <a:pt x="266" y="244"/>
                  <a:pt x="266" y="247"/>
                  <a:pt x="266" y="250"/>
                </a:cubicBezTo>
                <a:cubicBezTo>
                  <a:pt x="266" y="389"/>
                  <a:pt x="266" y="389"/>
                  <a:pt x="266" y="389"/>
                </a:cubicBezTo>
                <a:cubicBezTo>
                  <a:pt x="266" y="393"/>
                  <a:pt x="268" y="395"/>
                  <a:pt x="272" y="395"/>
                </a:cubicBezTo>
                <a:cubicBezTo>
                  <a:pt x="307" y="395"/>
                  <a:pt x="307" y="395"/>
                  <a:pt x="307" y="395"/>
                </a:cubicBezTo>
                <a:cubicBezTo>
                  <a:pt x="311" y="395"/>
                  <a:pt x="312" y="393"/>
                  <a:pt x="312" y="389"/>
                </a:cubicBezTo>
                <a:cubicBezTo>
                  <a:pt x="312" y="251"/>
                  <a:pt x="312" y="251"/>
                  <a:pt x="312" y="251"/>
                </a:cubicBezTo>
                <a:cubicBezTo>
                  <a:pt x="312" y="250"/>
                  <a:pt x="312" y="250"/>
                  <a:pt x="312" y="250"/>
                </a:cubicBezTo>
                <a:cubicBezTo>
                  <a:pt x="312" y="250"/>
                  <a:pt x="312" y="250"/>
                  <a:pt x="312" y="250"/>
                </a:cubicBezTo>
                <a:cubicBezTo>
                  <a:pt x="312" y="243"/>
                  <a:pt x="312" y="241"/>
                  <a:pt x="312" y="236"/>
                </a:cubicBezTo>
                <a:cubicBezTo>
                  <a:pt x="312" y="235"/>
                  <a:pt x="312" y="235"/>
                  <a:pt x="312" y="235"/>
                </a:cubicBezTo>
                <a:cubicBezTo>
                  <a:pt x="312" y="234"/>
                  <a:pt x="312" y="233"/>
                  <a:pt x="312" y="232"/>
                </a:cubicBezTo>
                <a:cubicBezTo>
                  <a:pt x="312" y="232"/>
                  <a:pt x="312" y="231"/>
                  <a:pt x="312" y="231"/>
                </a:cubicBezTo>
                <a:cubicBezTo>
                  <a:pt x="312" y="230"/>
                  <a:pt x="313" y="229"/>
                  <a:pt x="313" y="228"/>
                </a:cubicBezTo>
                <a:cubicBezTo>
                  <a:pt x="313" y="228"/>
                  <a:pt x="313" y="224"/>
                  <a:pt x="313" y="223"/>
                </a:cubicBezTo>
                <a:cubicBezTo>
                  <a:pt x="313" y="222"/>
                  <a:pt x="313" y="222"/>
                  <a:pt x="313" y="221"/>
                </a:cubicBezTo>
                <a:cubicBezTo>
                  <a:pt x="313" y="220"/>
                  <a:pt x="313" y="220"/>
                  <a:pt x="313" y="219"/>
                </a:cubicBezTo>
                <a:cubicBezTo>
                  <a:pt x="313" y="218"/>
                  <a:pt x="313" y="218"/>
                  <a:pt x="313" y="217"/>
                </a:cubicBezTo>
                <a:cubicBezTo>
                  <a:pt x="313" y="216"/>
                  <a:pt x="313" y="216"/>
                  <a:pt x="313" y="215"/>
                </a:cubicBezTo>
                <a:cubicBezTo>
                  <a:pt x="314" y="215"/>
                  <a:pt x="314" y="214"/>
                  <a:pt x="314" y="213"/>
                </a:cubicBezTo>
                <a:cubicBezTo>
                  <a:pt x="314" y="213"/>
                  <a:pt x="314" y="212"/>
                  <a:pt x="314" y="211"/>
                </a:cubicBezTo>
                <a:cubicBezTo>
                  <a:pt x="314" y="211"/>
                  <a:pt x="314" y="210"/>
                  <a:pt x="315" y="210"/>
                </a:cubicBezTo>
                <a:cubicBezTo>
                  <a:pt x="315" y="209"/>
                  <a:pt x="315" y="208"/>
                  <a:pt x="315" y="208"/>
                </a:cubicBezTo>
                <a:cubicBezTo>
                  <a:pt x="315" y="207"/>
                  <a:pt x="315" y="207"/>
                  <a:pt x="316" y="206"/>
                </a:cubicBezTo>
                <a:cubicBezTo>
                  <a:pt x="316" y="205"/>
                  <a:pt x="316" y="205"/>
                  <a:pt x="316" y="204"/>
                </a:cubicBezTo>
                <a:cubicBezTo>
                  <a:pt x="316" y="203"/>
                  <a:pt x="317" y="203"/>
                  <a:pt x="317" y="202"/>
                </a:cubicBezTo>
                <a:cubicBezTo>
                  <a:pt x="317" y="202"/>
                  <a:pt x="317" y="201"/>
                  <a:pt x="318" y="200"/>
                </a:cubicBezTo>
                <a:cubicBezTo>
                  <a:pt x="318" y="200"/>
                  <a:pt x="318" y="199"/>
                  <a:pt x="319" y="199"/>
                </a:cubicBezTo>
                <a:cubicBezTo>
                  <a:pt x="319" y="198"/>
                  <a:pt x="319" y="197"/>
                  <a:pt x="319" y="197"/>
                </a:cubicBezTo>
                <a:cubicBezTo>
                  <a:pt x="320" y="196"/>
                  <a:pt x="320" y="195"/>
                  <a:pt x="321" y="195"/>
                </a:cubicBezTo>
                <a:cubicBezTo>
                  <a:pt x="321" y="194"/>
                  <a:pt x="321" y="194"/>
                  <a:pt x="322" y="193"/>
                </a:cubicBezTo>
                <a:cubicBezTo>
                  <a:pt x="322" y="192"/>
                  <a:pt x="323" y="192"/>
                  <a:pt x="323" y="191"/>
                </a:cubicBezTo>
                <a:cubicBezTo>
                  <a:pt x="323" y="190"/>
                  <a:pt x="324" y="190"/>
                  <a:pt x="324" y="189"/>
                </a:cubicBezTo>
                <a:cubicBezTo>
                  <a:pt x="325" y="188"/>
                  <a:pt x="326" y="187"/>
                  <a:pt x="327" y="186"/>
                </a:cubicBezTo>
                <a:cubicBezTo>
                  <a:pt x="342" y="168"/>
                  <a:pt x="360" y="162"/>
                  <a:pt x="380" y="162"/>
                </a:cubicBezTo>
                <a:cubicBezTo>
                  <a:pt x="398" y="162"/>
                  <a:pt x="416" y="169"/>
                  <a:pt x="427" y="180"/>
                </a:cubicBezTo>
                <a:cubicBezTo>
                  <a:pt x="439" y="192"/>
                  <a:pt x="447" y="210"/>
                  <a:pt x="447" y="229"/>
                </a:cubicBezTo>
                <a:cubicBezTo>
                  <a:pt x="447" y="254"/>
                  <a:pt x="447" y="254"/>
                  <a:pt x="447" y="254"/>
                </a:cubicBezTo>
                <a:cubicBezTo>
                  <a:pt x="447" y="389"/>
                  <a:pt x="447" y="389"/>
                  <a:pt x="447" y="389"/>
                </a:cubicBezTo>
                <a:cubicBezTo>
                  <a:pt x="447" y="393"/>
                  <a:pt x="449" y="395"/>
                  <a:pt x="453" y="395"/>
                </a:cubicBezTo>
                <a:cubicBezTo>
                  <a:pt x="488" y="395"/>
                  <a:pt x="488" y="395"/>
                  <a:pt x="488" y="395"/>
                </a:cubicBezTo>
                <a:cubicBezTo>
                  <a:pt x="492" y="395"/>
                  <a:pt x="493" y="393"/>
                  <a:pt x="493" y="389"/>
                </a:cubicBezTo>
                <a:cubicBezTo>
                  <a:pt x="493" y="254"/>
                  <a:pt x="493" y="254"/>
                  <a:pt x="493" y="254"/>
                </a:cubicBezTo>
                <a:cubicBezTo>
                  <a:pt x="493" y="228"/>
                  <a:pt x="493" y="228"/>
                  <a:pt x="493" y="228"/>
                </a:cubicBezTo>
                <a:cubicBezTo>
                  <a:pt x="493" y="227"/>
                  <a:pt x="493" y="227"/>
                  <a:pt x="493" y="227"/>
                </a:cubicBezTo>
                <a:close/>
                <a:moveTo>
                  <a:pt x="105" y="0"/>
                </a:moveTo>
                <a:cubicBezTo>
                  <a:pt x="84" y="0"/>
                  <a:pt x="67" y="17"/>
                  <a:pt x="67" y="38"/>
                </a:cubicBezTo>
                <a:cubicBezTo>
                  <a:pt x="67" y="58"/>
                  <a:pt x="84" y="75"/>
                  <a:pt x="105" y="75"/>
                </a:cubicBezTo>
                <a:cubicBezTo>
                  <a:pt x="125" y="75"/>
                  <a:pt x="142" y="58"/>
                  <a:pt x="142" y="38"/>
                </a:cubicBezTo>
                <a:cubicBezTo>
                  <a:pt x="142" y="17"/>
                  <a:pt x="125" y="0"/>
                  <a:pt x="105" y="0"/>
                </a:cubicBezTo>
                <a:moveTo>
                  <a:pt x="1386" y="179"/>
                </a:moveTo>
                <a:cubicBezTo>
                  <a:pt x="1390" y="177"/>
                  <a:pt x="1391" y="173"/>
                  <a:pt x="1389" y="169"/>
                </a:cubicBezTo>
                <a:cubicBezTo>
                  <a:pt x="1385" y="162"/>
                  <a:pt x="1380" y="156"/>
                  <a:pt x="1374" y="149"/>
                </a:cubicBezTo>
                <a:cubicBezTo>
                  <a:pt x="1355" y="128"/>
                  <a:pt x="1322" y="116"/>
                  <a:pt x="1292" y="116"/>
                </a:cubicBezTo>
                <a:cubicBezTo>
                  <a:pt x="1243" y="116"/>
                  <a:pt x="1223" y="150"/>
                  <a:pt x="1223" y="150"/>
                </a:cubicBezTo>
                <a:cubicBezTo>
                  <a:pt x="1223" y="126"/>
                  <a:pt x="1223" y="126"/>
                  <a:pt x="1223" y="126"/>
                </a:cubicBezTo>
                <a:cubicBezTo>
                  <a:pt x="1223" y="123"/>
                  <a:pt x="1221" y="121"/>
                  <a:pt x="1218" y="121"/>
                </a:cubicBezTo>
                <a:cubicBezTo>
                  <a:pt x="1183" y="121"/>
                  <a:pt x="1183" y="121"/>
                  <a:pt x="1183" y="121"/>
                </a:cubicBezTo>
                <a:cubicBezTo>
                  <a:pt x="1179" y="121"/>
                  <a:pt x="1177" y="122"/>
                  <a:pt x="1177" y="126"/>
                </a:cubicBezTo>
                <a:cubicBezTo>
                  <a:pt x="1177" y="231"/>
                  <a:pt x="1177" y="231"/>
                  <a:pt x="1177" y="231"/>
                </a:cubicBezTo>
                <a:cubicBezTo>
                  <a:pt x="1177" y="235"/>
                  <a:pt x="1177" y="238"/>
                  <a:pt x="1177" y="242"/>
                </a:cubicBezTo>
                <a:cubicBezTo>
                  <a:pt x="1177" y="244"/>
                  <a:pt x="1177" y="247"/>
                  <a:pt x="1177" y="250"/>
                </a:cubicBezTo>
                <a:cubicBezTo>
                  <a:pt x="1177" y="389"/>
                  <a:pt x="1177" y="389"/>
                  <a:pt x="1177" y="389"/>
                </a:cubicBezTo>
                <a:cubicBezTo>
                  <a:pt x="1177" y="393"/>
                  <a:pt x="1179" y="395"/>
                  <a:pt x="1183" y="395"/>
                </a:cubicBezTo>
                <a:cubicBezTo>
                  <a:pt x="1218" y="395"/>
                  <a:pt x="1218" y="395"/>
                  <a:pt x="1218" y="395"/>
                </a:cubicBezTo>
                <a:cubicBezTo>
                  <a:pt x="1221" y="395"/>
                  <a:pt x="1223" y="392"/>
                  <a:pt x="1223" y="389"/>
                </a:cubicBezTo>
                <a:cubicBezTo>
                  <a:pt x="1223" y="251"/>
                  <a:pt x="1223" y="251"/>
                  <a:pt x="1223" y="251"/>
                </a:cubicBezTo>
                <a:cubicBezTo>
                  <a:pt x="1223" y="250"/>
                  <a:pt x="1223" y="250"/>
                  <a:pt x="1223" y="250"/>
                </a:cubicBezTo>
                <a:cubicBezTo>
                  <a:pt x="1223" y="250"/>
                  <a:pt x="1223" y="250"/>
                  <a:pt x="1223" y="250"/>
                </a:cubicBezTo>
                <a:cubicBezTo>
                  <a:pt x="1223" y="243"/>
                  <a:pt x="1223" y="241"/>
                  <a:pt x="1223" y="236"/>
                </a:cubicBezTo>
                <a:cubicBezTo>
                  <a:pt x="1223" y="236"/>
                  <a:pt x="1223" y="235"/>
                  <a:pt x="1223" y="235"/>
                </a:cubicBezTo>
                <a:cubicBezTo>
                  <a:pt x="1223" y="234"/>
                  <a:pt x="1223" y="233"/>
                  <a:pt x="1223" y="232"/>
                </a:cubicBezTo>
                <a:cubicBezTo>
                  <a:pt x="1223" y="232"/>
                  <a:pt x="1223" y="231"/>
                  <a:pt x="1223" y="231"/>
                </a:cubicBezTo>
                <a:cubicBezTo>
                  <a:pt x="1223" y="230"/>
                  <a:pt x="1223" y="229"/>
                  <a:pt x="1224" y="228"/>
                </a:cubicBezTo>
                <a:cubicBezTo>
                  <a:pt x="1224" y="228"/>
                  <a:pt x="1224" y="224"/>
                  <a:pt x="1224" y="223"/>
                </a:cubicBezTo>
                <a:cubicBezTo>
                  <a:pt x="1224" y="222"/>
                  <a:pt x="1224" y="222"/>
                  <a:pt x="1224" y="221"/>
                </a:cubicBezTo>
                <a:cubicBezTo>
                  <a:pt x="1224" y="220"/>
                  <a:pt x="1224" y="220"/>
                  <a:pt x="1224" y="219"/>
                </a:cubicBezTo>
                <a:cubicBezTo>
                  <a:pt x="1224" y="218"/>
                  <a:pt x="1224" y="218"/>
                  <a:pt x="1224" y="217"/>
                </a:cubicBezTo>
                <a:cubicBezTo>
                  <a:pt x="1224" y="216"/>
                  <a:pt x="1224" y="216"/>
                  <a:pt x="1224" y="215"/>
                </a:cubicBezTo>
                <a:cubicBezTo>
                  <a:pt x="1225" y="215"/>
                  <a:pt x="1225" y="214"/>
                  <a:pt x="1225" y="213"/>
                </a:cubicBezTo>
                <a:cubicBezTo>
                  <a:pt x="1225" y="213"/>
                  <a:pt x="1225" y="212"/>
                  <a:pt x="1225" y="211"/>
                </a:cubicBezTo>
                <a:cubicBezTo>
                  <a:pt x="1225" y="211"/>
                  <a:pt x="1225" y="210"/>
                  <a:pt x="1226" y="210"/>
                </a:cubicBezTo>
                <a:cubicBezTo>
                  <a:pt x="1226" y="209"/>
                  <a:pt x="1226" y="208"/>
                  <a:pt x="1226" y="208"/>
                </a:cubicBezTo>
                <a:cubicBezTo>
                  <a:pt x="1226" y="207"/>
                  <a:pt x="1226" y="207"/>
                  <a:pt x="1227" y="206"/>
                </a:cubicBezTo>
                <a:cubicBezTo>
                  <a:pt x="1227" y="205"/>
                  <a:pt x="1227" y="205"/>
                  <a:pt x="1227" y="204"/>
                </a:cubicBezTo>
                <a:cubicBezTo>
                  <a:pt x="1227" y="203"/>
                  <a:pt x="1228" y="203"/>
                  <a:pt x="1228" y="202"/>
                </a:cubicBezTo>
                <a:cubicBezTo>
                  <a:pt x="1228" y="202"/>
                  <a:pt x="1228" y="201"/>
                  <a:pt x="1229" y="200"/>
                </a:cubicBezTo>
                <a:cubicBezTo>
                  <a:pt x="1229" y="200"/>
                  <a:pt x="1229" y="199"/>
                  <a:pt x="1230" y="199"/>
                </a:cubicBezTo>
                <a:cubicBezTo>
                  <a:pt x="1230" y="198"/>
                  <a:pt x="1230" y="197"/>
                  <a:pt x="1230" y="197"/>
                </a:cubicBezTo>
                <a:cubicBezTo>
                  <a:pt x="1231" y="196"/>
                  <a:pt x="1231" y="195"/>
                  <a:pt x="1232" y="195"/>
                </a:cubicBezTo>
                <a:cubicBezTo>
                  <a:pt x="1232" y="194"/>
                  <a:pt x="1232" y="194"/>
                  <a:pt x="1232" y="193"/>
                </a:cubicBezTo>
                <a:cubicBezTo>
                  <a:pt x="1233" y="192"/>
                  <a:pt x="1233" y="192"/>
                  <a:pt x="1234" y="191"/>
                </a:cubicBezTo>
                <a:cubicBezTo>
                  <a:pt x="1234" y="190"/>
                  <a:pt x="1235" y="190"/>
                  <a:pt x="1235" y="189"/>
                </a:cubicBezTo>
                <a:cubicBezTo>
                  <a:pt x="1236" y="188"/>
                  <a:pt x="1237" y="187"/>
                  <a:pt x="1238" y="186"/>
                </a:cubicBezTo>
                <a:cubicBezTo>
                  <a:pt x="1253" y="168"/>
                  <a:pt x="1271" y="162"/>
                  <a:pt x="1291" y="162"/>
                </a:cubicBezTo>
                <a:cubicBezTo>
                  <a:pt x="1308" y="162"/>
                  <a:pt x="1328" y="169"/>
                  <a:pt x="1338" y="180"/>
                </a:cubicBezTo>
                <a:cubicBezTo>
                  <a:pt x="1341" y="184"/>
                  <a:pt x="1345" y="188"/>
                  <a:pt x="1348" y="192"/>
                </a:cubicBezTo>
                <a:cubicBezTo>
                  <a:pt x="1350" y="196"/>
                  <a:pt x="1354" y="197"/>
                  <a:pt x="1357" y="195"/>
                </a:cubicBezTo>
                <a:lnTo>
                  <a:pt x="1386" y="179"/>
                </a:lnTo>
                <a:close/>
                <a:moveTo>
                  <a:pt x="1106" y="268"/>
                </a:moveTo>
                <a:cubicBezTo>
                  <a:pt x="1109" y="268"/>
                  <a:pt x="1112" y="265"/>
                  <a:pt x="1112" y="262"/>
                </a:cubicBezTo>
                <a:cubicBezTo>
                  <a:pt x="1112" y="256"/>
                  <a:pt x="1112" y="249"/>
                  <a:pt x="1112" y="246"/>
                </a:cubicBezTo>
                <a:cubicBezTo>
                  <a:pt x="1107" y="184"/>
                  <a:pt x="1065" y="133"/>
                  <a:pt x="1010" y="120"/>
                </a:cubicBezTo>
                <a:cubicBezTo>
                  <a:pt x="1006" y="119"/>
                  <a:pt x="1002" y="122"/>
                  <a:pt x="1002" y="126"/>
                </a:cubicBezTo>
                <a:cubicBezTo>
                  <a:pt x="1002" y="164"/>
                  <a:pt x="1002" y="164"/>
                  <a:pt x="1002" y="164"/>
                </a:cubicBezTo>
                <a:cubicBezTo>
                  <a:pt x="1002" y="166"/>
                  <a:pt x="1004" y="169"/>
                  <a:pt x="1006" y="170"/>
                </a:cubicBezTo>
                <a:cubicBezTo>
                  <a:pt x="1032" y="179"/>
                  <a:pt x="1053" y="201"/>
                  <a:pt x="1062" y="229"/>
                </a:cubicBezTo>
                <a:cubicBezTo>
                  <a:pt x="900" y="229"/>
                  <a:pt x="900" y="229"/>
                  <a:pt x="900" y="229"/>
                </a:cubicBezTo>
                <a:cubicBezTo>
                  <a:pt x="909" y="201"/>
                  <a:pt x="930" y="179"/>
                  <a:pt x="956" y="170"/>
                </a:cubicBezTo>
                <a:cubicBezTo>
                  <a:pt x="958" y="169"/>
                  <a:pt x="960" y="166"/>
                  <a:pt x="960" y="164"/>
                </a:cubicBezTo>
                <a:cubicBezTo>
                  <a:pt x="960" y="126"/>
                  <a:pt x="960" y="126"/>
                  <a:pt x="960" y="126"/>
                </a:cubicBezTo>
                <a:cubicBezTo>
                  <a:pt x="960" y="122"/>
                  <a:pt x="956" y="119"/>
                  <a:pt x="952" y="120"/>
                </a:cubicBezTo>
                <a:cubicBezTo>
                  <a:pt x="893" y="134"/>
                  <a:pt x="850" y="191"/>
                  <a:pt x="850" y="258"/>
                </a:cubicBezTo>
                <a:cubicBezTo>
                  <a:pt x="850" y="337"/>
                  <a:pt x="908" y="400"/>
                  <a:pt x="981" y="400"/>
                </a:cubicBezTo>
                <a:cubicBezTo>
                  <a:pt x="1032" y="400"/>
                  <a:pt x="1076" y="369"/>
                  <a:pt x="1098" y="322"/>
                </a:cubicBezTo>
                <a:cubicBezTo>
                  <a:pt x="1100" y="318"/>
                  <a:pt x="1097" y="313"/>
                  <a:pt x="1092" y="313"/>
                </a:cubicBezTo>
                <a:cubicBezTo>
                  <a:pt x="1055" y="313"/>
                  <a:pt x="1055" y="313"/>
                  <a:pt x="1055" y="313"/>
                </a:cubicBezTo>
                <a:cubicBezTo>
                  <a:pt x="1053" y="313"/>
                  <a:pt x="1051" y="314"/>
                  <a:pt x="1049" y="316"/>
                </a:cubicBezTo>
                <a:cubicBezTo>
                  <a:pt x="1034" y="339"/>
                  <a:pt x="1009" y="354"/>
                  <a:pt x="981" y="354"/>
                </a:cubicBezTo>
                <a:cubicBezTo>
                  <a:pt x="936" y="354"/>
                  <a:pt x="900" y="316"/>
                  <a:pt x="896" y="268"/>
                </a:cubicBezTo>
                <a:cubicBezTo>
                  <a:pt x="1066" y="268"/>
                  <a:pt x="1066" y="268"/>
                  <a:pt x="1066" y="268"/>
                </a:cubicBezTo>
                <a:cubicBezTo>
                  <a:pt x="1066" y="268"/>
                  <a:pt x="1066" y="268"/>
                  <a:pt x="1066" y="268"/>
                </a:cubicBezTo>
                <a:lnTo>
                  <a:pt x="1106" y="268"/>
                </a:lnTo>
                <a:close/>
                <a:moveTo>
                  <a:pt x="1692" y="232"/>
                </a:moveTo>
                <a:cubicBezTo>
                  <a:pt x="1692" y="126"/>
                  <a:pt x="1692" y="126"/>
                  <a:pt x="1692" y="126"/>
                </a:cubicBezTo>
                <a:cubicBezTo>
                  <a:pt x="1692" y="123"/>
                  <a:pt x="1690" y="121"/>
                  <a:pt x="1686" y="121"/>
                </a:cubicBezTo>
                <a:cubicBezTo>
                  <a:pt x="1651" y="121"/>
                  <a:pt x="1651" y="121"/>
                  <a:pt x="1651" y="121"/>
                </a:cubicBezTo>
                <a:cubicBezTo>
                  <a:pt x="1648" y="121"/>
                  <a:pt x="1646" y="123"/>
                  <a:pt x="1646" y="126"/>
                </a:cubicBezTo>
                <a:cubicBezTo>
                  <a:pt x="1646" y="149"/>
                  <a:pt x="1646" y="149"/>
                  <a:pt x="1646" y="149"/>
                </a:cubicBezTo>
                <a:cubicBezTo>
                  <a:pt x="1628" y="133"/>
                  <a:pt x="1607" y="121"/>
                  <a:pt x="1583" y="116"/>
                </a:cubicBezTo>
                <a:cubicBezTo>
                  <a:pt x="1580" y="115"/>
                  <a:pt x="1578" y="117"/>
                  <a:pt x="1578" y="120"/>
                </a:cubicBezTo>
                <a:cubicBezTo>
                  <a:pt x="1578" y="161"/>
                  <a:pt x="1578" y="161"/>
                  <a:pt x="1578" y="161"/>
                </a:cubicBezTo>
                <a:cubicBezTo>
                  <a:pt x="1578" y="163"/>
                  <a:pt x="1579" y="165"/>
                  <a:pt x="1581" y="165"/>
                </a:cubicBezTo>
                <a:cubicBezTo>
                  <a:pt x="1619" y="176"/>
                  <a:pt x="1648" y="213"/>
                  <a:pt x="1648" y="258"/>
                </a:cubicBezTo>
                <a:cubicBezTo>
                  <a:pt x="1648" y="311"/>
                  <a:pt x="1608" y="354"/>
                  <a:pt x="1558" y="354"/>
                </a:cubicBezTo>
                <a:cubicBezTo>
                  <a:pt x="1509" y="354"/>
                  <a:pt x="1469" y="311"/>
                  <a:pt x="1469" y="258"/>
                </a:cubicBezTo>
                <a:cubicBezTo>
                  <a:pt x="1469" y="214"/>
                  <a:pt x="1496" y="178"/>
                  <a:pt x="1533" y="166"/>
                </a:cubicBezTo>
                <a:cubicBezTo>
                  <a:pt x="1535" y="165"/>
                  <a:pt x="1536" y="164"/>
                  <a:pt x="1536" y="162"/>
                </a:cubicBezTo>
                <a:cubicBezTo>
                  <a:pt x="1536" y="120"/>
                  <a:pt x="1536" y="120"/>
                  <a:pt x="1536" y="120"/>
                </a:cubicBezTo>
                <a:cubicBezTo>
                  <a:pt x="1536" y="117"/>
                  <a:pt x="1534" y="115"/>
                  <a:pt x="1531" y="116"/>
                </a:cubicBezTo>
                <a:cubicBezTo>
                  <a:pt x="1469" y="128"/>
                  <a:pt x="1422" y="187"/>
                  <a:pt x="1422" y="257"/>
                </a:cubicBezTo>
                <a:cubicBezTo>
                  <a:pt x="1422" y="336"/>
                  <a:pt x="1482" y="400"/>
                  <a:pt x="1557" y="400"/>
                </a:cubicBezTo>
                <a:cubicBezTo>
                  <a:pt x="1591" y="400"/>
                  <a:pt x="1622" y="386"/>
                  <a:pt x="1646" y="364"/>
                </a:cubicBezTo>
                <a:cubicBezTo>
                  <a:pt x="1646" y="390"/>
                  <a:pt x="1646" y="390"/>
                  <a:pt x="1646" y="390"/>
                </a:cubicBezTo>
                <a:cubicBezTo>
                  <a:pt x="1646" y="393"/>
                  <a:pt x="1648" y="395"/>
                  <a:pt x="1651" y="395"/>
                </a:cubicBezTo>
                <a:cubicBezTo>
                  <a:pt x="1686" y="395"/>
                  <a:pt x="1686" y="395"/>
                  <a:pt x="1686" y="395"/>
                </a:cubicBezTo>
                <a:cubicBezTo>
                  <a:pt x="1690" y="395"/>
                  <a:pt x="1692" y="393"/>
                  <a:pt x="1692" y="390"/>
                </a:cubicBezTo>
                <a:cubicBezTo>
                  <a:pt x="1692" y="250"/>
                  <a:pt x="1692" y="250"/>
                  <a:pt x="1692" y="250"/>
                </a:cubicBezTo>
                <a:cubicBezTo>
                  <a:pt x="1692" y="247"/>
                  <a:pt x="1692" y="245"/>
                  <a:pt x="1692" y="242"/>
                </a:cubicBezTo>
                <a:cubicBezTo>
                  <a:pt x="1692" y="239"/>
                  <a:pt x="1692" y="235"/>
                  <a:pt x="1692" y="232"/>
                </a:cubicBezTo>
              </a:path>
            </a:pathLst>
          </a:custGeom>
          <a:solidFill>
            <a:srgbClr val="FF37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230342561"/>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type="title" preserve="1">
  <p:cSld name="Title Slide Coral">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806139"/>
            <a:ext cx="9144001" cy="3245724"/>
          </a:xfrm>
        </p:spPr>
        <p:txBody>
          <a:bodyPr anchor="ctr"/>
          <a:lstStyle>
            <a:lvl1pPr algn="ctr">
              <a:defRPr sz="4000">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524000" y="5714325"/>
            <a:ext cx="9144001" cy="453754"/>
          </a:xfrm>
        </p:spPr>
        <p:txBody>
          <a:bodyPr/>
          <a:lstStyle>
            <a:lvl1pPr marL="0" indent="0" algn="ctr">
              <a:buNone/>
              <a:defRPr sz="2400">
                <a:solidFill>
                  <a:schemeClr val="bg2"/>
                </a:solidFill>
              </a:defRPr>
            </a:lvl1pPr>
            <a:lvl2pPr marL="521258" indent="0" algn="ctr">
              <a:buNone/>
              <a:defRPr sz="2280"/>
            </a:lvl2pPr>
            <a:lvl3pPr marL="1042512" indent="0" algn="ctr">
              <a:buNone/>
              <a:defRPr sz="2052"/>
            </a:lvl3pPr>
            <a:lvl4pPr marL="1563773" indent="0" algn="ctr">
              <a:buNone/>
              <a:defRPr sz="1824"/>
            </a:lvl4pPr>
            <a:lvl5pPr marL="2085031" indent="0" algn="ctr">
              <a:buNone/>
              <a:defRPr sz="1824"/>
            </a:lvl5pPr>
            <a:lvl6pPr marL="2606285" indent="0" algn="ctr">
              <a:buNone/>
              <a:defRPr sz="1824"/>
            </a:lvl6pPr>
            <a:lvl7pPr marL="3127543" indent="0" algn="ctr">
              <a:buNone/>
              <a:defRPr sz="1824"/>
            </a:lvl7pPr>
            <a:lvl8pPr marL="3648803" indent="0" algn="ctr">
              <a:buNone/>
              <a:defRPr sz="1824"/>
            </a:lvl8pPr>
            <a:lvl9pPr marL="4170060" indent="0" algn="ctr">
              <a:buNone/>
              <a:defRPr sz="1824"/>
            </a:lvl9pPr>
          </a:lstStyle>
          <a:p>
            <a:r>
              <a:rPr lang="en-US"/>
              <a:t>Click to edit Master subtitle style</a:t>
            </a:r>
            <a:endParaRPr lang="en-US" dirty="0"/>
          </a:p>
        </p:txBody>
      </p:sp>
      <p:sp>
        <p:nvSpPr>
          <p:cNvPr id="15" name="Freeform 5">
            <a:extLst>
              <a:ext uri="{FF2B5EF4-FFF2-40B4-BE49-F238E27FC236}">
                <a16:creationId xmlns:a16="http://schemas.microsoft.com/office/drawing/2014/main" id="{E019F4F3-4329-484A-96A3-B3A599B3BA7F}"/>
              </a:ext>
            </a:extLst>
          </p:cNvPr>
          <p:cNvSpPr>
            <a:spLocks noChangeAspect="1" noEditPoints="1"/>
          </p:cNvSpPr>
          <p:nvPr/>
        </p:nvSpPr>
        <p:spPr bwMode="auto">
          <a:xfrm>
            <a:off x="5282400" y="662400"/>
            <a:ext cx="1627200" cy="283542"/>
          </a:xfrm>
          <a:custGeom>
            <a:avLst/>
            <a:gdLst>
              <a:gd name="T0" fmla="*/ 2108 w 2301"/>
              <a:gd name="T1" fmla="*/ 43 h 400"/>
              <a:gd name="T2" fmla="*/ 2257 w 2301"/>
              <a:gd name="T3" fmla="*/ 121 h 400"/>
              <a:gd name="T4" fmla="*/ 2154 w 2301"/>
              <a:gd name="T5" fmla="*/ 289 h 400"/>
              <a:gd name="T6" fmla="*/ 2261 w 2301"/>
              <a:gd name="T7" fmla="*/ 295 h 400"/>
              <a:gd name="T8" fmla="*/ 2301 w 2301"/>
              <a:gd name="T9" fmla="*/ 300 h 400"/>
              <a:gd name="T10" fmla="*/ 2108 w 2301"/>
              <a:gd name="T11" fmla="*/ 167 h 400"/>
              <a:gd name="T12" fmla="*/ 548 w 2301"/>
              <a:gd name="T13" fmla="*/ 121 h 400"/>
              <a:gd name="T14" fmla="*/ 643 w 2301"/>
              <a:gd name="T15" fmla="*/ 43 h 400"/>
              <a:gd name="T16" fmla="*/ 746 w 2301"/>
              <a:gd name="T17" fmla="*/ 167 h 400"/>
              <a:gd name="T18" fmla="*/ 729 w 2301"/>
              <a:gd name="T19" fmla="*/ 342 h 400"/>
              <a:gd name="T20" fmla="*/ 789 w 2301"/>
              <a:gd name="T21" fmla="*/ 296 h 400"/>
              <a:gd name="T22" fmla="*/ 622 w 2301"/>
              <a:gd name="T23" fmla="*/ 371 h 400"/>
              <a:gd name="T24" fmla="*/ 1997 w 2301"/>
              <a:gd name="T25" fmla="*/ 297 h 400"/>
              <a:gd name="T26" fmla="*/ 1822 w 2301"/>
              <a:gd name="T27" fmla="*/ 327 h 400"/>
              <a:gd name="T28" fmla="*/ 1954 w 2301"/>
              <a:gd name="T29" fmla="*/ 213 h 400"/>
              <a:gd name="T30" fmla="*/ 1962 w 2301"/>
              <a:gd name="T31" fmla="*/ 141 h 400"/>
              <a:gd name="T32" fmla="*/ 1885 w 2301"/>
              <a:gd name="T33" fmla="*/ 400 h 400"/>
              <a:gd name="T34" fmla="*/ 0 w 2301"/>
              <a:gd name="T35" fmla="*/ 389 h 400"/>
              <a:gd name="T36" fmla="*/ 19 w 2301"/>
              <a:gd name="T37" fmla="*/ 167 h 400"/>
              <a:gd name="T38" fmla="*/ 125 w 2301"/>
              <a:gd name="T39" fmla="*/ 126 h 400"/>
              <a:gd name="T40" fmla="*/ 206 w 2301"/>
              <a:gd name="T41" fmla="*/ 395 h 400"/>
              <a:gd name="T42" fmla="*/ 381 w 2301"/>
              <a:gd name="T43" fmla="*/ 116 h 400"/>
              <a:gd name="T44" fmla="*/ 266 w 2301"/>
              <a:gd name="T45" fmla="*/ 126 h 400"/>
              <a:gd name="T46" fmla="*/ 272 w 2301"/>
              <a:gd name="T47" fmla="*/ 395 h 400"/>
              <a:gd name="T48" fmla="*/ 312 w 2301"/>
              <a:gd name="T49" fmla="*/ 250 h 400"/>
              <a:gd name="T50" fmla="*/ 313 w 2301"/>
              <a:gd name="T51" fmla="*/ 228 h 400"/>
              <a:gd name="T52" fmla="*/ 313 w 2301"/>
              <a:gd name="T53" fmla="*/ 215 h 400"/>
              <a:gd name="T54" fmla="*/ 316 w 2301"/>
              <a:gd name="T55" fmla="*/ 206 h 400"/>
              <a:gd name="T56" fmla="*/ 319 w 2301"/>
              <a:gd name="T57" fmla="*/ 197 h 400"/>
              <a:gd name="T58" fmla="*/ 327 w 2301"/>
              <a:gd name="T59" fmla="*/ 186 h 400"/>
              <a:gd name="T60" fmla="*/ 447 w 2301"/>
              <a:gd name="T61" fmla="*/ 389 h 400"/>
              <a:gd name="T62" fmla="*/ 493 w 2301"/>
              <a:gd name="T63" fmla="*/ 228 h 400"/>
              <a:gd name="T64" fmla="*/ 142 w 2301"/>
              <a:gd name="T65" fmla="*/ 38 h 400"/>
              <a:gd name="T66" fmla="*/ 1292 w 2301"/>
              <a:gd name="T67" fmla="*/ 116 h 400"/>
              <a:gd name="T68" fmla="*/ 1177 w 2301"/>
              <a:gd name="T69" fmla="*/ 126 h 400"/>
              <a:gd name="T70" fmla="*/ 1183 w 2301"/>
              <a:gd name="T71" fmla="*/ 395 h 400"/>
              <a:gd name="T72" fmla="*/ 1223 w 2301"/>
              <a:gd name="T73" fmla="*/ 250 h 400"/>
              <a:gd name="T74" fmla="*/ 1224 w 2301"/>
              <a:gd name="T75" fmla="*/ 228 h 400"/>
              <a:gd name="T76" fmla="*/ 1224 w 2301"/>
              <a:gd name="T77" fmla="*/ 215 h 400"/>
              <a:gd name="T78" fmla="*/ 1227 w 2301"/>
              <a:gd name="T79" fmla="*/ 206 h 400"/>
              <a:gd name="T80" fmla="*/ 1230 w 2301"/>
              <a:gd name="T81" fmla="*/ 197 h 400"/>
              <a:gd name="T82" fmla="*/ 1238 w 2301"/>
              <a:gd name="T83" fmla="*/ 186 h 400"/>
              <a:gd name="T84" fmla="*/ 1386 w 2301"/>
              <a:gd name="T85" fmla="*/ 179 h 400"/>
              <a:gd name="T86" fmla="*/ 1002 w 2301"/>
              <a:gd name="T87" fmla="*/ 126 h 400"/>
              <a:gd name="T88" fmla="*/ 956 w 2301"/>
              <a:gd name="T89" fmla="*/ 170 h 400"/>
              <a:gd name="T90" fmla="*/ 981 w 2301"/>
              <a:gd name="T91" fmla="*/ 400 h 400"/>
              <a:gd name="T92" fmla="*/ 981 w 2301"/>
              <a:gd name="T93" fmla="*/ 354 h 400"/>
              <a:gd name="T94" fmla="*/ 1692 w 2301"/>
              <a:gd name="T95" fmla="*/ 232 h 400"/>
              <a:gd name="T96" fmla="*/ 1646 w 2301"/>
              <a:gd name="T97" fmla="*/ 149 h 400"/>
              <a:gd name="T98" fmla="*/ 1648 w 2301"/>
              <a:gd name="T99" fmla="*/ 258 h 400"/>
              <a:gd name="T100" fmla="*/ 1536 w 2301"/>
              <a:gd name="T101" fmla="*/ 120 h 400"/>
              <a:gd name="T102" fmla="*/ 1646 w 2301"/>
              <a:gd name="T103" fmla="*/ 390 h 400"/>
              <a:gd name="T104" fmla="*/ 1692 w 2301"/>
              <a:gd name="T105" fmla="*/ 242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01" h="400">
                <a:moveTo>
                  <a:pt x="2054" y="162"/>
                </a:moveTo>
                <a:cubicBezTo>
                  <a:pt x="2054" y="126"/>
                  <a:pt x="2054" y="126"/>
                  <a:pt x="2054" y="126"/>
                </a:cubicBezTo>
                <a:cubicBezTo>
                  <a:pt x="2054" y="122"/>
                  <a:pt x="2055" y="121"/>
                  <a:pt x="2059" y="121"/>
                </a:cubicBezTo>
                <a:cubicBezTo>
                  <a:pt x="2108" y="121"/>
                  <a:pt x="2108" y="121"/>
                  <a:pt x="2108" y="121"/>
                </a:cubicBezTo>
                <a:cubicBezTo>
                  <a:pt x="2108" y="43"/>
                  <a:pt x="2108" y="43"/>
                  <a:pt x="2108" y="43"/>
                </a:cubicBezTo>
                <a:cubicBezTo>
                  <a:pt x="2108" y="39"/>
                  <a:pt x="2110" y="38"/>
                  <a:pt x="2113" y="38"/>
                </a:cubicBezTo>
                <a:cubicBezTo>
                  <a:pt x="2149" y="38"/>
                  <a:pt x="2149" y="38"/>
                  <a:pt x="2149" y="38"/>
                </a:cubicBezTo>
                <a:cubicBezTo>
                  <a:pt x="2152" y="38"/>
                  <a:pt x="2154" y="39"/>
                  <a:pt x="2154" y="43"/>
                </a:cubicBezTo>
                <a:cubicBezTo>
                  <a:pt x="2154" y="121"/>
                  <a:pt x="2154" y="121"/>
                  <a:pt x="2154" y="121"/>
                </a:cubicBezTo>
                <a:cubicBezTo>
                  <a:pt x="2257" y="121"/>
                  <a:pt x="2257" y="121"/>
                  <a:pt x="2257" y="121"/>
                </a:cubicBezTo>
                <a:cubicBezTo>
                  <a:pt x="2260" y="121"/>
                  <a:pt x="2262" y="122"/>
                  <a:pt x="2262" y="126"/>
                </a:cubicBezTo>
                <a:cubicBezTo>
                  <a:pt x="2262" y="162"/>
                  <a:pt x="2262" y="162"/>
                  <a:pt x="2262" y="162"/>
                </a:cubicBezTo>
                <a:cubicBezTo>
                  <a:pt x="2262" y="165"/>
                  <a:pt x="2260" y="167"/>
                  <a:pt x="2257" y="167"/>
                </a:cubicBezTo>
                <a:cubicBezTo>
                  <a:pt x="2154" y="167"/>
                  <a:pt x="2154" y="167"/>
                  <a:pt x="2154" y="167"/>
                </a:cubicBezTo>
                <a:cubicBezTo>
                  <a:pt x="2154" y="289"/>
                  <a:pt x="2154" y="289"/>
                  <a:pt x="2154" y="289"/>
                </a:cubicBezTo>
                <a:cubicBezTo>
                  <a:pt x="2154" y="311"/>
                  <a:pt x="2158" y="326"/>
                  <a:pt x="2166" y="336"/>
                </a:cubicBezTo>
                <a:cubicBezTo>
                  <a:pt x="2174" y="348"/>
                  <a:pt x="2186" y="353"/>
                  <a:pt x="2204" y="353"/>
                </a:cubicBezTo>
                <a:cubicBezTo>
                  <a:pt x="2221" y="353"/>
                  <a:pt x="2232" y="351"/>
                  <a:pt x="2240" y="342"/>
                </a:cubicBezTo>
                <a:cubicBezTo>
                  <a:pt x="2248" y="333"/>
                  <a:pt x="2252" y="319"/>
                  <a:pt x="2255" y="300"/>
                </a:cubicBezTo>
                <a:cubicBezTo>
                  <a:pt x="2255" y="297"/>
                  <a:pt x="2257" y="295"/>
                  <a:pt x="2261" y="295"/>
                </a:cubicBezTo>
                <a:cubicBezTo>
                  <a:pt x="2296" y="295"/>
                  <a:pt x="2296" y="295"/>
                  <a:pt x="2296" y="295"/>
                </a:cubicBezTo>
                <a:cubicBezTo>
                  <a:pt x="2298" y="295"/>
                  <a:pt x="2298" y="295"/>
                  <a:pt x="2298" y="295"/>
                </a:cubicBezTo>
                <a:cubicBezTo>
                  <a:pt x="2298" y="295"/>
                  <a:pt x="2299" y="295"/>
                  <a:pt x="2300" y="296"/>
                </a:cubicBezTo>
                <a:cubicBezTo>
                  <a:pt x="2300" y="296"/>
                  <a:pt x="2301" y="297"/>
                  <a:pt x="2301" y="297"/>
                </a:cubicBezTo>
                <a:cubicBezTo>
                  <a:pt x="2301" y="298"/>
                  <a:pt x="2301" y="299"/>
                  <a:pt x="2301" y="300"/>
                </a:cubicBezTo>
                <a:cubicBezTo>
                  <a:pt x="2301" y="327"/>
                  <a:pt x="2295" y="350"/>
                  <a:pt x="2276" y="371"/>
                </a:cubicBezTo>
                <a:cubicBezTo>
                  <a:pt x="2259" y="390"/>
                  <a:pt x="2235" y="400"/>
                  <a:pt x="2205" y="400"/>
                </a:cubicBezTo>
                <a:cubicBezTo>
                  <a:pt x="2173" y="400"/>
                  <a:pt x="2149" y="390"/>
                  <a:pt x="2133" y="371"/>
                </a:cubicBezTo>
                <a:cubicBezTo>
                  <a:pt x="2116" y="353"/>
                  <a:pt x="2108" y="325"/>
                  <a:pt x="2108" y="289"/>
                </a:cubicBezTo>
                <a:cubicBezTo>
                  <a:pt x="2108" y="167"/>
                  <a:pt x="2108" y="167"/>
                  <a:pt x="2108" y="167"/>
                </a:cubicBezTo>
                <a:cubicBezTo>
                  <a:pt x="2059" y="167"/>
                  <a:pt x="2059" y="167"/>
                  <a:pt x="2059" y="167"/>
                </a:cubicBezTo>
                <a:cubicBezTo>
                  <a:pt x="2055" y="167"/>
                  <a:pt x="2054" y="165"/>
                  <a:pt x="2054" y="162"/>
                </a:cubicBezTo>
                <a:moveTo>
                  <a:pt x="543" y="162"/>
                </a:moveTo>
                <a:cubicBezTo>
                  <a:pt x="543" y="126"/>
                  <a:pt x="543" y="126"/>
                  <a:pt x="543" y="126"/>
                </a:cubicBezTo>
                <a:cubicBezTo>
                  <a:pt x="543" y="122"/>
                  <a:pt x="545" y="121"/>
                  <a:pt x="548" y="121"/>
                </a:cubicBezTo>
                <a:cubicBezTo>
                  <a:pt x="597" y="121"/>
                  <a:pt x="597" y="121"/>
                  <a:pt x="597" y="121"/>
                </a:cubicBezTo>
                <a:cubicBezTo>
                  <a:pt x="597" y="43"/>
                  <a:pt x="597" y="43"/>
                  <a:pt x="597" y="43"/>
                </a:cubicBezTo>
                <a:cubicBezTo>
                  <a:pt x="597" y="39"/>
                  <a:pt x="599" y="38"/>
                  <a:pt x="603" y="38"/>
                </a:cubicBezTo>
                <a:cubicBezTo>
                  <a:pt x="638" y="38"/>
                  <a:pt x="638" y="38"/>
                  <a:pt x="638" y="38"/>
                </a:cubicBezTo>
                <a:cubicBezTo>
                  <a:pt x="642" y="38"/>
                  <a:pt x="643" y="39"/>
                  <a:pt x="643" y="43"/>
                </a:cubicBezTo>
                <a:cubicBezTo>
                  <a:pt x="643" y="121"/>
                  <a:pt x="643" y="121"/>
                  <a:pt x="643" y="121"/>
                </a:cubicBezTo>
                <a:cubicBezTo>
                  <a:pt x="746" y="121"/>
                  <a:pt x="746" y="121"/>
                  <a:pt x="746" y="121"/>
                </a:cubicBezTo>
                <a:cubicBezTo>
                  <a:pt x="750" y="121"/>
                  <a:pt x="751" y="122"/>
                  <a:pt x="751" y="126"/>
                </a:cubicBezTo>
                <a:cubicBezTo>
                  <a:pt x="751" y="162"/>
                  <a:pt x="751" y="162"/>
                  <a:pt x="751" y="162"/>
                </a:cubicBezTo>
                <a:cubicBezTo>
                  <a:pt x="751" y="165"/>
                  <a:pt x="750" y="167"/>
                  <a:pt x="746" y="167"/>
                </a:cubicBezTo>
                <a:cubicBezTo>
                  <a:pt x="644" y="167"/>
                  <a:pt x="644" y="167"/>
                  <a:pt x="644" y="167"/>
                </a:cubicBezTo>
                <a:cubicBezTo>
                  <a:pt x="644" y="289"/>
                  <a:pt x="644" y="289"/>
                  <a:pt x="644" y="289"/>
                </a:cubicBezTo>
                <a:cubicBezTo>
                  <a:pt x="644" y="311"/>
                  <a:pt x="648" y="326"/>
                  <a:pt x="655" y="336"/>
                </a:cubicBezTo>
                <a:cubicBezTo>
                  <a:pt x="663" y="348"/>
                  <a:pt x="675" y="353"/>
                  <a:pt x="694" y="353"/>
                </a:cubicBezTo>
                <a:cubicBezTo>
                  <a:pt x="711" y="353"/>
                  <a:pt x="721" y="351"/>
                  <a:pt x="729" y="342"/>
                </a:cubicBezTo>
                <a:cubicBezTo>
                  <a:pt x="737" y="333"/>
                  <a:pt x="741" y="319"/>
                  <a:pt x="744" y="300"/>
                </a:cubicBezTo>
                <a:cubicBezTo>
                  <a:pt x="745" y="297"/>
                  <a:pt x="746" y="295"/>
                  <a:pt x="750" y="295"/>
                </a:cubicBezTo>
                <a:cubicBezTo>
                  <a:pt x="785" y="295"/>
                  <a:pt x="785" y="295"/>
                  <a:pt x="785" y="295"/>
                </a:cubicBezTo>
                <a:cubicBezTo>
                  <a:pt x="787" y="295"/>
                  <a:pt x="787" y="295"/>
                  <a:pt x="787" y="295"/>
                </a:cubicBezTo>
                <a:cubicBezTo>
                  <a:pt x="788" y="295"/>
                  <a:pt x="788" y="295"/>
                  <a:pt x="789" y="296"/>
                </a:cubicBezTo>
                <a:cubicBezTo>
                  <a:pt x="790" y="296"/>
                  <a:pt x="790" y="297"/>
                  <a:pt x="790" y="297"/>
                </a:cubicBezTo>
                <a:cubicBezTo>
                  <a:pt x="790" y="298"/>
                  <a:pt x="790" y="299"/>
                  <a:pt x="790" y="300"/>
                </a:cubicBezTo>
                <a:cubicBezTo>
                  <a:pt x="790" y="327"/>
                  <a:pt x="784" y="350"/>
                  <a:pt x="765" y="371"/>
                </a:cubicBezTo>
                <a:cubicBezTo>
                  <a:pt x="748" y="390"/>
                  <a:pt x="725" y="400"/>
                  <a:pt x="694" y="400"/>
                </a:cubicBezTo>
                <a:cubicBezTo>
                  <a:pt x="662" y="400"/>
                  <a:pt x="639" y="390"/>
                  <a:pt x="622" y="371"/>
                </a:cubicBezTo>
                <a:cubicBezTo>
                  <a:pt x="606" y="353"/>
                  <a:pt x="597" y="325"/>
                  <a:pt x="597" y="289"/>
                </a:cubicBezTo>
                <a:cubicBezTo>
                  <a:pt x="597" y="167"/>
                  <a:pt x="597" y="167"/>
                  <a:pt x="597" y="167"/>
                </a:cubicBezTo>
                <a:cubicBezTo>
                  <a:pt x="548" y="167"/>
                  <a:pt x="548" y="167"/>
                  <a:pt x="548" y="167"/>
                </a:cubicBezTo>
                <a:cubicBezTo>
                  <a:pt x="545" y="167"/>
                  <a:pt x="543" y="165"/>
                  <a:pt x="543" y="162"/>
                </a:cubicBezTo>
                <a:moveTo>
                  <a:pt x="1997" y="297"/>
                </a:moveTo>
                <a:cubicBezTo>
                  <a:pt x="1965" y="297"/>
                  <a:pt x="1965" y="297"/>
                  <a:pt x="1965" y="297"/>
                </a:cubicBezTo>
                <a:cubicBezTo>
                  <a:pt x="1958" y="297"/>
                  <a:pt x="1956" y="301"/>
                  <a:pt x="1955" y="304"/>
                </a:cubicBezTo>
                <a:cubicBezTo>
                  <a:pt x="1950" y="319"/>
                  <a:pt x="1942" y="331"/>
                  <a:pt x="1929" y="340"/>
                </a:cubicBezTo>
                <a:cubicBezTo>
                  <a:pt x="1917" y="349"/>
                  <a:pt x="1902" y="354"/>
                  <a:pt x="1885" y="354"/>
                </a:cubicBezTo>
                <a:cubicBezTo>
                  <a:pt x="1860" y="354"/>
                  <a:pt x="1837" y="345"/>
                  <a:pt x="1822" y="327"/>
                </a:cubicBezTo>
                <a:cubicBezTo>
                  <a:pt x="1807" y="309"/>
                  <a:pt x="1799" y="286"/>
                  <a:pt x="1799" y="258"/>
                </a:cubicBezTo>
                <a:cubicBezTo>
                  <a:pt x="1799" y="230"/>
                  <a:pt x="1807" y="206"/>
                  <a:pt x="1822" y="188"/>
                </a:cubicBezTo>
                <a:cubicBezTo>
                  <a:pt x="1837" y="170"/>
                  <a:pt x="1860" y="162"/>
                  <a:pt x="1885" y="162"/>
                </a:cubicBezTo>
                <a:cubicBezTo>
                  <a:pt x="1902" y="162"/>
                  <a:pt x="1916" y="166"/>
                  <a:pt x="1928" y="175"/>
                </a:cubicBezTo>
                <a:cubicBezTo>
                  <a:pt x="1941" y="184"/>
                  <a:pt x="1949" y="197"/>
                  <a:pt x="1954" y="213"/>
                </a:cubicBezTo>
                <a:cubicBezTo>
                  <a:pt x="1955" y="215"/>
                  <a:pt x="1957" y="219"/>
                  <a:pt x="1964" y="219"/>
                </a:cubicBezTo>
                <a:cubicBezTo>
                  <a:pt x="1996" y="219"/>
                  <a:pt x="1996" y="219"/>
                  <a:pt x="1996" y="219"/>
                </a:cubicBezTo>
                <a:cubicBezTo>
                  <a:pt x="1999" y="219"/>
                  <a:pt x="2002" y="217"/>
                  <a:pt x="2002" y="213"/>
                </a:cubicBezTo>
                <a:cubicBezTo>
                  <a:pt x="2002" y="211"/>
                  <a:pt x="2002" y="209"/>
                  <a:pt x="2001" y="207"/>
                </a:cubicBezTo>
                <a:cubicBezTo>
                  <a:pt x="1994" y="179"/>
                  <a:pt x="1982" y="157"/>
                  <a:pt x="1962" y="141"/>
                </a:cubicBezTo>
                <a:cubicBezTo>
                  <a:pt x="1942" y="125"/>
                  <a:pt x="1916" y="117"/>
                  <a:pt x="1885" y="117"/>
                </a:cubicBezTo>
                <a:cubicBezTo>
                  <a:pt x="1845" y="117"/>
                  <a:pt x="1812" y="130"/>
                  <a:pt x="1788" y="157"/>
                </a:cubicBezTo>
                <a:cubicBezTo>
                  <a:pt x="1765" y="183"/>
                  <a:pt x="1753" y="217"/>
                  <a:pt x="1753" y="258"/>
                </a:cubicBezTo>
                <a:cubicBezTo>
                  <a:pt x="1753" y="299"/>
                  <a:pt x="1765" y="333"/>
                  <a:pt x="1789" y="360"/>
                </a:cubicBezTo>
                <a:cubicBezTo>
                  <a:pt x="1812" y="386"/>
                  <a:pt x="1845" y="400"/>
                  <a:pt x="1885" y="400"/>
                </a:cubicBezTo>
                <a:cubicBezTo>
                  <a:pt x="1916" y="400"/>
                  <a:pt x="1942" y="392"/>
                  <a:pt x="1962" y="376"/>
                </a:cubicBezTo>
                <a:cubicBezTo>
                  <a:pt x="1982" y="360"/>
                  <a:pt x="1995" y="337"/>
                  <a:pt x="2003" y="309"/>
                </a:cubicBezTo>
                <a:cubicBezTo>
                  <a:pt x="2003" y="307"/>
                  <a:pt x="2003" y="305"/>
                  <a:pt x="2003" y="303"/>
                </a:cubicBezTo>
                <a:cubicBezTo>
                  <a:pt x="2003" y="300"/>
                  <a:pt x="2002" y="297"/>
                  <a:pt x="1997" y="297"/>
                </a:cubicBezTo>
                <a:moveTo>
                  <a:pt x="0" y="389"/>
                </a:moveTo>
                <a:cubicBezTo>
                  <a:pt x="0" y="354"/>
                  <a:pt x="0" y="354"/>
                  <a:pt x="0" y="354"/>
                </a:cubicBezTo>
                <a:cubicBezTo>
                  <a:pt x="0" y="351"/>
                  <a:pt x="2" y="349"/>
                  <a:pt x="6" y="349"/>
                </a:cubicBezTo>
                <a:cubicBezTo>
                  <a:pt x="78" y="349"/>
                  <a:pt x="78" y="349"/>
                  <a:pt x="78" y="349"/>
                </a:cubicBezTo>
                <a:cubicBezTo>
                  <a:pt x="78" y="167"/>
                  <a:pt x="78" y="167"/>
                  <a:pt x="78" y="167"/>
                </a:cubicBezTo>
                <a:cubicBezTo>
                  <a:pt x="19" y="167"/>
                  <a:pt x="19" y="167"/>
                  <a:pt x="19" y="167"/>
                </a:cubicBezTo>
                <a:cubicBezTo>
                  <a:pt x="16" y="167"/>
                  <a:pt x="14" y="165"/>
                  <a:pt x="14" y="162"/>
                </a:cubicBezTo>
                <a:cubicBezTo>
                  <a:pt x="14" y="126"/>
                  <a:pt x="14" y="126"/>
                  <a:pt x="14" y="126"/>
                </a:cubicBezTo>
                <a:cubicBezTo>
                  <a:pt x="14" y="122"/>
                  <a:pt x="16" y="121"/>
                  <a:pt x="19" y="121"/>
                </a:cubicBezTo>
                <a:cubicBezTo>
                  <a:pt x="119" y="121"/>
                  <a:pt x="119" y="121"/>
                  <a:pt x="119" y="121"/>
                </a:cubicBezTo>
                <a:cubicBezTo>
                  <a:pt x="122" y="121"/>
                  <a:pt x="124" y="122"/>
                  <a:pt x="125" y="126"/>
                </a:cubicBezTo>
                <a:cubicBezTo>
                  <a:pt x="125" y="349"/>
                  <a:pt x="125" y="349"/>
                  <a:pt x="125" y="349"/>
                </a:cubicBezTo>
                <a:cubicBezTo>
                  <a:pt x="206" y="349"/>
                  <a:pt x="206" y="349"/>
                  <a:pt x="206" y="349"/>
                </a:cubicBezTo>
                <a:cubicBezTo>
                  <a:pt x="209" y="349"/>
                  <a:pt x="211" y="351"/>
                  <a:pt x="211" y="354"/>
                </a:cubicBezTo>
                <a:cubicBezTo>
                  <a:pt x="211" y="389"/>
                  <a:pt x="211" y="389"/>
                  <a:pt x="211" y="389"/>
                </a:cubicBezTo>
                <a:cubicBezTo>
                  <a:pt x="211" y="393"/>
                  <a:pt x="210" y="395"/>
                  <a:pt x="206" y="395"/>
                </a:cubicBezTo>
                <a:cubicBezTo>
                  <a:pt x="6" y="395"/>
                  <a:pt x="6" y="395"/>
                  <a:pt x="6" y="395"/>
                </a:cubicBezTo>
                <a:cubicBezTo>
                  <a:pt x="2" y="395"/>
                  <a:pt x="0" y="393"/>
                  <a:pt x="0" y="389"/>
                </a:cubicBezTo>
                <a:moveTo>
                  <a:pt x="493" y="227"/>
                </a:moveTo>
                <a:cubicBezTo>
                  <a:pt x="493" y="199"/>
                  <a:pt x="485" y="173"/>
                  <a:pt x="463" y="149"/>
                </a:cubicBezTo>
                <a:cubicBezTo>
                  <a:pt x="444" y="128"/>
                  <a:pt x="411" y="116"/>
                  <a:pt x="381" y="116"/>
                </a:cubicBezTo>
                <a:cubicBezTo>
                  <a:pt x="332" y="116"/>
                  <a:pt x="312" y="150"/>
                  <a:pt x="312" y="150"/>
                </a:cubicBezTo>
                <a:cubicBezTo>
                  <a:pt x="312" y="126"/>
                  <a:pt x="312" y="126"/>
                  <a:pt x="312" y="126"/>
                </a:cubicBezTo>
                <a:cubicBezTo>
                  <a:pt x="312" y="122"/>
                  <a:pt x="311" y="121"/>
                  <a:pt x="307" y="121"/>
                </a:cubicBezTo>
                <a:cubicBezTo>
                  <a:pt x="272" y="121"/>
                  <a:pt x="272" y="121"/>
                  <a:pt x="272" y="121"/>
                </a:cubicBezTo>
                <a:cubicBezTo>
                  <a:pt x="268" y="121"/>
                  <a:pt x="266" y="122"/>
                  <a:pt x="266" y="126"/>
                </a:cubicBezTo>
                <a:cubicBezTo>
                  <a:pt x="266" y="231"/>
                  <a:pt x="266" y="231"/>
                  <a:pt x="266" y="231"/>
                </a:cubicBezTo>
                <a:cubicBezTo>
                  <a:pt x="266" y="235"/>
                  <a:pt x="266" y="238"/>
                  <a:pt x="266" y="242"/>
                </a:cubicBezTo>
                <a:cubicBezTo>
                  <a:pt x="266" y="244"/>
                  <a:pt x="266" y="247"/>
                  <a:pt x="266" y="250"/>
                </a:cubicBezTo>
                <a:cubicBezTo>
                  <a:pt x="266" y="389"/>
                  <a:pt x="266" y="389"/>
                  <a:pt x="266" y="389"/>
                </a:cubicBezTo>
                <a:cubicBezTo>
                  <a:pt x="266" y="393"/>
                  <a:pt x="268" y="395"/>
                  <a:pt x="272" y="395"/>
                </a:cubicBezTo>
                <a:cubicBezTo>
                  <a:pt x="307" y="395"/>
                  <a:pt x="307" y="395"/>
                  <a:pt x="307" y="395"/>
                </a:cubicBezTo>
                <a:cubicBezTo>
                  <a:pt x="311" y="395"/>
                  <a:pt x="312" y="393"/>
                  <a:pt x="312" y="389"/>
                </a:cubicBezTo>
                <a:cubicBezTo>
                  <a:pt x="312" y="251"/>
                  <a:pt x="312" y="251"/>
                  <a:pt x="312" y="251"/>
                </a:cubicBezTo>
                <a:cubicBezTo>
                  <a:pt x="312" y="250"/>
                  <a:pt x="312" y="250"/>
                  <a:pt x="312" y="250"/>
                </a:cubicBezTo>
                <a:cubicBezTo>
                  <a:pt x="312" y="250"/>
                  <a:pt x="312" y="250"/>
                  <a:pt x="312" y="250"/>
                </a:cubicBezTo>
                <a:cubicBezTo>
                  <a:pt x="312" y="243"/>
                  <a:pt x="312" y="241"/>
                  <a:pt x="312" y="236"/>
                </a:cubicBezTo>
                <a:cubicBezTo>
                  <a:pt x="312" y="235"/>
                  <a:pt x="312" y="235"/>
                  <a:pt x="312" y="235"/>
                </a:cubicBezTo>
                <a:cubicBezTo>
                  <a:pt x="312" y="234"/>
                  <a:pt x="312" y="233"/>
                  <a:pt x="312" y="232"/>
                </a:cubicBezTo>
                <a:cubicBezTo>
                  <a:pt x="312" y="232"/>
                  <a:pt x="312" y="231"/>
                  <a:pt x="312" y="231"/>
                </a:cubicBezTo>
                <a:cubicBezTo>
                  <a:pt x="312" y="230"/>
                  <a:pt x="313" y="229"/>
                  <a:pt x="313" y="228"/>
                </a:cubicBezTo>
                <a:cubicBezTo>
                  <a:pt x="313" y="228"/>
                  <a:pt x="313" y="224"/>
                  <a:pt x="313" y="223"/>
                </a:cubicBezTo>
                <a:cubicBezTo>
                  <a:pt x="313" y="222"/>
                  <a:pt x="313" y="222"/>
                  <a:pt x="313" y="221"/>
                </a:cubicBezTo>
                <a:cubicBezTo>
                  <a:pt x="313" y="220"/>
                  <a:pt x="313" y="220"/>
                  <a:pt x="313" y="219"/>
                </a:cubicBezTo>
                <a:cubicBezTo>
                  <a:pt x="313" y="218"/>
                  <a:pt x="313" y="218"/>
                  <a:pt x="313" y="217"/>
                </a:cubicBezTo>
                <a:cubicBezTo>
                  <a:pt x="313" y="216"/>
                  <a:pt x="313" y="216"/>
                  <a:pt x="313" y="215"/>
                </a:cubicBezTo>
                <a:cubicBezTo>
                  <a:pt x="314" y="215"/>
                  <a:pt x="314" y="214"/>
                  <a:pt x="314" y="213"/>
                </a:cubicBezTo>
                <a:cubicBezTo>
                  <a:pt x="314" y="213"/>
                  <a:pt x="314" y="212"/>
                  <a:pt x="314" y="211"/>
                </a:cubicBezTo>
                <a:cubicBezTo>
                  <a:pt x="314" y="211"/>
                  <a:pt x="314" y="210"/>
                  <a:pt x="315" y="210"/>
                </a:cubicBezTo>
                <a:cubicBezTo>
                  <a:pt x="315" y="209"/>
                  <a:pt x="315" y="208"/>
                  <a:pt x="315" y="208"/>
                </a:cubicBezTo>
                <a:cubicBezTo>
                  <a:pt x="315" y="207"/>
                  <a:pt x="315" y="207"/>
                  <a:pt x="316" y="206"/>
                </a:cubicBezTo>
                <a:cubicBezTo>
                  <a:pt x="316" y="205"/>
                  <a:pt x="316" y="205"/>
                  <a:pt x="316" y="204"/>
                </a:cubicBezTo>
                <a:cubicBezTo>
                  <a:pt x="316" y="203"/>
                  <a:pt x="317" y="203"/>
                  <a:pt x="317" y="202"/>
                </a:cubicBezTo>
                <a:cubicBezTo>
                  <a:pt x="317" y="202"/>
                  <a:pt x="317" y="201"/>
                  <a:pt x="318" y="200"/>
                </a:cubicBezTo>
                <a:cubicBezTo>
                  <a:pt x="318" y="200"/>
                  <a:pt x="318" y="199"/>
                  <a:pt x="319" y="199"/>
                </a:cubicBezTo>
                <a:cubicBezTo>
                  <a:pt x="319" y="198"/>
                  <a:pt x="319" y="197"/>
                  <a:pt x="319" y="197"/>
                </a:cubicBezTo>
                <a:cubicBezTo>
                  <a:pt x="320" y="196"/>
                  <a:pt x="320" y="195"/>
                  <a:pt x="321" y="195"/>
                </a:cubicBezTo>
                <a:cubicBezTo>
                  <a:pt x="321" y="194"/>
                  <a:pt x="321" y="194"/>
                  <a:pt x="322" y="193"/>
                </a:cubicBezTo>
                <a:cubicBezTo>
                  <a:pt x="322" y="192"/>
                  <a:pt x="323" y="192"/>
                  <a:pt x="323" y="191"/>
                </a:cubicBezTo>
                <a:cubicBezTo>
                  <a:pt x="323" y="190"/>
                  <a:pt x="324" y="190"/>
                  <a:pt x="324" y="189"/>
                </a:cubicBezTo>
                <a:cubicBezTo>
                  <a:pt x="325" y="188"/>
                  <a:pt x="326" y="187"/>
                  <a:pt x="327" y="186"/>
                </a:cubicBezTo>
                <a:cubicBezTo>
                  <a:pt x="342" y="168"/>
                  <a:pt x="360" y="162"/>
                  <a:pt x="380" y="162"/>
                </a:cubicBezTo>
                <a:cubicBezTo>
                  <a:pt x="398" y="162"/>
                  <a:pt x="416" y="169"/>
                  <a:pt x="427" y="180"/>
                </a:cubicBezTo>
                <a:cubicBezTo>
                  <a:pt x="439" y="192"/>
                  <a:pt x="447" y="210"/>
                  <a:pt x="447" y="229"/>
                </a:cubicBezTo>
                <a:cubicBezTo>
                  <a:pt x="447" y="254"/>
                  <a:pt x="447" y="254"/>
                  <a:pt x="447" y="254"/>
                </a:cubicBezTo>
                <a:cubicBezTo>
                  <a:pt x="447" y="389"/>
                  <a:pt x="447" y="389"/>
                  <a:pt x="447" y="389"/>
                </a:cubicBezTo>
                <a:cubicBezTo>
                  <a:pt x="447" y="393"/>
                  <a:pt x="449" y="395"/>
                  <a:pt x="453" y="395"/>
                </a:cubicBezTo>
                <a:cubicBezTo>
                  <a:pt x="488" y="395"/>
                  <a:pt x="488" y="395"/>
                  <a:pt x="488" y="395"/>
                </a:cubicBezTo>
                <a:cubicBezTo>
                  <a:pt x="492" y="395"/>
                  <a:pt x="493" y="393"/>
                  <a:pt x="493" y="389"/>
                </a:cubicBezTo>
                <a:cubicBezTo>
                  <a:pt x="493" y="254"/>
                  <a:pt x="493" y="254"/>
                  <a:pt x="493" y="254"/>
                </a:cubicBezTo>
                <a:cubicBezTo>
                  <a:pt x="493" y="228"/>
                  <a:pt x="493" y="228"/>
                  <a:pt x="493" y="228"/>
                </a:cubicBezTo>
                <a:cubicBezTo>
                  <a:pt x="493" y="227"/>
                  <a:pt x="493" y="227"/>
                  <a:pt x="493" y="227"/>
                </a:cubicBezTo>
                <a:close/>
                <a:moveTo>
                  <a:pt x="105" y="0"/>
                </a:moveTo>
                <a:cubicBezTo>
                  <a:pt x="84" y="0"/>
                  <a:pt x="67" y="17"/>
                  <a:pt x="67" y="38"/>
                </a:cubicBezTo>
                <a:cubicBezTo>
                  <a:pt x="67" y="58"/>
                  <a:pt x="84" y="75"/>
                  <a:pt x="105" y="75"/>
                </a:cubicBezTo>
                <a:cubicBezTo>
                  <a:pt x="125" y="75"/>
                  <a:pt x="142" y="58"/>
                  <a:pt x="142" y="38"/>
                </a:cubicBezTo>
                <a:cubicBezTo>
                  <a:pt x="142" y="17"/>
                  <a:pt x="125" y="0"/>
                  <a:pt x="105" y="0"/>
                </a:cubicBezTo>
                <a:moveTo>
                  <a:pt x="1386" y="179"/>
                </a:moveTo>
                <a:cubicBezTo>
                  <a:pt x="1390" y="177"/>
                  <a:pt x="1391" y="173"/>
                  <a:pt x="1389" y="169"/>
                </a:cubicBezTo>
                <a:cubicBezTo>
                  <a:pt x="1385" y="162"/>
                  <a:pt x="1380" y="156"/>
                  <a:pt x="1374" y="149"/>
                </a:cubicBezTo>
                <a:cubicBezTo>
                  <a:pt x="1355" y="128"/>
                  <a:pt x="1322" y="116"/>
                  <a:pt x="1292" y="116"/>
                </a:cubicBezTo>
                <a:cubicBezTo>
                  <a:pt x="1243" y="116"/>
                  <a:pt x="1223" y="150"/>
                  <a:pt x="1223" y="150"/>
                </a:cubicBezTo>
                <a:cubicBezTo>
                  <a:pt x="1223" y="126"/>
                  <a:pt x="1223" y="126"/>
                  <a:pt x="1223" y="126"/>
                </a:cubicBezTo>
                <a:cubicBezTo>
                  <a:pt x="1223" y="123"/>
                  <a:pt x="1221" y="121"/>
                  <a:pt x="1218" y="121"/>
                </a:cubicBezTo>
                <a:cubicBezTo>
                  <a:pt x="1183" y="121"/>
                  <a:pt x="1183" y="121"/>
                  <a:pt x="1183" y="121"/>
                </a:cubicBezTo>
                <a:cubicBezTo>
                  <a:pt x="1179" y="121"/>
                  <a:pt x="1177" y="122"/>
                  <a:pt x="1177" y="126"/>
                </a:cubicBezTo>
                <a:cubicBezTo>
                  <a:pt x="1177" y="231"/>
                  <a:pt x="1177" y="231"/>
                  <a:pt x="1177" y="231"/>
                </a:cubicBezTo>
                <a:cubicBezTo>
                  <a:pt x="1177" y="235"/>
                  <a:pt x="1177" y="238"/>
                  <a:pt x="1177" y="242"/>
                </a:cubicBezTo>
                <a:cubicBezTo>
                  <a:pt x="1177" y="244"/>
                  <a:pt x="1177" y="247"/>
                  <a:pt x="1177" y="250"/>
                </a:cubicBezTo>
                <a:cubicBezTo>
                  <a:pt x="1177" y="389"/>
                  <a:pt x="1177" y="389"/>
                  <a:pt x="1177" y="389"/>
                </a:cubicBezTo>
                <a:cubicBezTo>
                  <a:pt x="1177" y="393"/>
                  <a:pt x="1179" y="395"/>
                  <a:pt x="1183" y="395"/>
                </a:cubicBezTo>
                <a:cubicBezTo>
                  <a:pt x="1218" y="395"/>
                  <a:pt x="1218" y="395"/>
                  <a:pt x="1218" y="395"/>
                </a:cubicBezTo>
                <a:cubicBezTo>
                  <a:pt x="1221" y="395"/>
                  <a:pt x="1223" y="392"/>
                  <a:pt x="1223" y="389"/>
                </a:cubicBezTo>
                <a:cubicBezTo>
                  <a:pt x="1223" y="251"/>
                  <a:pt x="1223" y="251"/>
                  <a:pt x="1223" y="251"/>
                </a:cubicBezTo>
                <a:cubicBezTo>
                  <a:pt x="1223" y="250"/>
                  <a:pt x="1223" y="250"/>
                  <a:pt x="1223" y="250"/>
                </a:cubicBezTo>
                <a:cubicBezTo>
                  <a:pt x="1223" y="250"/>
                  <a:pt x="1223" y="250"/>
                  <a:pt x="1223" y="250"/>
                </a:cubicBezTo>
                <a:cubicBezTo>
                  <a:pt x="1223" y="243"/>
                  <a:pt x="1223" y="241"/>
                  <a:pt x="1223" y="236"/>
                </a:cubicBezTo>
                <a:cubicBezTo>
                  <a:pt x="1223" y="236"/>
                  <a:pt x="1223" y="235"/>
                  <a:pt x="1223" y="235"/>
                </a:cubicBezTo>
                <a:cubicBezTo>
                  <a:pt x="1223" y="234"/>
                  <a:pt x="1223" y="233"/>
                  <a:pt x="1223" y="232"/>
                </a:cubicBezTo>
                <a:cubicBezTo>
                  <a:pt x="1223" y="232"/>
                  <a:pt x="1223" y="231"/>
                  <a:pt x="1223" y="231"/>
                </a:cubicBezTo>
                <a:cubicBezTo>
                  <a:pt x="1223" y="230"/>
                  <a:pt x="1223" y="229"/>
                  <a:pt x="1224" y="228"/>
                </a:cubicBezTo>
                <a:cubicBezTo>
                  <a:pt x="1224" y="228"/>
                  <a:pt x="1224" y="224"/>
                  <a:pt x="1224" y="223"/>
                </a:cubicBezTo>
                <a:cubicBezTo>
                  <a:pt x="1224" y="222"/>
                  <a:pt x="1224" y="222"/>
                  <a:pt x="1224" y="221"/>
                </a:cubicBezTo>
                <a:cubicBezTo>
                  <a:pt x="1224" y="220"/>
                  <a:pt x="1224" y="220"/>
                  <a:pt x="1224" y="219"/>
                </a:cubicBezTo>
                <a:cubicBezTo>
                  <a:pt x="1224" y="218"/>
                  <a:pt x="1224" y="218"/>
                  <a:pt x="1224" y="217"/>
                </a:cubicBezTo>
                <a:cubicBezTo>
                  <a:pt x="1224" y="216"/>
                  <a:pt x="1224" y="216"/>
                  <a:pt x="1224" y="215"/>
                </a:cubicBezTo>
                <a:cubicBezTo>
                  <a:pt x="1225" y="215"/>
                  <a:pt x="1225" y="214"/>
                  <a:pt x="1225" y="213"/>
                </a:cubicBezTo>
                <a:cubicBezTo>
                  <a:pt x="1225" y="213"/>
                  <a:pt x="1225" y="212"/>
                  <a:pt x="1225" y="211"/>
                </a:cubicBezTo>
                <a:cubicBezTo>
                  <a:pt x="1225" y="211"/>
                  <a:pt x="1225" y="210"/>
                  <a:pt x="1226" y="210"/>
                </a:cubicBezTo>
                <a:cubicBezTo>
                  <a:pt x="1226" y="209"/>
                  <a:pt x="1226" y="208"/>
                  <a:pt x="1226" y="208"/>
                </a:cubicBezTo>
                <a:cubicBezTo>
                  <a:pt x="1226" y="207"/>
                  <a:pt x="1226" y="207"/>
                  <a:pt x="1227" y="206"/>
                </a:cubicBezTo>
                <a:cubicBezTo>
                  <a:pt x="1227" y="205"/>
                  <a:pt x="1227" y="205"/>
                  <a:pt x="1227" y="204"/>
                </a:cubicBezTo>
                <a:cubicBezTo>
                  <a:pt x="1227" y="203"/>
                  <a:pt x="1228" y="203"/>
                  <a:pt x="1228" y="202"/>
                </a:cubicBezTo>
                <a:cubicBezTo>
                  <a:pt x="1228" y="202"/>
                  <a:pt x="1228" y="201"/>
                  <a:pt x="1229" y="200"/>
                </a:cubicBezTo>
                <a:cubicBezTo>
                  <a:pt x="1229" y="200"/>
                  <a:pt x="1229" y="199"/>
                  <a:pt x="1230" y="199"/>
                </a:cubicBezTo>
                <a:cubicBezTo>
                  <a:pt x="1230" y="198"/>
                  <a:pt x="1230" y="197"/>
                  <a:pt x="1230" y="197"/>
                </a:cubicBezTo>
                <a:cubicBezTo>
                  <a:pt x="1231" y="196"/>
                  <a:pt x="1231" y="195"/>
                  <a:pt x="1232" y="195"/>
                </a:cubicBezTo>
                <a:cubicBezTo>
                  <a:pt x="1232" y="194"/>
                  <a:pt x="1232" y="194"/>
                  <a:pt x="1232" y="193"/>
                </a:cubicBezTo>
                <a:cubicBezTo>
                  <a:pt x="1233" y="192"/>
                  <a:pt x="1233" y="192"/>
                  <a:pt x="1234" y="191"/>
                </a:cubicBezTo>
                <a:cubicBezTo>
                  <a:pt x="1234" y="190"/>
                  <a:pt x="1235" y="190"/>
                  <a:pt x="1235" y="189"/>
                </a:cubicBezTo>
                <a:cubicBezTo>
                  <a:pt x="1236" y="188"/>
                  <a:pt x="1237" y="187"/>
                  <a:pt x="1238" y="186"/>
                </a:cubicBezTo>
                <a:cubicBezTo>
                  <a:pt x="1253" y="168"/>
                  <a:pt x="1271" y="162"/>
                  <a:pt x="1291" y="162"/>
                </a:cubicBezTo>
                <a:cubicBezTo>
                  <a:pt x="1308" y="162"/>
                  <a:pt x="1328" y="169"/>
                  <a:pt x="1338" y="180"/>
                </a:cubicBezTo>
                <a:cubicBezTo>
                  <a:pt x="1341" y="184"/>
                  <a:pt x="1345" y="188"/>
                  <a:pt x="1348" y="192"/>
                </a:cubicBezTo>
                <a:cubicBezTo>
                  <a:pt x="1350" y="196"/>
                  <a:pt x="1354" y="197"/>
                  <a:pt x="1357" y="195"/>
                </a:cubicBezTo>
                <a:lnTo>
                  <a:pt x="1386" y="179"/>
                </a:lnTo>
                <a:close/>
                <a:moveTo>
                  <a:pt x="1106" y="268"/>
                </a:moveTo>
                <a:cubicBezTo>
                  <a:pt x="1109" y="268"/>
                  <a:pt x="1112" y="265"/>
                  <a:pt x="1112" y="262"/>
                </a:cubicBezTo>
                <a:cubicBezTo>
                  <a:pt x="1112" y="256"/>
                  <a:pt x="1112" y="249"/>
                  <a:pt x="1112" y="246"/>
                </a:cubicBezTo>
                <a:cubicBezTo>
                  <a:pt x="1107" y="184"/>
                  <a:pt x="1065" y="133"/>
                  <a:pt x="1010" y="120"/>
                </a:cubicBezTo>
                <a:cubicBezTo>
                  <a:pt x="1006" y="119"/>
                  <a:pt x="1002" y="122"/>
                  <a:pt x="1002" y="126"/>
                </a:cubicBezTo>
                <a:cubicBezTo>
                  <a:pt x="1002" y="164"/>
                  <a:pt x="1002" y="164"/>
                  <a:pt x="1002" y="164"/>
                </a:cubicBezTo>
                <a:cubicBezTo>
                  <a:pt x="1002" y="166"/>
                  <a:pt x="1004" y="169"/>
                  <a:pt x="1006" y="170"/>
                </a:cubicBezTo>
                <a:cubicBezTo>
                  <a:pt x="1032" y="179"/>
                  <a:pt x="1053" y="201"/>
                  <a:pt x="1062" y="229"/>
                </a:cubicBezTo>
                <a:cubicBezTo>
                  <a:pt x="900" y="229"/>
                  <a:pt x="900" y="229"/>
                  <a:pt x="900" y="229"/>
                </a:cubicBezTo>
                <a:cubicBezTo>
                  <a:pt x="909" y="201"/>
                  <a:pt x="930" y="179"/>
                  <a:pt x="956" y="170"/>
                </a:cubicBezTo>
                <a:cubicBezTo>
                  <a:pt x="958" y="169"/>
                  <a:pt x="960" y="166"/>
                  <a:pt x="960" y="164"/>
                </a:cubicBezTo>
                <a:cubicBezTo>
                  <a:pt x="960" y="126"/>
                  <a:pt x="960" y="126"/>
                  <a:pt x="960" y="126"/>
                </a:cubicBezTo>
                <a:cubicBezTo>
                  <a:pt x="960" y="122"/>
                  <a:pt x="956" y="119"/>
                  <a:pt x="952" y="120"/>
                </a:cubicBezTo>
                <a:cubicBezTo>
                  <a:pt x="893" y="134"/>
                  <a:pt x="850" y="191"/>
                  <a:pt x="850" y="258"/>
                </a:cubicBezTo>
                <a:cubicBezTo>
                  <a:pt x="850" y="337"/>
                  <a:pt x="908" y="400"/>
                  <a:pt x="981" y="400"/>
                </a:cubicBezTo>
                <a:cubicBezTo>
                  <a:pt x="1032" y="400"/>
                  <a:pt x="1076" y="369"/>
                  <a:pt x="1098" y="322"/>
                </a:cubicBezTo>
                <a:cubicBezTo>
                  <a:pt x="1100" y="318"/>
                  <a:pt x="1097" y="313"/>
                  <a:pt x="1092" y="313"/>
                </a:cubicBezTo>
                <a:cubicBezTo>
                  <a:pt x="1055" y="313"/>
                  <a:pt x="1055" y="313"/>
                  <a:pt x="1055" y="313"/>
                </a:cubicBezTo>
                <a:cubicBezTo>
                  <a:pt x="1053" y="313"/>
                  <a:pt x="1051" y="314"/>
                  <a:pt x="1049" y="316"/>
                </a:cubicBezTo>
                <a:cubicBezTo>
                  <a:pt x="1034" y="339"/>
                  <a:pt x="1009" y="354"/>
                  <a:pt x="981" y="354"/>
                </a:cubicBezTo>
                <a:cubicBezTo>
                  <a:pt x="936" y="354"/>
                  <a:pt x="900" y="316"/>
                  <a:pt x="896" y="268"/>
                </a:cubicBezTo>
                <a:cubicBezTo>
                  <a:pt x="1066" y="268"/>
                  <a:pt x="1066" y="268"/>
                  <a:pt x="1066" y="268"/>
                </a:cubicBezTo>
                <a:cubicBezTo>
                  <a:pt x="1066" y="268"/>
                  <a:pt x="1066" y="268"/>
                  <a:pt x="1066" y="268"/>
                </a:cubicBezTo>
                <a:lnTo>
                  <a:pt x="1106" y="268"/>
                </a:lnTo>
                <a:close/>
                <a:moveTo>
                  <a:pt x="1692" y="232"/>
                </a:moveTo>
                <a:cubicBezTo>
                  <a:pt x="1692" y="126"/>
                  <a:pt x="1692" y="126"/>
                  <a:pt x="1692" y="126"/>
                </a:cubicBezTo>
                <a:cubicBezTo>
                  <a:pt x="1692" y="123"/>
                  <a:pt x="1690" y="121"/>
                  <a:pt x="1686" y="121"/>
                </a:cubicBezTo>
                <a:cubicBezTo>
                  <a:pt x="1651" y="121"/>
                  <a:pt x="1651" y="121"/>
                  <a:pt x="1651" y="121"/>
                </a:cubicBezTo>
                <a:cubicBezTo>
                  <a:pt x="1648" y="121"/>
                  <a:pt x="1646" y="123"/>
                  <a:pt x="1646" y="126"/>
                </a:cubicBezTo>
                <a:cubicBezTo>
                  <a:pt x="1646" y="149"/>
                  <a:pt x="1646" y="149"/>
                  <a:pt x="1646" y="149"/>
                </a:cubicBezTo>
                <a:cubicBezTo>
                  <a:pt x="1628" y="133"/>
                  <a:pt x="1607" y="121"/>
                  <a:pt x="1583" y="116"/>
                </a:cubicBezTo>
                <a:cubicBezTo>
                  <a:pt x="1580" y="115"/>
                  <a:pt x="1578" y="117"/>
                  <a:pt x="1578" y="120"/>
                </a:cubicBezTo>
                <a:cubicBezTo>
                  <a:pt x="1578" y="161"/>
                  <a:pt x="1578" y="161"/>
                  <a:pt x="1578" y="161"/>
                </a:cubicBezTo>
                <a:cubicBezTo>
                  <a:pt x="1578" y="163"/>
                  <a:pt x="1579" y="165"/>
                  <a:pt x="1581" y="165"/>
                </a:cubicBezTo>
                <a:cubicBezTo>
                  <a:pt x="1619" y="176"/>
                  <a:pt x="1648" y="213"/>
                  <a:pt x="1648" y="258"/>
                </a:cubicBezTo>
                <a:cubicBezTo>
                  <a:pt x="1648" y="311"/>
                  <a:pt x="1608" y="354"/>
                  <a:pt x="1558" y="354"/>
                </a:cubicBezTo>
                <a:cubicBezTo>
                  <a:pt x="1509" y="354"/>
                  <a:pt x="1469" y="311"/>
                  <a:pt x="1469" y="258"/>
                </a:cubicBezTo>
                <a:cubicBezTo>
                  <a:pt x="1469" y="214"/>
                  <a:pt x="1496" y="178"/>
                  <a:pt x="1533" y="166"/>
                </a:cubicBezTo>
                <a:cubicBezTo>
                  <a:pt x="1535" y="165"/>
                  <a:pt x="1536" y="164"/>
                  <a:pt x="1536" y="162"/>
                </a:cubicBezTo>
                <a:cubicBezTo>
                  <a:pt x="1536" y="120"/>
                  <a:pt x="1536" y="120"/>
                  <a:pt x="1536" y="120"/>
                </a:cubicBezTo>
                <a:cubicBezTo>
                  <a:pt x="1536" y="117"/>
                  <a:pt x="1534" y="115"/>
                  <a:pt x="1531" y="116"/>
                </a:cubicBezTo>
                <a:cubicBezTo>
                  <a:pt x="1469" y="128"/>
                  <a:pt x="1422" y="187"/>
                  <a:pt x="1422" y="257"/>
                </a:cubicBezTo>
                <a:cubicBezTo>
                  <a:pt x="1422" y="336"/>
                  <a:pt x="1482" y="400"/>
                  <a:pt x="1557" y="400"/>
                </a:cubicBezTo>
                <a:cubicBezTo>
                  <a:pt x="1591" y="400"/>
                  <a:pt x="1622" y="386"/>
                  <a:pt x="1646" y="364"/>
                </a:cubicBezTo>
                <a:cubicBezTo>
                  <a:pt x="1646" y="390"/>
                  <a:pt x="1646" y="390"/>
                  <a:pt x="1646" y="390"/>
                </a:cubicBezTo>
                <a:cubicBezTo>
                  <a:pt x="1646" y="393"/>
                  <a:pt x="1648" y="395"/>
                  <a:pt x="1651" y="395"/>
                </a:cubicBezTo>
                <a:cubicBezTo>
                  <a:pt x="1686" y="395"/>
                  <a:pt x="1686" y="395"/>
                  <a:pt x="1686" y="395"/>
                </a:cubicBezTo>
                <a:cubicBezTo>
                  <a:pt x="1690" y="395"/>
                  <a:pt x="1692" y="393"/>
                  <a:pt x="1692" y="390"/>
                </a:cubicBezTo>
                <a:cubicBezTo>
                  <a:pt x="1692" y="250"/>
                  <a:pt x="1692" y="250"/>
                  <a:pt x="1692" y="250"/>
                </a:cubicBezTo>
                <a:cubicBezTo>
                  <a:pt x="1692" y="247"/>
                  <a:pt x="1692" y="245"/>
                  <a:pt x="1692" y="242"/>
                </a:cubicBezTo>
                <a:cubicBezTo>
                  <a:pt x="1692" y="239"/>
                  <a:pt x="1692" y="235"/>
                  <a:pt x="1692" y="232"/>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325264668"/>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type="title" preserve="1">
  <p:cSld name="Title Slide Image">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806139"/>
            <a:ext cx="9144001" cy="3245724"/>
          </a:xfrm>
        </p:spPr>
        <p:txBody>
          <a:bodyPr anchor="ctr"/>
          <a:lstStyle>
            <a:lvl1pPr algn="ctr">
              <a:defRPr sz="4000">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524000" y="5714325"/>
            <a:ext cx="9144001" cy="453754"/>
          </a:xfrm>
        </p:spPr>
        <p:txBody>
          <a:bodyPr/>
          <a:lstStyle>
            <a:lvl1pPr marL="0" indent="0" algn="ctr">
              <a:buNone/>
              <a:defRPr sz="2400">
                <a:solidFill>
                  <a:schemeClr val="bg1"/>
                </a:solidFill>
              </a:defRPr>
            </a:lvl1pPr>
            <a:lvl2pPr marL="521258" indent="0" algn="ctr">
              <a:buNone/>
              <a:defRPr sz="2280"/>
            </a:lvl2pPr>
            <a:lvl3pPr marL="1042512" indent="0" algn="ctr">
              <a:buNone/>
              <a:defRPr sz="2052"/>
            </a:lvl3pPr>
            <a:lvl4pPr marL="1563773" indent="0" algn="ctr">
              <a:buNone/>
              <a:defRPr sz="1824"/>
            </a:lvl4pPr>
            <a:lvl5pPr marL="2085031" indent="0" algn="ctr">
              <a:buNone/>
              <a:defRPr sz="1824"/>
            </a:lvl5pPr>
            <a:lvl6pPr marL="2606285" indent="0" algn="ctr">
              <a:buNone/>
              <a:defRPr sz="1824"/>
            </a:lvl6pPr>
            <a:lvl7pPr marL="3127543" indent="0" algn="ctr">
              <a:buNone/>
              <a:defRPr sz="1824"/>
            </a:lvl7pPr>
            <a:lvl8pPr marL="3648803" indent="0" algn="ctr">
              <a:buNone/>
              <a:defRPr sz="1824"/>
            </a:lvl8pPr>
            <a:lvl9pPr marL="4170060" indent="0" algn="ctr">
              <a:buNone/>
              <a:defRPr sz="1824"/>
            </a:lvl9pPr>
          </a:lstStyle>
          <a:p>
            <a:r>
              <a:rPr lang="en-US"/>
              <a:t>Click to edit Master subtitle style</a:t>
            </a:r>
            <a:endParaRPr lang="en-US" dirty="0"/>
          </a:p>
        </p:txBody>
      </p:sp>
      <p:sp>
        <p:nvSpPr>
          <p:cNvPr id="15" name="Freeform 5">
            <a:extLst>
              <a:ext uri="{FF2B5EF4-FFF2-40B4-BE49-F238E27FC236}">
                <a16:creationId xmlns:a16="http://schemas.microsoft.com/office/drawing/2014/main" id="{72080786-E399-4A97-AA01-14F60200E9FC}"/>
              </a:ext>
            </a:extLst>
          </p:cNvPr>
          <p:cNvSpPr>
            <a:spLocks noChangeAspect="1" noEditPoints="1"/>
          </p:cNvSpPr>
          <p:nvPr/>
        </p:nvSpPr>
        <p:spPr bwMode="auto">
          <a:xfrm>
            <a:off x="5282400" y="662400"/>
            <a:ext cx="1627200" cy="283542"/>
          </a:xfrm>
          <a:custGeom>
            <a:avLst/>
            <a:gdLst>
              <a:gd name="T0" fmla="*/ 2108 w 2301"/>
              <a:gd name="T1" fmla="*/ 43 h 400"/>
              <a:gd name="T2" fmla="*/ 2257 w 2301"/>
              <a:gd name="T3" fmla="*/ 121 h 400"/>
              <a:gd name="T4" fmla="*/ 2154 w 2301"/>
              <a:gd name="T5" fmla="*/ 289 h 400"/>
              <a:gd name="T6" fmla="*/ 2261 w 2301"/>
              <a:gd name="T7" fmla="*/ 295 h 400"/>
              <a:gd name="T8" fmla="*/ 2301 w 2301"/>
              <a:gd name="T9" fmla="*/ 300 h 400"/>
              <a:gd name="T10" fmla="*/ 2108 w 2301"/>
              <a:gd name="T11" fmla="*/ 167 h 400"/>
              <a:gd name="T12" fmla="*/ 548 w 2301"/>
              <a:gd name="T13" fmla="*/ 121 h 400"/>
              <a:gd name="T14" fmla="*/ 643 w 2301"/>
              <a:gd name="T15" fmla="*/ 43 h 400"/>
              <a:gd name="T16" fmla="*/ 746 w 2301"/>
              <a:gd name="T17" fmla="*/ 167 h 400"/>
              <a:gd name="T18" fmla="*/ 729 w 2301"/>
              <a:gd name="T19" fmla="*/ 342 h 400"/>
              <a:gd name="T20" fmla="*/ 789 w 2301"/>
              <a:gd name="T21" fmla="*/ 296 h 400"/>
              <a:gd name="T22" fmla="*/ 622 w 2301"/>
              <a:gd name="T23" fmla="*/ 371 h 400"/>
              <a:gd name="T24" fmla="*/ 1997 w 2301"/>
              <a:gd name="T25" fmla="*/ 297 h 400"/>
              <a:gd name="T26" fmla="*/ 1822 w 2301"/>
              <a:gd name="T27" fmla="*/ 327 h 400"/>
              <a:gd name="T28" fmla="*/ 1954 w 2301"/>
              <a:gd name="T29" fmla="*/ 213 h 400"/>
              <a:gd name="T30" fmla="*/ 1962 w 2301"/>
              <a:gd name="T31" fmla="*/ 141 h 400"/>
              <a:gd name="T32" fmla="*/ 1885 w 2301"/>
              <a:gd name="T33" fmla="*/ 400 h 400"/>
              <a:gd name="T34" fmla="*/ 0 w 2301"/>
              <a:gd name="T35" fmla="*/ 389 h 400"/>
              <a:gd name="T36" fmla="*/ 19 w 2301"/>
              <a:gd name="T37" fmla="*/ 167 h 400"/>
              <a:gd name="T38" fmla="*/ 125 w 2301"/>
              <a:gd name="T39" fmla="*/ 126 h 400"/>
              <a:gd name="T40" fmla="*/ 206 w 2301"/>
              <a:gd name="T41" fmla="*/ 395 h 400"/>
              <a:gd name="T42" fmla="*/ 381 w 2301"/>
              <a:gd name="T43" fmla="*/ 116 h 400"/>
              <a:gd name="T44" fmla="*/ 266 w 2301"/>
              <a:gd name="T45" fmla="*/ 126 h 400"/>
              <a:gd name="T46" fmla="*/ 272 w 2301"/>
              <a:gd name="T47" fmla="*/ 395 h 400"/>
              <a:gd name="T48" fmla="*/ 312 w 2301"/>
              <a:gd name="T49" fmla="*/ 250 h 400"/>
              <a:gd name="T50" fmla="*/ 313 w 2301"/>
              <a:gd name="T51" fmla="*/ 228 h 400"/>
              <a:gd name="T52" fmla="*/ 313 w 2301"/>
              <a:gd name="T53" fmla="*/ 215 h 400"/>
              <a:gd name="T54" fmla="*/ 316 w 2301"/>
              <a:gd name="T55" fmla="*/ 206 h 400"/>
              <a:gd name="T56" fmla="*/ 319 w 2301"/>
              <a:gd name="T57" fmla="*/ 197 h 400"/>
              <a:gd name="T58" fmla="*/ 327 w 2301"/>
              <a:gd name="T59" fmla="*/ 186 h 400"/>
              <a:gd name="T60" fmla="*/ 447 w 2301"/>
              <a:gd name="T61" fmla="*/ 389 h 400"/>
              <a:gd name="T62" fmla="*/ 493 w 2301"/>
              <a:gd name="T63" fmla="*/ 228 h 400"/>
              <a:gd name="T64" fmla="*/ 142 w 2301"/>
              <a:gd name="T65" fmla="*/ 38 h 400"/>
              <a:gd name="T66" fmla="*/ 1292 w 2301"/>
              <a:gd name="T67" fmla="*/ 116 h 400"/>
              <a:gd name="T68" fmla="*/ 1177 w 2301"/>
              <a:gd name="T69" fmla="*/ 126 h 400"/>
              <a:gd name="T70" fmla="*/ 1183 w 2301"/>
              <a:gd name="T71" fmla="*/ 395 h 400"/>
              <a:gd name="T72" fmla="*/ 1223 w 2301"/>
              <a:gd name="T73" fmla="*/ 250 h 400"/>
              <a:gd name="T74" fmla="*/ 1224 w 2301"/>
              <a:gd name="T75" fmla="*/ 228 h 400"/>
              <a:gd name="T76" fmla="*/ 1224 w 2301"/>
              <a:gd name="T77" fmla="*/ 215 h 400"/>
              <a:gd name="T78" fmla="*/ 1227 w 2301"/>
              <a:gd name="T79" fmla="*/ 206 h 400"/>
              <a:gd name="T80" fmla="*/ 1230 w 2301"/>
              <a:gd name="T81" fmla="*/ 197 h 400"/>
              <a:gd name="T82" fmla="*/ 1238 w 2301"/>
              <a:gd name="T83" fmla="*/ 186 h 400"/>
              <a:gd name="T84" fmla="*/ 1386 w 2301"/>
              <a:gd name="T85" fmla="*/ 179 h 400"/>
              <a:gd name="T86" fmla="*/ 1002 w 2301"/>
              <a:gd name="T87" fmla="*/ 126 h 400"/>
              <a:gd name="T88" fmla="*/ 956 w 2301"/>
              <a:gd name="T89" fmla="*/ 170 h 400"/>
              <a:gd name="T90" fmla="*/ 981 w 2301"/>
              <a:gd name="T91" fmla="*/ 400 h 400"/>
              <a:gd name="T92" fmla="*/ 981 w 2301"/>
              <a:gd name="T93" fmla="*/ 354 h 400"/>
              <a:gd name="T94" fmla="*/ 1692 w 2301"/>
              <a:gd name="T95" fmla="*/ 232 h 400"/>
              <a:gd name="T96" fmla="*/ 1646 w 2301"/>
              <a:gd name="T97" fmla="*/ 149 h 400"/>
              <a:gd name="T98" fmla="*/ 1648 w 2301"/>
              <a:gd name="T99" fmla="*/ 258 h 400"/>
              <a:gd name="T100" fmla="*/ 1536 w 2301"/>
              <a:gd name="T101" fmla="*/ 120 h 400"/>
              <a:gd name="T102" fmla="*/ 1646 w 2301"/>
              <a:gd name="T103" fmla="*/ 390 h 400"/>
              <a:gd name="T104" fmla="*/ 1692 w 2301"/>
              <a:gd name="T105" fmla="*/ 242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01" h="400">
                <a:moveTo>
                  <a:pt x="2054" y="162"/>
                </a:moveTo>
                <a:cubicBezTo>
                  <a:pt x="2054" y="126"/>
                  <a:pt x="2054" y="126"/>
                  <a:pt x="2054" y="126"/>
                </a:cubicBezTo>
                <a:cubicBezTo>
                  <a:pt x="2054" y="122"/>
                  <a:pt x="2055" y="121"/>
                  <a:pt x="2059" y="121"/>
                </a:cubicBezTo>
                <a:cubicBezTo>
                  <a:pt x="2108" y="121"/>
                  <a:pt x="2108" y="121"/>
                  <a:pt x="2108" y="121"/>
                </a:cubicBezTo>
                <a:cubicBezTo>
                  <a:pt x="2108" y="43"/>
                  <a:pt x="2108" y="43"/>
                  <a:pt x="2108" y="43"/>
                </a:cubicBezTo>
                <a:cubicBezTo>
                  <a:pt x="2108" y="39"/>
                  <a:pt x="2110" y="38"/>
                  <a:pt x="2113" y="38"/>
                </a:cubicBezTo>
                <a:cubicBezTo>
                  <a:pt x="2149" y="38"/>
                  <a:pt x="2149" y="38"/>
                  <a:pt x="2149" y="38"/>
                </a:cubicBezTo>
                <a:cubicBezTo>
                  <a:pt x="2152" y="38"/>
                  <a:pt x="2154" y="39"/>
                  <a:pt x="2154" y="43"/>
                </a:cubicBezTo>
                <a:cubicBezTo>
                  <a:pt x="2154" y="121"/>
                  <a:pt x="2154" y="121"/>
                  <a:pt x="2154" y="121"/>
                </a:cubicBezTo>
                <a:cubicBezTo>
                  <a:pt x="2257" y="121"/>
                  <a:pt x="2257" y="121"/>
                  <a:pt x="2257" y="121"/>
                </a:cubicBezTo>
                <a:cubicBezTo>
                  <a:pt x="2260" y="121"/>
                  <a:pt x="2262" y="122"/>
                  <a:pt x="2262" y="126"/>
                </a:cubicBezTo>
                <a:cubicBezTo>
                  <a:pt x="2262" y="162"/>
                  <a:pt x="2262" y="162"/>
                  <a:pt x="2262" y="162"/>
                </a:cubicBezTo>
                <a:cubicBezTo>
                  <a:pt x="2262" y="165"/>
                  <a:pt x="2260" y="167"/>
                  <a:pt x="2257" y="167"/>
                </a:cubicBezTo>
                <a:cubicBezTo>
                  <a:pt x="2154" y="167"/>
                  <a:pt x="2154" y="167"/>
                  <a:pt x="2154" y="167"/>
                </a:cubicBezTo>
                <a:cubicBezTo>
                  <a:pt x="2154" y="289"/>
                  <a:pt x="2154" y="289"/>
                  <a:pt x="2154" y="289"/>
                </a:cubicBezTo>
                <a:cubicBezTo>
                  <a:pt x="2154" y="311"/>
                  <a:pt x="2158" y="326"/>
                  <a:pt x="2166" y="336"/>
                </a:cubicBezTo>
                <a:cubicBezTo>
                  <a:pt x="2174" y="348"/>
                  <a:pt x="2186" y="353"/>
                  <a:pt x="2204" y="353"/>
                </a:cubicBezTo>
                <a:cubicBezTo>
                  <a:pt x="2221" y="353"/>
                  <a:pt x="2232" y="351"/>
                  <a:pt x="2240" y="342"/>
                </a:cubicBezTo>
                <a:cubicBezTo>
                  <a:pt x="2248" y="333"/>
                  <a:pt x="2252" y="319"/>
                  <a:pt x="2255" y="300"/>
                </a:cubicBezTo>
                <a:cubicBezTo>
                  <a:pt x="2255" y="297"/>
                  <a:pt x="2257" y="295"/>
                  <a:pt x="2261" y="295"/>
                </a:cubicBezTo>
                <a:cubicBezTo>
                  <a:pt x="2296" y="295"/>
                  <a:pt x="2296" y="295"/>
                  <a:pt x="2296" y="295"/>
                </a:cubicBezTo>
                <a:cubicBezTo>
                  <a:pt x="2298" y="295"/>
                  <a:pt x="2298" y="295"/>
                  <a:pt x="2298" y="295"/>
                </a:cubicBezTo>
                <a:cubicBezTo>
                  <a:pt x="2298" y="295"/>
                  <a:pt x="2299" y="295"/>
                  <a:pt x="2300" y="296"/>
                </a:cubicBezTo>
                <a:cubicBezTo>
                  <a:pt x="2300" y="296"/>
                  <a:pt x="2301" y="297"/>
                  <a:pt x="2301" y="297"/>
                </a:cubicBezTo>
                <a:cubicBezTo>
                  <a:pt x="2301" y="298"/>
                  <a:pt x="2301" y="299"/>
                  <a:pt x="2301" y="300"/>
                </a:cubicBezTo>
                <a:cubicBezTo>
                  <a:pt x="2301" y="327"/>
                  <a:pt x="2295" y="350"/>
                  <a:pt x="2276" y="371"/>
                </a:cubicBezTo>
                <a:cubicBezTo>
                  <a:pt x="2259" y="390"/>
                  <a:pt x="2235" y="400"/>
                  <a:pt x="2205" y="400"/>
                </a:cubicBezTo>
                <a:cubicBezTo>
                  <a:pt x="2173" y="400"/>
                  <a:pt x="2149" y="390"/>
                  <a:pt x="2133" y="371"/>
                </a:cubicBezTo>
                <a:cubicBezTo>
                  <a:pt x="2116" y="353"/>
                  <a:pt x="2108" y="325"/>
                  <a:pt x="2108" y="289"/>
                </a:cubicBezTo>
                <a:cubicBezTo>
                  <a:pt x="2108" y="167"/>
                  <a:pt x="2108" y="167"/>
                  <a:pt x="2108" y="167"/>
                </a:cubicBezTo>
                <a:cubicBezTo>
                  <a:pt x="2059" y="167"/>
                  <a:pt x="2059" y="167"/>
                  <a:pt x="2059" y="167"/>
                </a:cubicBezTo>
                <a:cubicBezTo>
                  <a:pt x="2055" y="167"/>
                  <a:pt x="2054" y="165"/>
                  <a:pt x="2054" y="162"/>
                </a:cubicBezTo>
                <a:moveTo>
                  <a:pt x="543" y="162"/>
                </a:moveTo>
                <a:cubicBezTo>
                  <a:pt x="543" y="126"/>
                  <a:pt x="543" y="126"/>
                  <a:pt x="543" y="126"/>
                </a:cubicBezTo>
                <a:cubicBezTo>
                  <a:pt x="543" y="122"/>
                  <a:pt x="545" y="121"/>
                  <a:pt x="548" y="121"/>
                </a:cubicBezTo>
                <a:cubicBezTo>
                  <a:pt x="597" y="121"/>
                  <a:pt x="597" y="121"/>
                  <a:pt x="597" y="121"/>
                </a:cubicBezTo>
                <a:cubicBezTo>
                  <a:pt x="597" y="43"/>
                  <a:pt x="597" y="43"/>
                  <a:pt x="597" y="43"/>
                </a:cubicBezTo>
                <a:cubicBezTo>
                  <a:pt x="597" y="39"/>
                  <a:pt x="599" y="38"/>
                  <a:pt x="603" y="38"/>
                </a:cubicBezTo>
                <a:cubicBezTo>
                  <a:pt x="638" y="38"/>
                  <a:pt x="638" y="38"/>
                  <a:pt x="638" y="38"/>
                </a:cubicBezTo>
                <a:cubicBezTo>
                  <a:pt x="642" y="38"/>
                  <a:pt x="643" y="39"/>
                  <a:pt x="643" y="43"/>
                </a:cubicBezTo>
                <a:cubicBezTo>
                  <a:pt x="643" y="121"/>
                  <a:pt x="643" y="121"/>
                  <a:pt x="643" y="121"/>
                </a:cubicBezTo>
                <a:cubicBezTo>
                  <a:pt x="746" y="121"/>
                  <a:pt x="746" y="121"/>
                  <a:pt x="746" y="121"/>
                </a:cubicBezTo>
                <a:cubicBezTo>
                  <a:pt x="750" y="121"/>
                  <a:pt x="751" y="122"/>
                  <a:pt x="751" y="126"/>
                </a:cubicBezTo>
                <a:cubicBezTo>
                  <a:pt x="751" y="162"/>
                  <a:pt x="751" y="162"/>
                  <a:pt x="751" y="162"/>
                </a:cubicBezTo>
                <a:cubicBezTo>
                  <a:pt x="751" y="165"/>
                  <a:pt x="750" y="167"/>
                  <a:pt x="746" y="167"/>
                </a:cubicBezTo>
                <a:cubicBezTo>
                  <a:pt x="644" y="167"/>
                  <a:pt x="644" y="167"/>
                  <a:pt x="644" y="167"/>
                </a:cubicBezTo>
                <a:cubicBezTo>
                  <a:pt x="644" y="289"/>
                  <a:pt x="644" y="289"/>
                  <a:pt x="644" y="289"/>
                </a:cubicBezTo>
                <a:cubicBezTo>
                  <a:pt x="644" y="311"/>
                  <a:pt x="648" y="326"/>
                  <a:pt x="655" y="336"/>
                </a:cubicBezTo>
                <a:cubicBezTo>
                  <a:pt x="663" y="348"/>
                  <a:pt x="675" y="353"/>
                  <a:pt x="694" y="353"/>
                </a:cubicBezTo>
                <a:cubicBezTo>
                  <a:pt x="711" y="353"/>
                  <a:pt x="721" y="351"/>
                  <a:pt x="729" y="342"/>
                </a:cubicBezTo>
                <a:cubicBezTo>
                  <a:pt x="737" y="333"/>
                  <a:pt x="741" y="319"/>
                  <a:pt x="744" y="300"/>
                </a:cubicBezTo>
                <a:cubicBezTo>
                  <a:pt x="745" y="297"/>
                  <a:pt x="746" y="295"/>
                  <a:pt x="750" y="295"/>
                </a:cubicBezTo>
                <a:cubicBezTo>
                  <a:pt x="785" y="295"/>
                  <a:pt x="785" y="295"/>
                  <a:pt x="785" y="295"/>
                </a:cubicBezTo>
                <a:cubicBezTo>
                  <a:pt x="787" y="295"/>
                  <a:pt x="787" y="295"/>
                  <a:pt x="787" y="295"/>
                </a:cubicBezTo>
                <a:cubicBezTo>
                  <a:pt x="788" y="295"/>
                  <a:pt x="788" y="295"/>
                  <a:pt x="789" y="296"/>
                </a:cubicBezTo>
                <a:cubicBezTo>
                  <a:pt x="790" y="296"/>
                  <a:pt x="790" y="297"/>
                  <a:pt x="790" y="297"/>
                </a:cubicBezTo>
                <a:cubicBezTo>
                  <a:pt x="790" y="298"/>
                  <a:pt x="790" y="299"/>
                  <a:pt x="790" y="300"/>
                </a:cubicBezTo>
                <a:cubicBezTo>
                  <a:pt x="790" y="327"/>
                  <a:pt x="784" y="350"/>
                  <a:pt x="765" y="371"/>
                </a:cubicBezTo>
                <a:cubicBezTo>
                  <a:pt x="748" y="390"/>
                  <a:pt x="725" y="400"/>
                  <a:pt x="694" y="400"/>
                </a:cubicBezTo>
                <a:cubicBezTo>
                  <a:pt x="662" y="400"/>
                  <a:pt x="639" y="390"/>
                  <a:pt x="622" y="371"/>
                </a:cubicBezTo>
                <a:cubicBezTo>
                  <a:pt x="606" y="353"/>
                  <a:pt x="597" y="325"/>
                  <a:pt x="597" y="289"/>
                </a:cubicBezTo>
                <a:cubicBezTo>
                  <a:pt x="597" y="167"/>
                  <a:pt x="597" y="167"/>
                  <a:pt x="597" y="167"/>
                </a:cubicBezTo>
                <a:cubicBezTo>
                  <a:pt x="548" y="167"/>
                  <a:pt x="548" y="167"/>
                  <a:pt x="548" y="167"/>
                </a:cubicBezTo>
                <a:cubicBezTo>
                  <a:pt x="545" y="167"/>
                  <a:pt x="543" y="165"/>
                  <a:pt x="543" y="162"/>
                </a:cubicBezTo>
                <a:moveTo>
                  <a:pt x="1997" y="297"/>
                </a:moveTo>
                <a:cubicBezTo>
                  <a:pt x="1965" y="297"/>
                  <a:pt x="1965" y="297"/>
                  <a:pt x="1965" y="297"/>
                </a:cubicBezTo>
                <a:cubicBezTo>
                  <a:pt x="1958" y="297"/>
                  <a:pt x="1956" y="301"/>
                  <a:pt x="1955" y="304"/>
                </a:cubicBezTo>
                <a:cubicBezTo>
                  <a:pt x="1950" y="319"/>
                  <a:pt x="1942" y="331"/>
                  <a:pt x="1929" y="340"/>
                </a:cubicBezTo>
                <a:cubicBezTo>
                  <a:pt x="1917" y="349"/>
                  <a:pt x="1902" y="354"/>
                  <a:pt x="1885" y="354"/>
                </a:cubicBezTo>
                <a:cubicBezTo>
                  <a:pt x="1860" y="354"/>
                  <a:pt x="1837" y="345"/>
                  <a:pt x="1822" y="327"/>
                </a:cubicBezTo>
                <a:cubicBezTo>
                  <a:pt x="1807" y="309"/>
                  <a:pt x="1799" y="286"/>
                  <a:pt x="1799" y="258"/>
                </a:cubicBezTo>
                <a:cubicBezTo>
                  <a:pt x="1799" y="230"/>
                  <a:pt x="1807" y="206"/>
                  <a:pt x="1822" y="188"/>
                </a:cubicBezTo>
                <a:cubicBezTo>
                  <a:pt x="1837" y="170"/>
                  <a:pt x="1860" y="162"/>
                  <a:pt x="1885" y="162"/>
                </a:cubicBezTo>
                <a:cubicBezTo>
                  <a:pt x="1902" y="162"/>
                  <a:pt x="1916" y="166"/>
                  <a:pt x="1928" y="175"/>
                </a:cubicBezTo>
                <a:cubicBezTo>
                  <a:pt x="1941" y="184"/>
                  <a:pt x="1949" y="197"/>
                  <a:pt x="1954" y="213"/>
                </a:cubicBezTo>
                <a:cubicBezTo>
                  <a:pt x="1955" y="215"/>
                  <a:pt x="1957" y="219"/>
                  <a:pt x="1964" y="219"/>
                </a:cubicBezTo>
                <a:cubicBezTo>
                  <a:pt x="1996" y="219"/>
                  <a:pt x="1996" y="219"/>
                  <a:pt x="1996" y="219"/>
                </a:cubicBezTo>
                <a:cubicBezTo>
                  <a:pt x="1999" y="219"/>
                  <a:pt x="2002" y="217"/>
                  <a:pt x="2002" y="213"/>
                </a:cubicBezTo>
                <a:cubicBezTo>
                  <a:pt x="2002" y="211"/>
                  <a:pt x="2002" y="209"/>
                  <a:pt x="2001" y="207"/>
                </a:cubicBezTo>
                <a:cubicBezTo>
                  <a:pt x="1994" y="179"/>
                  <a:pt x="1982" y="157"/>
                  <a:pt x="1962" y="141"/>
                </a:cubicBezTo>
                <a:cubicBezTo>
                  <a:pt x="1942" y="125"/>
                  <a:pt x="1916" y="117"/>
                  <a:pt x="1885" y="117"/>
                </a:cubicBezTo>
                <a:cubicBezTo>
                  <a:pt x="1845" y="117"/>
                  <a:pt x="1812" y="130"/>
                  <a:pt x="1788" y="157"/>
                </a:cubicBezTo>
                <a:cubicBezTo>
                  <a:pt x="1765" y="183"/>
                  <a:pt x="1753" y="217"/>
                  <a:pt x="1753" y="258"/>
                </a:cubicBezTo>
                <a:cubicBezTo>
                  <a:pt x="1753" y="299"/>
                  <a:pt x="1765" y="333"/>
                  <a:pt x="1789" y="360"/>
                </a:cubicBezTo>
                <a:cubicBezTo>
                  <a:pt x="1812" y="386"/>
                  <a:pt x="1845" y="400"/>
                  <a:pt x="1885" y="400"/>
                </a:cubicBezTo>
                <a:cubicBezTo>
                  <a:pt x="1916" y="400"/>
                  <a:pt x="1942" y="392"/>
                  <a:pt x="1962" y="376"/>
                </a:cubicBezTo>
                <a:cubicBezTo>
                  <a:pt x="1982" y="360"/>
                  <a:pt x="1995" y="337"/>
                  <a:pt x="2003" y="309"/>
                </a:cubicBezTo>
                <a:cubicBezTo>
                  <a:pt x="2003" y="307"/>
                  <a:pt x="2003" y="305"/>
                  <a:pt x="2003" y="303"/>
                </a:cubicBezTo>
                <a:cubicBezTo>
                  <a:pt x="2003" y="300"/>
                  <a:pt x="2002" y="297"/>
                  <a:pt x="1997" y="297"/>
                </a:cubicBezTo>
                <a:moveTo>
                  <a:pt x="0" y="389"/>
                </a:moveTo>
                <a:cubicBezTo>
                  <a:pt x="0" y="354"/>
                  <a:pt x="0" y="354"/>
                  <a:pt x="0" y="354"/>
                </a:cubicBezTo>
                <a:cubicBezTo>
                  <a:pt x="0" y="351"/>
                  <a:pt x="2" y="349"/>
                  <a:pt x="6" y="349"/>
                </a:cubicBezTo>
                <a:cubicBezTo>
                  <a:pt x="78" y="349"/>
                  <a:pt x="78" y="349"/>
                  <a:pt x="78" y="349"/>
                </a:cubicBezTo>
                <a:cubicBezTo>
                  <a:pt x="78" y="167"/>
                  <a:pt x="78" y="167"/>
                  <a:pt x="78" y="167"/>
                </a:cubicBezTo>
                <a:cubicBezTo>
                  <a:pt x="19" y="167"/>
                  <a:pt x="19" y="167"/>
                  <a:pt x="19" y="167"/>
                </a:cubicBezTo>
                <a:cubicBezTo>
                  <a:pt x="16" y="167"/>
                  <a:pt x="14" y="165"/>
                  <a:pt x="14" y="162"/>
                </a:cubicBezTo>
                <a:cubicBezTo>
                  <a:pt x="14" y="126"/>
                  <a:pt x="14" y="126"/>
                  <a:pt x="14" y="126"/>
                </a:cubicBezTo>
                <a:cubicBezTo>
                  <a:pt x="14" y="122"/>
                  <a:pt x="16" y="121"/>
                  <a:pt x="19" y="121"/>
                </a:cubicBezTo>
                <a:cubicBezTo>
                  <a:pt x="119" y="121"/>
                  <a:pt x="119" y="121"/>
                  <a:pt x="119" y="121"/>
                </a:cubicBezTo>
                <a:cubicBezTo>
                  <a:pt x="122" y="121"/>
                  <a:pt x="124" y="122"/>
                  <a:pt x="125" y="126"/>
                </a:cubicBezTo>
                <a:cubicBezTo>
                  <a:pt x="125" y="349"/>
                  <a:pt x="125" y="349"/>
                  <a:pt x="125" y="349"/>
                </a:cubicBezTo>
                <a:cubicBezTo>
                  <a:pt x="206" y="349"/>
                  <a:pt x="206" y="349"/>
                  <a:pt x="206" y="349"/>
                </a:cubicBezTo>
                <a:cubicBezTo>
                  <a:pt x="209" y="349"/>
                  <a:pt x="211" y="351"/>
                  <a:pt x="211" y="354"/>
                </a:cubicBezTo>
                <a:cubicBezTo>
                  <a:pt x="211" y="389"/>
                  <a:pt x="211" y="389"/>
                  <a:pt x="211" y="389"/>
                </a:cubicBezTo>
                <a:cubicBezTo>
                  <a:pt x="211" y="393"/>
                  <a:pt x="210" y="395"/>
                  <a:pt x="206" y="395"/>
                </a:cubicBezTo>
                <a:cubicBezTo>
                  <a:pt x="6" y="395"/>
                  <a:pt x="6" y="395"/>
                  <a:pt x="6" y="395"/>
                </a:cubicBezTo>
                <a:cubicBezTo>
                  <a:pt x="2" y="395"/>
                  <a:pt x="0" y="393"/>
                  <a:pt x="0" y="389"/>
                </a:cubicBezTo>
                <a:moveTo>
                  <a:pt x="493" y="227"/>
                </a:moveTo>
                <a:cubicBezTo>
                  <a:pt x="493" y="199"/>
                  <a:pt x="485" y="173"/>
                  <a:pt x="463" y="149"/>
                </a:cubicBezTo>
                <a:cubicBezTo>
                  <a:pt x="444" y="128"/>
                  <a:pt x="411" y="116"/>
                  <a:pt x="381" y="116"/>
                </a:cubicBezTo>
                <a:cubicBezTo>
                  <a:pt x="332" y="116"/>
                  <a:pt x="312" y="150"/>
                  <a:pt x="312" y="150"/>
                </a:cubicBezTo>
                <a:cubicBezTo>
                  <a:pt x="312" y="126"/>
                  <a:pt x="312" y="126"/>
                  <a:pt x="312" y="126"/>
                </a:cubicBezTo>
                <a:cubicBezTo>
                  <a:pt x="312" y="122"/>
                  <a:pt x="311" y="121"/>
                  <a:pt x="307" y="121"/>
                </a:cubicBezTo>
                <a:cubicBezTo>
                  <a:pt x="272" y="121"/>
                  <a:pt x="272" y="121"/>
                  <a:pt x="272" y="121"/>
                </a:cubicBezTo>
                <a:cubicBezTo>
                  <a:pt x="268" y="121"/>
                  <a:pt x="266" y="122"/>
                  <a:pt x="266" y="126"/>
                </a:cubicBezTo>
                <a:cubicBezTo>
                  <a:pt x="266" y="231"/>
                  <a:pt x="266" y="231"/>
                  <a:pt x="266" y="231"/>
                </a:cubicBezTo>
                <a:cubicBezTo>
                  <a:pt x="266" y="235"/>
                  <a:pt x="266" y="238"/>
                  <a:pt x="266" y="242"/>
                </a:cubicBezTo>
                <a:cubicBezTo>
                  <a:pt x="266" y="244"/>
                  <a:pt x="266" y="247"/>
                  <a:pt x="266" y="250"/>
                </a:cubicBezTo>
                <a:cubicBezTo>
                  <a:pt x="266" y="389"/>
                  <a:pt x="266" y="389"/>
                  <a:pt x="266" y="389"/>
                </a:cubicBezTo>
                <a:cubicBezTo>
                  <a:pt x="266" y="393"/>
                  <a:pt x="268" y="395"/>
                  <a:pt x="272" y="395"/>
                </a:cubicBezTo>
                <a:cubicBezTo>
                  <a:pt x="307" y="395"/>
                  <a:pt x="307" y="395"/>
                  <a:pt x="307" y="395"/>
                </a:cubicBezTo>
                <a:cubicBezTo>
                  <a:pt x="311" y="395"/>
                  <a:pt x="312" y="393"/>
                  <a:pt x="312" y="389"/>
                </a:cubicBezTo>
                <a:cubicBezTo>
                  <a:pt x="312" y="251"/>
                  <a:pt x="312" y="251"/>
                  <a:pt x="312" y="251"/>
                </a:cubicBezTo>
                <a:cubicBezTo>
                  <a:pt x="312" y="250"/>
                  <a:pt x="312" y="250"/>
                  <a:pt x="312" y="250"/>
                </a:cubicBezTo>
                <a:cubicBezTo>
                  <a:pt x="312" y="250"/>
                  <a:pt x="312" y="250"/>
                  <a:pt x="312" y="250"/>
                </a:cubicBezTo>
                <a:cubicBezTo>
                  <a:pt x="312" y="243"/>
                  <a:pt x="312" y="241"/>
                  <a:pt x="312" y="236"/>
                </a:cubicBezTo>
                <a:cubicBezTo>
                  <a:pt x="312" y="235"/>
                  <a:pt x="312" y="235"/>
                  <a:pt x="312" y="235"/>
                </a:cubicBezTo>
                <a:cubicBezTo>
                  <a:pt x="312" y="234"/>
                  <a:pt x="312" y="233"/>
                  <a:pt x="312" y="232"/>
                </a:cubicBezTo>
                <a:cubicBezTo>
                  <a:pt x="312" y="232"/>
                  <a:pt x="312" y="231"/>
                  <a:pt x="312" y="231"/>
                </a:cubicBezTo>
                <a:cubicBezTo>
                  <a:pt x="312" y="230"/>
                  <a:pt x="313" y="229"/>
                  <a:pt x="313" y="228"/>
                </a:cubicBezTo>
                <a:cubicBezTo>
                  <a:pt x="313" y="228"/>
                  <a:pt x="313" y="224"/>
                  <a:pt x="313" y="223"/>
                </a:cubicBezTo>
                <a:cubicBezTo>
                  <a:pt x="313" y="222"/>
                  <a:pt x="313" y="222"/>
                  <a:pt x="313" y="221"/>
                </a:cubicBezTo>
                <a:cubicBezTo>
                  <a:pt x="313" y="220"/>
                  <a:pt x="313" y="220"/>
                  <a:pt x="313" y="219"/>
                </a:cubicBezTo>
                <a:cubicBezTo>
                  <a:pt x="313" y="218"/>
                  <a:pt x="313" y="218"/>
                  <a:pt x="313" y="217"/>
                </a:cubicBezTo>
                <a:cubicBezTo>
                  <a:pt x="313" y="216"/>
                  <a:pt x="313" y="216"/>
                  <a:pt x="313" y="215"/>
                </a:cubicBezTo>
                <a:cubicBezTo>
                  <a:pt x="314" y="215"/>
                  <a:pt x="314" y="214"/>
                  <a:pt x="314" y="213"/>
                </a:cubicBezTo>
                <a:cubicBezTo>
                  <a:pt x="314" y="213"/>
                  <a:pt x="314" y="212"/>
                  <a:pt x="314" y="211"/>
                </a:cubicBezTo>
                <a:cubicBezTo>
                  <a:pt x="314" y="211"/>
                  <a:pt x="314" y="210"/>
                  <a:pt x="315" y="210"/>
                </a:cubicBezTo>
                <a:cubicBezTo>
                  <a:pt x="315" y="209"/>
                  <a:pt x="315" y="208"/>
                  <a:pt x="315" y="208"/>
                </a:cubicBezTo>
                <a:cubicBezTo>
                  <a:pt x="315" y="207"/>
                  <a:pt x="315" y="207"/>
                  <a:pt x="316" y="206"/>
                </a:cubicBezTo>
                <a:cubicBezTo>
                  <a:pt x="316" y="205"/>
                  <a:pt x="316" y="205"/>
                  <a:pt x="316" y="204"/>
                </a:cubicBezTo>
                <a:cubicBezTo>
                  <a:pt x="316" y="203"/>
                  <a:pt x="317" y="203"/>
                  <a:pt x="317" y="202"/>
                </a:cubicBezTo>
                <a:cubicBezTo>
                  <a:pt x="317" y="202"/>
                  <a:pt x="317" y="201"/>
                  <a:pt x="318" y="200"/>
                </a:cubicBezTo>
                <a:cubicBezTo>
                  <a:pt x="318" y="200"/>
                  <a:pt x="318" y="199"/>
                  <a:pt x="319" y="199"/>
                </a:cubicBezTo>
                <a:cubicBezTo>
                  <a:pt x="319" y="198"/>
                  <a:pt x="319" y="197"/>
                  <a:pt x="319" y="197"/>
                </a:cubicBezTo>
                <a:cubicBezTo>
                  <a:pt x="320" y="196"/>
                  <a:pt x="320" y="195"/>
                  <a:pt x="321" y="195"/>
                </a:cubicBezTo>
                <a:cubicBezTo>
                  <a:pt x="321" y="194"/>
                  <a:pt x="321" y="194"/>
                  <a:pt x="322" y="193"/>
                </a:cubicBezTo>
                <a:cubicBezTo>
                  <a:pt x="322" y="192"/>
                  <a:pt x="323" y="192"/>
                  <a:pt x="323" y="191"/>
                </a:cubicBezTo>
                <a:cubicBezTo>
                  <a:pt x="323" y="190"/>
                  <a:pt x="324" y="190"/>
                  <a:pt x="324" y="189"/>
                </a:cubicBezTo>
                <a:cubicBezTo>
                  <a:pt x="325" y="188"/>
                  <a:pt x="326" y="187"/>
                  <a:pt x="327" y="186"/>
                </a:cubicBezTo>
                <a:cubicBezTo>
                  <a:pt x="342" y="168"/>
                  <a:pt x="360" y="162"/>
                  <a:pt x="380" y="162"/>
                </a:cubicBezTo>
                <a:cubicBezTo>
                  <a:pt x="398" y="162"/>
                  <a:pt x="416" y="169"/>
                  <a:pt x="427" y="180"/>
                </a:cubicBezTo>
                <a:cubicBezTo>
                  <a:pt x="439" y="192"/>
                  <a:pt x="447" y="210"/>
                  <a:pt x="447" y="229"/>
                </a:cubicBezTo>
                <a:cubicBezTo>
                  <a:pt x="447" y="254"/>
                  <a:pt x="447" y="254"/>
                  <a:pt x="447" y="254"/>
                </a:cubicBezTo>
                <a:cubicBezTo>
                  <a:pt x="447" y="389"/>
                  <a:pt x="447" y="389"/>
                  <a:pt x="447" y="389"/>
                </a:cubicBezTo>
                <a:cubicBezTo>
                  <a:pt x="447" y="393"/>
                  <a:pt x="449" y="395"/>
                  <a:pt x="453" y="395"/>
                </a:cubicBezTo>
                <a:cubicBezTo>
                  <a:pt x="488" y="395"/>
                  <a:pt x="488" y="395"/>
                  <a:pt x="488" y="395"/>
                </a:cubicBezTo>
                <a:cubicBezTo>
                  <a:pt x="492" y="395"/>
                  <a:pt x="493" y="393"/>
                  <a:pt x="493" y="389"/>
                </a:cubicBezTo>
                <a:cubicBezTo>
                  <a:pt x="493" y="254"/>
                  <a:pt x="493" y="254"/>
                  <a:pt x="493" y="254"/>
                </a:cubicBezTo>
                <a:cubicBezTo>
                  <a:pt x="493" y="228"/>
                  <a:pt x="493" y="228"/>
                  <a:pt x="493" y="228"/>
                </a:cubicBezTo>
                <a:cubicBezTo>
                  <a:pt x="493" y="227"/>
                  <a:pt x="493" y="227"/>
                  <a:pt x="493" y="227"/>
                </a:cubicBezTo>
                <a:close/>
                <a:moveTo>
                  <a:pt x="105" y="0"/>
                </a:moveTo>
                <a:cubicBezTo>
                  <a:pt x="84" y="0"/>
                  <a:pt x="67" y="17"/>
                  <a:pt x="67" y="38"/>
                </a:cubicBezTo>
                <a:cubicBezTo>
                  <a:pt x="67" y="58"/>
                  <a:pt x="84" y="75"/>
                  <a:pt x="105" y="75"/>
                </a:cubicBezTo>
                <a:cubicBezTo>
                  <a:pt x="125" y="75"/>
                  <a:pt x="142" y="58"/>
                  <a:pt x="142" y="38"/>
                </a:cubicBezTo>
                <a:cubicBezTo>
                  <a:pt x="142" y="17"/>
                  <a:pt x="125" y="0"/>
                  <a:pt x="105" y="0"/>
                </a:cubicBezTo>
                <a:moveTo>
                  <a:pt x="1386" y="179"/>
                </a:moveTo>
                <a:cubicBezTo>
                  <a:pt x="1390" y="177"/>
                  <a:pt x="1391" y="173"/>
                  <a:pt x="1389" y="169"/>
                </a:cubicBezTo>
                <a:cubicBezTo>
                  <a:pt x="1385" y="162"/>
                  <a:pt x="1380" y="156"/>
                  <a:pt x="1374" y="149"/>
                </a:cubicBezTo>
                <a:cubicBezTo>
                  <a:pt x="1355" y="128"/>
                  <a:pt x="1322" y="116"/>
                  <a:pt x="1292" y="116"/>
                </a:cubicBezTo>
                <a:cubicBezTo>
                  <a:pt x="1243" y="116"/>
                  <a:pt x="1223" y="150"/>
                  <a:pt x="1223" y="150"/>
                </a:cubicBezTo>
                <a:cubicBezTo>
                  <a:pt x="1223" y="126"/>
                  <a:pt x="1223" y="126"/>
                  <a:pt x="1223" y="126"/>
                </a:cubicBezTo>
                <a:cubicBezTo>
                  <a:pt x="1223" y="123"/>
                  <a:pt x="1221" y="121"/>
                  <a:pt x="1218" y="121"/>
                </a:cubicBezTo>
                <a:cubicBezTo>
                  <a:pt x="1183" y="121"/>
                  <a:pt x="1183" y="121"/>
                  <a:pt x="1183" y="121"/>
                </a:cubicBezTo>
                <a:cubicBezTo>
                  <a:pt x="1179" y="121"/>
                  <a:pt x="1177" y="122"/>
                  <a:pt x="1177" y="126"/>
                </a:cubicBezTo>
                <a:cubicBezTo>
                  <a:pt x="1177" y="231"/>
                  <a:pt x="1177" y="231"/>
                  <a:pt x="1177" y="231"/>
                </a:cubicBezTo>
                <a:cubicBezTo>
                  <a:pt x="1177" y="235"/>
                  <a:pt x="1177" y="238"/>
                  <a:pt x="1177" y="242"/>
                </a:cubicBezTo>
                <a:cubicBezTo>
                  <a:pt x="1177" y="244"/>
                  <a:pt x="1177" y="247"/>
                  <a:pt x="1177" y="250"/>
                </a:cubicBezTo>
                <a:cubicBezTo>
                  <a:pt x="1177" y="389"/>
                  <a:pt x="1177" y="389"/>
                  <a:pt x="1177" y="389"/>
                </a:cubicBezTo>
                <a:cubicBezTo>
                  <a:pt x="1177" y="393"/>
                  <a:pt x="1179" y="395"/>
                  <a:pt x="1183" y="395"/>
                </a:cubicBezTo>
                <a:cubicBezTo>
                  <a:pt x="1218" y="395"/>
                  <a:pt x="1218" y="395"/>
                  <a:pt x="1218" y="395"/>
                </a:cubicBezTo>
                <a:cubicBezTo>
                  <a:pt x="1221" y="395"/>
                  <a:pt x="1223" y="392"/>
                  <a:pt x="1223" y="389"/>
                </a:cubicBezTo>
                <a:cubicBezTo>
                  <a:pt x="1223" y="251"/>
                  <a:pt x="1223" y="251"/>
                  <a:pt x="1223" y="251"/>
                </a:cubicBezTo>
                <a:cubicBezTo>
                  <a:pt x="1223" y="250"/>
                  <a:pt x="1223" y="250"/>
                  <a:pt x="1223" y="250"/>
                </a:cubicBezTo>
                <a:cubicBezTo>
                  <a:pt x="1223" y="250"/>
                  <a:pt x="1223" y="250"/>
                  <a:pt x="1223" y="250"/>
                </a:cubicBezTo>
                <a:cubicBezTo>
                  <a:pt x="1223" y="243"/>
                  <a:pt x="1223" y="241"/>
                  <a:pt x="1223" y="236"/>
                </a:cubicBezTo>
                <a:cubicBezTo>
                  <a:pt x="1223" y="236"/>
                  <a:pt x="1223" y="235"/>
                  <a:pt x="1223" y="235"/>
                </a:cubicBezTo>
                <a:cubicBezTo>
                  <a:pt x="1223" y="234"/>
                  <a:pt x="1223" y="233"/>
                  <a:pt x="1223" y="232"/>
                </a:cubicBezTo>
                <a:cubicBezTo>
                  <a:pt x="1223" y="232"/>
                  <a:pt x="1223" y="231"/>
                  <a:pt x="1223" y="231"/>
                </a:cubicBezTo>
                <a:cubicBezTo>
                  <a:pt x="1223" y="230"/>
                  <a:pt x="1223" y="229"/>
                  <a:pt x="1224" y="228"/>
                </a:cubicBezTo>
                <a:cubicBezTo>
                  <a:pt x="1224" y="228"/>
                  <a:pt x="1224" y="224"/>
                  <a:pt x="1224" y="223"/>
                </a:cubicBezTo>
                <a:cubicBezTo>
                  <a:pt x="1224" y="222"/>
                  <a:pt x="1224" y="222"/>
                  <a:pt x="1224" y="221"/>
                </a:cubicBezTo>
                <a:cubicBezTo>
                  <a:pt x="1224" y="220"/>
                  <a:pt x="1224" y="220"/>
                  <a:pt x="1224" y="219"/>
                </a:cubicBezTo>
                <a:cubicBezTo>
                  <a:pt x="1224" y="218"/>
                  <a:pt x="1224" y="218"/>
                  <a:pt x="1224" y="217"/>
                </a:cubicBezTo>
                <a:cubicBezTo>
                  <a:pt x="1224" y="216"/>
                  <a:pt x="1224" y="216"/>
                  <a:pt x="1224" y="215"/>
                </a:cubicBezTo>
                <a:cubicBezTo>
                  <a:pt x="1225" y="215"/>
                  <a:pt x="1225" y="214"/>
                  <a:pt x="1225" y="213"/>
                </a:cubicBezTo>
                <a:cubicBezTo>
                  <a:pt x="1225" y="213"/>
                  <a:pt x="1225" y="212"/>
                  <a:pt x="1225" y="211"/>
                </a:cubicBezTo>
                <a:cubicBezTo>
                  <a:pt x="1225" y="211"/>
                  <a:pt x="1225" y="210"/>
                  <a:pt x="1226" y="210"/>
                </a:cubicBezTo>
                <a:cubicBezTo>
                  <a:pt x="1226" y="209"/>
                  <a:pt x="1226" y="208"/>
                  <a:pt x="1226" y="208"/>
                </a:cubicBezTo>
                <a:cubicBezTo>
                  <a:pt x="1226" y="207"/>
                  <a:pt x="1226" y="207"/>
                  <a:pt x="1227" y="206"/>
                </a:cubicBezTo>
                <a:cubicBezTo>
                  <a:pt x="1227" y="205"/>
                  <a:pt x="1227" y="205"/>
                  <a:pt x="1227" y="204"/>
                </a:cubicBezTo>
                <a:cubicBezTo>
                  <a:pt x="1227" y="203"/>
                  <a:pt x="1228" y="203"/>
                  <a:pt x="1228" y="202"/>
                </a:cubicBezTo>
                <a:cubicBezTo>
                  <a:pt x="1228" y="202"/>
                  <a:pt x="1228" y="201"/>
                  <a:pt x="1229" y="200"/>
                </a:cubicBezTo>
                <a:cubicBezTo>
                  <a:pt x="1229" y="200"/>
                  <a:pt x="1229" y="199"/>
                  <a:pt x="1230" y="199"/>
                </a:cubicBezTo>
                <a:cubicBezTo>
                  <a:pt x="1230" y="198"/>
                  <a:pt x="1230" y="197"/>
                  <a:pt x="1230" y="197"/>
                </a:cubicBezTo>
                <a:cubicBezTo>
                  <a:pt x="1231" y="196"/>
                  <a:pt x="1231" y="195"/>
                  <a:pt x="1232" y="195"/>
                </a:cubicBezTo>
                <a:cubicBezTo>
                  <a:pt x="1232" y="194"/>
                  <a:pt x="1232" y="194"/>
                  <a:pt x="1232" y="193"/>
                </a:cubicBezTo>
                <a:cubicBezTo>
                  <a:pt x="1233" y="192"/>
                  <a:pt x="1233" y="192"/>
                  <a:pt x="1234" y="191"/>
                </a:cubicBezTo>
                <a:cubicBezTo>
                  <a:pt x="1234" y="190"/>
                  <a:pt x="1235" y="190"/>
                  <a:pt x="1235" y="189"/>
                </a:cubicBezTo>
                <a:cubicBezTo>
                  <a:pt x="1236" y="188"/>
                  <a:pt x="1237" y="187"/>
                  <a:pt x="1238" y="186"/>
                </a:cubicBezTo>
                <a:cubicBezTo>
                  <a:pt x="1253" y="168"/>
                  <a:pt x="1271" y="162"/>
                  <a:pt x="1291" y="162"/>
                </a:cubicBezTo>
                <a:cubicBezTo>
                  <a:pt x="1308" y="162"/>
                  <a:pt x="1328" y="169"/>
                  <a:pt x="1338" y="180"/>
                </a:cubicBezTo>
                <a:cubicBezTo>
                  <a:pt x="1341" y="184"/>
                  <a:pt x="1345" y="188"/>
                  <a:pt x="1348" y="192"/>
                </a:cubicBezTo>
                <a:cubicBezTo>
                  <a:pt x="1350" y="196"/>
                  <a:pt x="1354" y="197"/>
                  <a:pt x="1357" y="195"/>
                </a:cubicBezTo>
                <a:lnTo>
                  <a:pt x="1386" y="179"/>
                </a:lnTo>
                <a:close/>
                <a:moveTo>
                  <a:pt x="1106" y="268"/>
                </a:moveTo>
                <a:cubicBezTo>
                  <a:pt x="1109" y="268"/>
                  <a:pt x="1112" y="265"/>
                  <a:pt x="1112" y="262"/>
                </a:cubicBezTo>
                <a:cubicBezTo>
                  <a:pt x="1112" y="256"/>
                  <a:pt x="1112" y="249"/>
                  <a:pt x="1112" y="246"/>
                </a:cubicBezTo>
                <a:cubicBezTo>
                  <a:pt x="1107" y="184"/>
                  <a:pt x="1065" y="133"/>
                  <a:pt x="1010" y="120"/>
                </a:cubicBezTo>
                <a:cubicBezTo>
                  <a:pt x="1006" y="119"/>
                  <a:pt x="1002" y="122"/>
                  <a:pt x="1002" y="126"/>
                </a:cubicBezTo>
                <a:cubicBezTo>
                  <a:pt x="1002" y="164"/>
                  <a:pt x="1002" y="164"/>
                  <a:pt x="1002" y="164"/>
                </a:cubicBezTo>
                <a:cubicBezTo>
                  <a:pt x="1002" y="166"/>
                  <a:pt x="1004" y="169"/>
                  <a:pt x="1006" y="170"/>
                </a:cubicBezTo>
                <a:cubicBezTo>
                  <a:pt x="1032" y="179"/>
                  <a:pt x="1053" y="201"/>
                  <a:pt x="1062" y="229"/>
                </a:cubicBezTo>
                <a:cubicBezTo>
                  <a:pt x="900" y="229"/>
                  <a:pt x="900" y="229"/>
                  <a:pt x="900" y="229"/>
                </a:cubicBezTo>
                <a:cubicBezTo>
                  <a:pt x="909" y="201"/>
                  <a:pt x="930" y="179"/>
                  <a:pt x="956" y="170"/>
                </a:cubicBezTo>
                <a:cubicBezTo>
                  <a:pt x="958" y="169"/>
                  <a:pt x="960" y="166"/>
                  <a:pt x="960" y="164"/>
                </a:cubicBezTo>
                <a:cubicBezTo>
                  <a:pt x="960" y="126"/>
                  <a:pt x="960" y="126"/>
                  <a:pt x="960" y="126"/>
                </a:cubicBezTo>
                <a:cubicBezTo>
                  <a:pt x="960" y="122"/>
                  <a:pt x="956" y="119"/>
                  <a:pt x="952" y="120"/>
                </a:cubicBezTo>
                <a:cubicBezTo>
                  <a:pt x="893" y="134"/>
                  <a:pt x="850" y="191"/>
                  <a:pt x="850" y="258"/>
                </a:cubicBezTo>
                <a:cubicBezTo>
                  <a:pt x="850" y="337"/>
                  <a:pt x="908" y="400"/>
                  <a:pt x="981" y="400"/>
                </a:cubicBezTo>
                <a:cubicBezTo>
                  <a:pt x="1032" y="400"/>
                  <a:pt x="1076" y="369"/>
                  <a:pt x="1098" y="322"/>
                </a:cubicBezTo>
                <a:cubicBezTo>
                  <a:pt x="1100" y="318"/>
                  <a:pt x="1097" y="313"/>
                  <a:pt x="1092" y="313"/>
                </a:cubicBezTo>
                <a:cubicBezTo>
                  <a:pt x="1055" y="313"/>
                  <a:pt x="1055" y="313"/>
                  <a:pt x="1055" y="313"/>
                </a:cubicBezTo>
                <a:cubicBezTo>
                  <a:pt x="1053" y="313"/>
                  <a:pt x="1051" y="314"/>
                  <a:pt x="1049" y="316"/>
                </a:cubicBezTo>
                <a:cubicBezTo>
                  <a:pt x="1034" y="339"/>
                  <a:pt x="1009" y="354"/>
                  <a:pt x="981" y="354"/>
                </a:cubicBezTo>
                <a:cubicBezTo>
                  <a:pt x="936" y="354"/>
                  <a:pt x="900" y="316"/>
                  <a:pt x="896" y="268"/>
                </a:cubicBezTo>
                <a:cubicBezTo>
                  <a:pt x="1066" y="268"/>
                  <a:pt x="1066" y="268"/>
                  <a:pt x="1066" y="268"/>
                </a:cubicBezTo>
                <a:cubicBezTo>
                  <a:pt x="1066" y="268"/>
                  <a:pt x="1066" y="268"/>
                  <a:pt x="1066" y="268"/>
                </a:cubicBezTo>
                <a:lnTo>
                  <a:pt x="1106" y="268"/>
                </a:lnTo>
                <a:close/>
                <a:moveTo>
                  <a:pt x="1692" y="232"/>
                </a:moveTo>
                <a:cubicBezTo>
                  <a:pt x="1692" y="126"/>
                  <a:pt x="1692" y="126"/>
                  <a:pt x="1692" y="126"/>
                </a:cubicBezTo>
                <a:cubicBezTo>
                  <a:pt x="1692" y="123"/>
                  <a:pt x="1690" y="121"/>
                  <a:pt x="1686" y="121"/>
                </a:cubicBezTo>
                <a:cubicBezTo>
                  <a:pt x="1651" y="121"/>
                  <a:pt x="1651" y="121"/>
                  <a:pt x="1651" y="121"/>
                </a:cubicBezTo>
                <a:cubicBezTo>
                  <a:pt x="1648" y="121"/>
                  <a:pt x="1646" y="123"/>
                  <a:pt x="1646" y="126"/>
                </a:cubicBezTo>
                <a:cubicBezTo>
                  <a:pt x="1646" y="149"/>
                  <a:pt x="1646" y="149"/>
                  <a:pt x="1646" y="149"/>
                </a:cubicBezTo>
                <a:cubicBezTo>
                  <a:pt x="1628" y="133"/>
                  <a:pt x="1607" y="121"/>
                  <a:pt x="1583" y="116"/>
                </a:cubicBezTo>
                <a:cubicBezTo>
                  <a:pt x="1580" y="115"/>
                  <a:pt x="1578" y="117"/>
                  <a:pt x="1578" y="120"/>
                </a:cubicBezTo>
                <a:cubicBezTo>
                  <a:pt x="1578" y="161"/>
                  <a:pt x="1578" y="161"/>
                  <a:pt x="1578" y="161"/>
                </a:cubicBezTo>
                <a:cubicBezTo>
                  <a:pt x="1578" y="163"/>
                  <a:pt x="1579" y="165"/>
                  <a:pt x="1581" y="165"/>
                </a:cubicBezTo>
                <a:cubicBezTo>
                  <a:pt x="1619" y="176"/>
                  <a:pt x="1648" y="213"/>
                  <a:pt x="1648" y="258"/>
                </a:cubicBezTo>
                <a:cubicBezTo>
                  <a:pt x="1648" y="311"/>
                  <a:pt x="1608" y="354"/>
                  <a:pt x="1558" y="354"/>
                </a:cubicBezTo>
                <a:cubicBezTo>
                  <a:pt x="1509" y="354"/>
                  <a:pt x="1469" y="311"/>
                  <a:pt x="1469" y="258"/>
                </a:cubicBezTo>
                <a:cubicBezTo>
                  <a:pt x="1469" y="214"/>
                  <a:pt x="1496" y="178"/>
                  <a:pt x="1533" y="166"/>
                </a:cubicBezTo>
                <a:cubicBezTo>
                  <a:pt x="1535" y="165"/>
                  <a:pt x="1536" y="164"/>
                  <a:pt x="1536" y="162"/>
                </a:cubicBezTo>
                <a:cubicBezTo>
                  <a:pt x="1536" y="120"/>
                  <a:pt x="1536" y="120"/>
                  <a:pt x="1536" y="120"/>
                </a:cubicBezTo>
                <a:cubicBezTo>
                  <a:pt x="1536" y="117"/>
                  <a:pt x="1534" y="115"/>
                  <a:pt x="1531" y="116"/>
                </a:cubicBezTo>
                <a:cubicBezTo>
                  <a:pt x="1469" y="128"/>
                  <a:pt x="1422" y="187"/>
                  <a:pt x="1422" y="257"/>
                </a:cubicBezTo>
                <a:cubicBezTo>
                  <a:pt x="1422" y="336"/>
                  <a:pt x="1482" y="400"/>
                  <a:pt x="1557" y="400"/>
                </a:cubicBezTo>
                <a:cubicBezTo>
                  <a:pt x="1591" y="400"/>
                  <a:pt x="1622" y="386"/>
                  <a:pt x="1646" y="364"/>
                </a:cubicBezTo>
                <a:cubicBezTo>
                  <a:pt x="1646" y="390"/>
                  <a:pt x="1646" y="390"/>
                  <a:pt x="1646" y="390"/>
                </a:cubicBezTo>
                <a:cubicBezTo>
                  <a:pt x="1646" y="393"/>
                  <a:pt x="1648" y="395"/>
                  <a:pt x="1651" y="395"/>
                </a:cubicBezTo>
                <a:cubicBezTo>
                  <a:pt x="1686" y="395"/>
                  <a:pt x="1686" y="395"/>
                  <a:pt x="1686" y="395"/>
                </a:cubicBezTo>
                <a:cubicBezTo>
                  <a:pt x="1690" y="395"/>
                  <a:pt x="1692" y="393"/>
                  <a:pt x="1692" y="390"/>
                </a:cubicBezTo>
                <a:cubicBezTo>
                  <a:pt x="1692" y="250"/>
                  <a:pt x="1692" y="250"/>
                  <a:pt x="1692" y="250"/>
                </a:cubicBezTo>
                <a:cubicBezTo>
                  <a:pt x="1692" y="247"/>
                  <a:pt x="1692" y="245"/>
                  <a:pt x="1692" y="242"/>
                </a:cubicBezTo>
                <a:cubicBezTo>
                  <a:pt x="1692" y="239"/>
                  <a:pt x="1692" y="235"/>
                  <a:pt x="1692" y="232"/>
                </a:cubicBezTo>
              </a:path>
            </a:pathLst>
          </a:custGeom>
          <a:solidFill>
            <a:srgbClr val="FF37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730125047"/>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Agenda Slid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10880" y="1521184"/>
            <a:ext cx="6178854" cy="3817442"/>
          </a:xfrm>
        </p:spPr>
        <p:txBody>
          <a:bodyPr anchor="ctr"/>
          <a:lstStyle>
            <a:lvl1pPr marL="0" indent="0">
              <a:buNone/>
              <a:defRPr sz="3000" b="0">
                <a:solidFill>
                  <a:schemeClr val="tx2"/>
                </a:solidFill>
                <a:latin typeface="+mj-lt"/>
              </a:defRPr>
            </a:lvl1pPr>
            <a:lvl2pPr marL="521258" indent="0">
              <a:buNone/>
              <a:defRPr sz="2280">
                <a:solidFill>
                  <a:schemeClr val="tx1">
                    <a:tint val="75000"/>
                  </a:schemeClr>
                </a:solidFill>
              </a:defRPr>
            </a:lvl2pPr>
            <a:lvl3pPr marL="1042512" indent="0">
              <a:buNone/>
              <a:defRPr sz="2052">
                <a:solidFill>
                  <a:schemeClr val="tx1">
                    <a:tint val="75000"/>
                  </a:schemeClr>
                </a:solidFill>
              </a:defRPr>
            </a:lvl3pPr>
            <a:lvl4pPr marL="1563773" indent="0">
              <a:buNone/>
              <a:defRPr sz="1824">
                <a:solidFill>
                  <a:schemeClr val="tx1">
                    <a:tint val="75000"/>
                  </a:schemeClr>
                </a:solidFill>
              </a:defRPr>
            </a:lvl4pPr>
            <a:lvl5pPr marL="2085031" indent="0">
              <a:buNone/>
              <a:defRPr sz="1824">
                <a:solidFill>
                  <a:schemeClr val="tx1">
                    <a:tint val="75000"/>
                  </a:schemeClr>
                </a:solidFill>
              </a:defRPr>
            </a:lvl5pPr>
            <a:lvl6pPr marL="2606285" indent="0">
              <a:buNone/>
              <a:defRPr sz="1824">
                <a:solidFill>
                  <a:schemeClr val="tx1">
                    <a:tint val="75000"/>
                  </a:schemeClr>
                </a:solidFill>
              </a:defRPr>
            </a:lvl6pPr>
            <a:lvl7pPr marL="3127543" indent="0">
              <a:buNone/>
              <a:defRPr sz="1824">
                <a:solidFill>
                  <a:schemeClr val="tx1">
                    <a:tint val="75000"/>
                  </a:schemeClr>
                </a:solidFill>
              </a:defRPr>
            </a:lvl7pPr>
            <a:lvl8pPr marL="3648803" indent="0">
              <a:buNone/>
              <a:defRPr sz="1824">
                <a:solidFill>
                  <a:schemeClr val="tx1">
                    <a:tint val="75000"/>
                  </a:schemeClr>
                </a:solidFill>
              </a:defRPr>
            </a:lvl8pPr>
            <a:lvl9pPr marL="4170060" indent="0">
              <a:buNone/>
              <a:defRPr sz="1824">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p:txBody>
          <a:bodyPr/>
          <a:lstStyle/>
          <a:p>
            <a:r>
              <a:rPr lang="en-GB"/>
              <a:t>Document Name</a:t>
            </a:r>
            <a:endParaRPr lang="en-US" dirty="0"/>
          </a:p>
        </p:txBody>
      </p:sp>
      <p:sp>
        <p:nvSpPr>
          <p:cNvPr id="6" name="Slide Number Placeholder 5"/>
          <p:cNvSpPr>
            <a:spLocks noGrp="1"/>
          </p:cNvSpPr>
          <p:nvPr>
            <p:ph type="sldNum" sz="quarter" idx="12"/>
          </p:nvPr>
        </p:nvSpPr>
        <p:spPr/>
        <p:txBody>
          <a:bodyPr/>
          <a:lstStyle/>
          <a:p>
            <a:fld id="{32B354EE-31EA-4FC2-9496-7B6202183237}" type="slidenum">
              <a:rPr lang="en-US" smtClean="0"/>
              <a:t>‹#›</a:t>
            </a:fld>
            <a:endParaRPr lang="en-US" dirty="0"/>
          </a:p>
        </p:txBody>
      </p:sp>
      <p:sp>
        <p:nvSpPr>
          <p:cNvPr id="19" name="Title 18">
            <a:extLst>
              <a:ext uri="{FF2B5EF4-FFF2-40B4-BE49-F238E27FC236}">
                <a16:creationId xmlns:a16="http://schemas.microsoft.com/office/drawing/2014/main" id="{B47DF7D0-E13C-497A-8A71-C5A8B4D7F67C}"/>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82614209"/>
      </p:ext>
    </p:extLst>
  </p:cSld>
  <p:clrMapOvr>
    <a:masterClrMapping/>
  </p:clrMapOvr>
  <p:transition>
    <p:fade/>
  </p:transition>
  <p:extLst>
    <p:ext uri="{DCECCB84-F9BA-43D5-87BE-67443E8EF086}">
      <p15:sldGuideLst xmlns:p15="http://schemas.microsoft.com/office/powerpoint/2012/main">
        <p15:guide id="1" pos="415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Section Header">
    <p:bg>
      <p:bgPr>
        <a:solidFill>
          <a:schemeClr val="tx2"/>
        </a:solid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lvl1pPr>
              <a:defRPr>
                <a:solidFill>
                  <a:schemeClr val="bg1"/>
                </a:solidFill>
              </a:defRPr>
            </a:lvl1pPr>
          </a:lstStyle>
          <a:p>
            <a:r>
              <a:rPr lang="en-GB"/>
              <a:t>Document Name</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32B354EE-31EA-4FC2-9496-7B6202183237}" type="slidenum">
              <a:rPr lang="en-US" smtClean="0"/>
              <a:pPr/>
              <a:t>‹#›</a:t>
            </a:fld>
            <a:endParaRPr lang="en-US" dirty="0"/>
          </a:p>
        </p:txBody>
      </p:sp>
      <p:sp>
        <p:nvSpPr>
          <p:cNvPr id="7" name="Title 6">
            <a:extLst>
              <a:ext uri="{FF2B5EF4-FFF2-40B4-BE49-F238E27FC236}">
                <a16:creationId xmlns:a16="http://schemas.microsoft.com/office/drawing/2014/main" id="{EE9D7C87-D037-4797-9A6A-B999C6F026D8}"/>
              </a:ext>
            </a:extLst>
          </p:cNvPr>
          <p:cNvSpPr>
            <a:spLocks noGrp="1"/>
          </p:cNvSpPr>
          <p:nvPr>
            <p:ph type="title"/>
          </p:nvPr>
        </p:nvSpPr>
        <p:spPr>
          <a:xfrm>
            <a:off x="410879" y="1521185"/>
            <a:ext cx="11368018" cy="3815631"/>
          </a:xfrm>
        </p:spPr>
        <p:txBody>
          <a:bodyPr anchor="ctr"/>
          <a:lstStyle>
            <a:lvl1pPr algn="ctr">
              <a:defRPr sz="60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475472243"/>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Section Header Light Grey">
    <p:bg>
      <p:bgPr>
        <a:solidFill>
          <a:schemeClr val="accent2"/>
        </a:solid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lvl1pPr>
              <a:defRPr>
                <a:solidFill>
                  <a:schemeClr val="tx2"/>
                </a:solidFill>
              </a:defRPr>
            </a:lvl1pPr>
          </a:lstStyle>
          <a:p>
            <a:r>
              <a:rPr lang="en-GB"/>
              <a:t>Document Name</a:t>
            </a:r>
            <a:endParaRPr lang="en-US" dirty="0"/>
          </a:p>
        </p:txBody>
      </p:sp>
      <p:sp>
        <p:nvSpPr>
          <p:cNvPr id="6" name="Slide Number Placeholder 5"/>
          <p:cNvSpPr>
            <a:spLocks noGrp="1"/>
          </p:cNvSpPr>
          <p:nvPr>
            <p:ph type="sldNum" sz="quarter" idx="12"/>
          </p:nvPr>
        </p:nvSpPr>
        <p:spPr/>
        <p:txBody>
          <a:bodyPr/>
          <a:lstStyle>
            <a:lvl1pPr>
              <a:defRPr>
                <a:solidFill>
                  <a:schemeClr val="tx2"/>
                </a:solidFill>
              </a:defRPr>
            </a:lvl1pPr>
          </a:lstStyle>
          <a:p>
            <a:fld id="{32B354EE-31EA-4FC2-9496-7B6202183237}" type="slidenum">
              <a:rPr lang="en-US" smtClean="0"/>
              <a:pPr/>
              <a:t>‹#›</a:t>
            </a:fld>
            <a:endParaRPr lang="en-US" dirty="0"/>
          </a:p>
        </p:txBody>
      </p:sp>
      <p:sp>
        <p:nvSpPr>
          <p:cNvPr id="7" name="Title 6">
            <a:extLst>
              <a:ext uri="{FF2B5EF4-FFF2-40B4-BE49-F238E27FC236}">
                <a16:creationId xmlns:a16="http://schemas.microsoft.com/office/drawing/2014/main" id="{EE9D7C87-D037-4797-9A6A-B999C6F026D8}"/>
              </a:ext>
            </a:extLst>
          </p:cNvPr>
          <p:cNvSpPr>
            <a:spLocks noGrp="1"/>
          </p:cNvSpPr>
          <p:nvPr>
            <p:ph type="title"/>
          </p:nvPr>
        </p:nvSpPr>
        <p:spPr>
          <a:xfrm>
            <a:off x="410879" y="1521185"/>
            <a:ext cx="11368018" cy="3815631"/>
          </a:xfrm>
        </p:spPr>
        <p:txBody>
          <a:bodyPr anchor="ctr"/>
          <a:lstStyle>
            <a:lvl1pPr algn="ctr">
              <a:defRPr sz="6000">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159092868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Section Header Image">
    <p:bg>
      <p:bgPr>
        <a:solidFill>
          <a:schemeClr val="bg1">
            <a:lumMod val="85000"/>
          </a:schemeClr>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13105" y="1521184"/>
            <a:ext cx="6176627" cy="3817442"/>
          </a:xfrm>
        </p:spPr>
        <p:txBody>
          <a:bodyPr anchor="ctr"/>
          <a:lstStyle>
            <a:lvl1pPr marL="0" indent="0">
              <a:buNone/>
              <a:defRPr sz="4000" b="0">
                <a:solidFill>
                  <a:schemeClr val="bg1"/>
                </a:solidFill>
                <a:latin typeface="+mj-lt"/>
              </a:defRPr>
            </a:lvl1pPr>
            <a:lvl2pPr marL="521258" indent="0">
              <a:buNone/>
              <a:defRPr sz="2280">
                <a:solidFill>
                  <a:schemeClr val="tx1">
                    <a:tint val="75000"/>
                  </a:schemeClr>
                </a:solidFill>
              </a:defRPr>
            </a:lvl2pPr>
            <a:lvl3pPr marL="1042512" indent="0">
              <a:buNone/>
              <a:defRPr sz="2052">
                <a:solidFill>
                  <a:schemeClr val="tx1">
                    <a:tint val="75000"/>
                  </a:schemeClr>
                </a:solidFill>
              </a:defRPr>
            </a:lvl3pPr>
            <a:lvl4pPr marL="1563773" indent="0">
              <a:buNone/>
              <a:defRPr sz="1824">
                <a:solidFill>
                  <a:schemeClr val="tx1">
                    <a:tint val="75000"/>
                  </a:schemeClr>
                </a:solidFill>
              </a:defRPr>
            </a:lvl4pPr>
            <a:lvl5pPr marL="2085031" indent="0">
              <a:buNone/>
              <a:defRPr sz="1824">
                <a:solidFill>
                  <a:schemeClr val="tx1">
                    <a:tint val="75000"/>
                  </a:schemeClr>
                </a:solidFill>
              </a:defRPr>
            </a:lvl5pPr>
            <a:lvl6pPr marL="2606285" indent="0">
              <a:buNone/>
              <a:defRPr sz="1824">
                <a:solidFill>
                  <a:schemeClr val="tx1">
                    <a:tint val="75000"/>
                  </a:schemeClr>
                </a:solidFill>
              </a:defRPr>
            </a:lvl6pPr>
            <a:lvl7pPr marL="3127543" indent="0">
              <a:buNone/>
              <a:defRPr sz="1824">
                <a:solidFill>
                  <a:schemeClr val="tx1">
                    <a:tint val="75000"/>
                  </a:schemeClr>
                </a:solidFill>
              </a:defRPr>
            </a:lvl7pPr>
            <a:lvl8pPr marL="3648803" indent="0">
              <a:buNone/>
              <a:defRPr sz="1824">
                <a:solidFill>
                  <a:schemeClr val="tx1">
                    <a:tint val="75000"/>
                  </a:schemeClr>
                </a:solidFill>
              </a:defRPr>
            </a:lvl8pPr>
            <a:lvl9pPr marL="4170060" indent="0">
              <a:buNone/>
              <a:defRPr sz="1824">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a:t>Document Name</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32B354EE-31EA-4FC2-9496-7B6202183237}" type="slidenum">
              <a:rPr lang="en-US" smtClean="0"/>
              <a:pPr/>
              <a:t>‹#›</a:t>
            </a:fld>
            <a:endParaRPr lang="en-US" dirty="0"/>
          </a:p>
        </p:txBody>
      </p:sp>
      <p:sp>
        <p:nvSpPr>
          <p:cNvPr id="19" name="Title 18">
            <a:extLst>
              <a:ext uri="{FF2B5EF4-FFF2-40B4-BE49-F238E27FC236}">
                <a16:creationId xmlns:a16="http://schemas.microsoft.com/office/drawing/2014/main" id="{B47DF7D0-E13C-497A-8A71-C5A8B4D7F67C}"/>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81668958"/>
      </p:ext>
    </p:extLst>
  </p:cSld>
  <p:clrMapOvr>
    <a:masterClrMapping/>
  </p:clrMapOvr>
  <p:transition>
    <p:fade/>
  </p:transition>
  <p:extLst>
    <p:ext uri="{DCECCB84-F9BA-43D5-87BE-67443E8EF086}">
      <p15:sldGuideLst xmlns:p15="http://schemas.microsoft.com/office/powerpoint/2012/main">
        <p15:guide id="1" pos="415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GB"/>
              <a:t>Document Name</a:t>
            </a:r>
            <a:endParaRPr lang="en-US" dirty="0"/>
          </a:p>
        </p:txBody>
      </p:sp>
      <p:sp>
        <p:nvSpPr>
          <p:cNvPr id="6" name="Slide Number Placeholder 5"/>
          <p:cNvSpPr>
            <a:spLocks noGrp="1"/>
          </p:cNvSpPr>
          <p:nvPr>
            <p:ph type="sldNum" sz="quarter" idx="12"/>
          </p:nvPr>
        </p:nvSpPr>
        <p:spPr/>
        <p:txBody>
          <a:bodyPr/>
          <a:lstStyle/>
          <a:p>
            <a:fld id="{32B354EE-31EA-4FC2-9496-7B6202183237}" type="slidenum">
              <a:rPr lang="en-US" smtClean="0"/>
              <a:t>‹#›</a:t>
            </a:fld>
            <a:endParaRPr lang="en-US" dirty="0"/>
          </a:p>
        </p:txBody>
      </p:sp>
      <p:sp>
        <p:nvSpPr>
          <p:cNvPr id="9" name="Content Placeholder 8">
            <a:extLst>
              <a:ext uri="{FF2B5EF4-FFF2-40B4-BE49-F238E27FC236}">
                <a16:creationId xmlns:a16="http://schemas.microsoft.com/office/drawing/2014/main" id="{AD5FF552-6074-447D-AD5E-8C1C43CCBFB0}"/>
              </a:ext>
            </a:extLst>
          </p:cNvPr>
          <p:cNvSpPr>
            <a:spLocks noGrp="1"/>
          </p:cNvSpPr>
          <p:nvPr>
            <p:ph sz="quarter" idx="13"/>
          </p:nvPr>
        </p:nvSpPr>
        <p:spPr>
          <a:xfrm>
            <a:off x="412920" y="1521184"/>
            <a:ext cx="6762580" cy="4494733"/>
          </a:xfrm>
        </p:spPr>
        <p:txBody>
          <a:bodyPr/>
          <a:lstStyle>
            <a:lvl1pPr>
              <a:defRPr sz="2400"/>
            </a:lvl1pPr>
            <a:lvl2pPr>
              <a:defRPr sz="2400"/>
            </a:lvl2pPr>
            <a:lvl3pPr>
              <a:defRPr sz="2400"/>
            </a:lvl3pPr>
            <a:lvl4pPr>
              <a:defRPr sz="2200"/>
            </a:lvl4pPr>
            <a:lvl5pP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itle 9">
            <a:extLst>
              <a:ext uri="{FF2B5EF4-FFF2-40B4-BE49-F238E27FC236}">
                <a16:creationId xmlns:a16="http://schemas.microsoft.com/office/drawing/2014/main" id="{977F6106-20AC-4F4E-811D-6D4EBFC2BE1B}"/>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393803037"/>
      </p:ext>
    </p:extLst>
  </p:cSld>
  <p:clrMapOvr>
    <a:masterClrMapping/>
  </p:clrMapOvr>
  <p:transition>
    <p:fade/>
  </p:transition>
  <p:extLst>
    <p:ext uri="{DCECCB84-F9BA-43D5-87BE-67443E8EF086}">
      <p15:sldGuideLst xmlns:p15="http://schemas.microsoft.com/office/powerpoint/2012/main">
        <p15:guide id="1" pos="452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itle and Content Dark">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10881" y="411083"/>
            <a:ext cx="11368018" cy="776038"/>
          </a:xfrm>
        </p:spPr>
        <p:txBody>
          <a:bodyPr/>
          <a:lstStyle>
            <a:lvl1pPr>
              <a:defRPr>
                <a:solidFill>
                  <a:schemeClr val="bg1"/>
                </a:solidFill>
              </a:defRPr>
            </a:lvl1pPr>
          </a:lstStyle>
          <a:p>
            <a:r>
              <a:rPr lang="en-US"/>
              <a:t>Click to edit Master title style</a:t>
            </a:r>
            <a:endParaRPr lang="en-US"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a:t>Document Name</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32B354EE-31EA-4FC2-9496-7B6202183237}" type="slidenum">
              <a:rPr lang="en-US" smtClean="0"/>
              <a:pPr/>
              <a:t>‹#›</a:t>
            </a:fld>
            <a:endParaRPr lang="en-US" dirty="0"/>
          </a:p>
        </p:txBody>
      </p:sp>
      <p:sp>
        <p:nvSpPr>
          <p:cNvPr id="7" name="Content Placeholder 8">
            <a:extLst>
              <a:ext uri="{FF2B5EF4-FFF2-40B4-BE49-F238E27FC236}">
                <a16:creationId xmlns:a16="http://schemas.microsoft.com/office/drawing/2014/main" id="{8E40116B-71CA-472D-8400-6F4605D9D057}"/>
              </a:ext>
            </a:extLst>
          </p:cNvPr>
          <p:cNvSpPr>
            <a:spLocks noGrp="1"/>
          </p:cNvSpPr>
          <p:nvPr>
            <p:ph sz="quarter" idx="13"/>
          </p:nvPr>
        </p:nvSpPr>
        <p:spPr>
          <a:xfrm>
            <a:off x="412920" y="1521184"/>
            <a:ext cx="6762580" cy="4494733"/>
          </a:xfrm>
        </p:spPr>
        <p:txBody>
          <a:bodyPr/>
          <a:lstStyle>
            <a:lvl1pPr>
              <a:defRPr sz="2400">
                <a:solidFill>
                  <a:schemeClr val="bg1"/>
                </a:solidFill>
              </a:defRPr>
            </a:lvl1pPr>
            <a:lvl2pPr>
              <a:defRPr sz="2400">
                <a:solidFill>
                  <a:schemeClr val="bg1"/>
                </a:solidFill>
              </a:defRPr>
            </a:lvl2pPr>
            <a:lvl3pPr>
              <a:defRPr sz="2400">
                <a:solidFill>
                  <a:schemeClr val="accent3"/>
                </a:solidFill>
              </a:defRPr>
            </a:lvl3pPr>
            <a:lvl4pPr>
              <a:buClr>
                <a:schemeClr val="accent3"/>
              </a:buClr>
              <a:defRPr sz="2200">
                <a:solidFill>
                  <a:schemeClr val="bg1"/>
                </a:solidFill>
              </a:defRPr>
            </a:lvl4pPr>
            <a:lvl5pPr>
              <a:buClr>
                <a:schemeClr val="accent3"/>
              </a:buClr>
              <a:defRPr sz="2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962455551"/>
      </p:ext>
    </p:extLst>
  </p:cSld>
  <p:clrMapOvr>
    <a:masterClrMapping/>
  </p:clrMapOvr>
  <p:transition>
    <p:fade/>
  </p:transition>
  <p:extLst>
    <p:ext uri="{DCECCB84-F9BA-43D5-87BE-67443E8EF086}">
      <p15:sldGuideLst xmlns:p15="http://schemas.microsoft.com/office/powerpoint/2012/main">
        <p15:guide id="1" pos="452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10878" y="1521184"/>
            <a:ext cx="5292112" cy="44947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486790" y="1521184"/>
            <a:ext cx="5292112" cy="44947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p>
            <a:r>
              <a:rPr lang="en-GB"/>
              <a:t>Document Name</a:t>
            </a:r>
            <a:endParaRPr lang="en-US" dirty="0"/>
          </a:p>
        </p:txBody>
      </p:sp>
      <p:sp>
        <p:nvSpPr>
          <p:cNvPr id="7" name="Slide Number Placeholder 6"/>
          <p:cNvSpPr>
            <a:spLocks noGrp="1"/>
          </p:cNvSpPr>
          <p:nvPr>
            <p:ph type="sldNum" sz="quarter" idx="12"/>
          </p:nvPr>
        </p:nvSpPr>
        <p:spPr/>
        <p:txBody>
          <a:bodyPr/>
          <a:lstStyle/>
          <a:p>
            <a:fld id="{32B354EE-31EA-4FC2-9496-7B6202183237}" type="slidenum">
              <a:rPr lang="en-US" smtClean="0"/>
              <a:t>‹#›</a:t>
            </a:fld>
            <a:endParaRPr lang="en-US" dirty="0"/>
          </a:p>
        </p:txBody>
      </p:sp>
      <p:sp>
        <p:nvSpPr>
          <p:cNvPr id="8" name="Title 7">
            <a:extLst>
              <a:ext uri="{FF2B5EF4-FFF2-40B4-BE49-F238E27FC236}">
                <a16:creationId xmlns:a16="http://schemas.microsoft.com/office/drawing/2014/main" id="{2BEC790B-BB37-46AF-9CC2-582F081B6401}"/>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2838301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ext and 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623EE699-16B4-4E6C-852E-7A2C3D133E42}"/>
              </a:ext>
            </a:extLst>
          </p:cNvPr>
          <p:cNvSpPr>
            <a:spLocks noGrp="1"/>
          </p:cNvSpPr>
          <p:nvPr>
            <p:ph type="pic" sz="quarter" idx="13"/>
          </p:nvPr>
        </p:nvSpPr>
        <p:spPr>
          <a:xfrm>
            <a:off x="6096906" y="4"/>
            <a:ext cx="6095094" cy="6858000"/>
          </a:xfrm>
          <a:solidFill>
            <a:schemeClr val="bg1">
              <a:lumMod val="85000"/>
            </a:schemeClr>
          </a:solidFill>
        </p:spPr>
        <p:txBody>
          <a:bodyPr/>
          <a:lstStyle/>
          <a:p>
            <a:r>
              <a:rPr lang="en-US"/>
              <a:t>Click icon to add picture</a:t>
            </a:r>
            <a:endParaRPr lang="en-GB"/>
          </a:p>
        </p:txBody>
      </p:sp>
      <p:sp>
        <p:nvSpPr>
          <p:cNvPr id="2" name="Title 1"/>
          <p:cNvSpPr>
            <a:spLocks noGrp="1"/>
          </p:cNvSpPr>
          <p:nvPr>
            <p:ph type="title"/>
          </p:nvPr>
        </p:nvSpPr>
        <p:spPr>
          <a:xfrm>
            <a:off x="410878" y="411083"/>
            <a:ext cx="5292112" cy="776038"/>
          </a:xfrm>
        </p:spPr>
        <p:txBody>
          <a:bodyPr/>
          <a:lstStyle/>
          <a:p>
            <a:r>
              <a:rPr lang="en-US"/>
              <a:t>Click to edit Master title style</a:t>
            </a:r>
          </a:p>
        </p:txBody>
      </p:sp>
      <p:sp>
        <p:nvSpPr>
          <p:cNvPr id="3" name="Content Placeholder 2"/>
          <p:cNvSpPr>
            <a:spLocks noGrp="1"/>
          </p:cNvSpPr>
          <p:nvPr>
            <p:ph sz="half" idx="1"/>
          </p:nvPr>
        </p:nvSpPr>
        <p:spPr>
          <a:xfrm>
            <a:off x="410878" y="1521184"/>
            <a:ext cx="5292112" cy="44947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endParaRPr lang="en-BE"/>
          </a:p>
        </p:txBody>
      </p:sp>
      <p:sp>
        <p:nvSpPr>
          <p:cNvPr id="7" name="Slide Number Placeholder 6"/>
          <p:cNvSpPr>
            <a:spLocks noGrp="1"/>
          </p:cNvSpPr>
          <p:nvPr>
            <p:ph type="sldNum" sz="quarter" idx="12"/>
          </p:nvPr>
        </p:nvSpPr>
        <p:spPr/>
        <p:txBody>
          <a:bodyPr/>
          <a:lstStyle/>
          <a:p>
            <a:fld id="{9F5F79E4-174E-4D15-B5B9-2923F86E0116}" type="slidenum">
              <a:rPr lang="en-BE" smtClean="0"/>
              <a:t>‹#›</a:t>
            </a:fld>
            <a:endParaRPr lang="en-BE"/>
          </a:p>
        </p:txBody>
      </p:sp>
    </p:spTree>
    <p:extLst>
      <p:ext uri="{BB962C8B-B14F-4D97-AF65-F5344CB8AC3E}">
        <p14:creationId xmlns:p14="http://schemas.microsoft.com/office/powerpoint/2010/main" val="4169620903"/>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ext and 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623EE699-16B4-4E6C-852E-7A2C3D133E42}"/>
              </a:ext>
            </a:extLst>
          </p:cNvPr>
          <p:cNvSpPr>
            <a:spLocks noGrp="1"/>
          </p:cNvSpPr>
          <p:nvPr>
            <p:ph type="pic" sz="quarter" idx="13"/>
          </p:nvPr>
        </p:nvSpPr>
        <p:spPr>
          <a:xfrm>
            <a:off x="6096906" y="4"/>
            <a:ext cx="6095094" cy="6858000"/>
          </a:xfrm>
          <a:solidFill>
            <a:schemeClr val="bg1">
              <a:lumMod val="85000"/>
            </a:schemeClr>
          </a:solidFill>
        </p:spPr>
        <p:txBody>
          <a:bodyPr/>
          <a:lstStyle/>
          <a:p>
            <a:r>
              <a:rPr lang="en-US"/>
              <a:t>Click icon to add picture</a:t>
            </a:r>
            <a:endParaRPr lang="en-GB"/>
          </a:p>
        </p:txBody>
      </p:sp>
      <p:sp>
        <p:nvSpPr>
          <p:cNvPr id="2" name="Title 1"/>
          <p:cNvSpPr>
            <a:spLocks noGrp="1"/>
          </p:cNvSpPr>
          <p:nvPr>
            <p:ph type="title"/>
          </p:nvPr>
        </p:nvSpPr>
        <p:spPr>
          <a:xfrm>
            <a:off x="410878" y="411083"/>
            <a:ext cx="5292112" cy="776038"/>
          </a:xfrm>
        </p:spPr>
        <p:txBody>
          <a:bodyPr/>
          <a:lstStyle/>
          <a:p>
            <a:r>
              <a:rPr lang="en-US"/>
              <a:t>Click to edit Master title style</a:t>
            </a:r>
            <a:endParaRPr lang="en-US" dirty="0"/>
          </a:p>
        </p:txBody>
      </p:sp>
      <p:sp>
        <p:nvSpPr>
          <p:cNvPr id="3" name="Content Placeholder 2"/>
          <p:cNvSpPr>
            <a:spLocks noGrp="1"/>
          </p:cNvSpPr>
          <p:nvPr>
            <p:ph sz="half" idx="1"/>
          </p:nvPr>
        </p:nvSpPr>
        <p:spPr>
          <a:xfrm>
            <a:off x="410878" y="1521184"/>
            <a:ext cx="5292112" cy="44947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p>
            <a:r>
              <a:rPr lang="en-GB"/>
              <a:t>Document Name</a:t>
            </a:r>
            <a:endParaRPr lang="en-US" dirty="0"/>
          </a:p>
        </p:txBody>
      </p:sp>
      <p:sp>
        <p:nvSpPr>
          <p:cNvPr id="7" name="Slide Number Placeholder 6"/>
          <p:cNvSpPr>
            <a:spLocks noGrp="1"/>
          </p:cNvSpPr>
          <p:nvPr>
            <p:ph type="sldNum" sz="quarter" idx="12"/>
          </p:nvPr>
        </p:nvSpPr>
        <p:spPr/>
        <p:txBody>
          <a:bodyPr/>
          <a:lstStyle/>
          <a:p>
            <a:fld id="{32B354EE-31EA-4FC2-9496-7B6202183237}" type="slidenum">
              <a:rPr lang="en-US" smtClean="0"/>
              <a:t>‹#›</a:t>
            </a:fld>
            <a:endParaRPr lang="en-US" dirty="0"/>
          </a:p>
        </p:txBody>
      </p:sp>
    </p:spTree>
    <p:extLst>
      <p:ext uri="{BB962C8B-B14F-4D97-AF65-F5344CB8AC3E}">
        <p14:creationId xmlns:p14="http://schemas.microsoft.com/office/powerpoint/2010/main" val="2781656431"/>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ext and Image Lef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623EE699-16B4-4E6C-852E-7A2C3D133E42}"/>
              </a:ext>
            </a:extLst>
          </p:cNvPr>
          <p:cNvSpPr>
            <a:spLocks noGrp="1"/>
          </p:cNvSpPr>
          <p:nvPr>
            <p:ph type="pic" sz="quarter" idx="13"/>
          </p:nvPr>
        </p:nvSpPr>
        <p:spPr>
          <a:xfrm>
            <a:off x="3" y="-1"/>
            <a:ext cx="6095094" cy="6858000"/>
          </a:xfrm>
          <a:solidFill>
            <a:schemeClr val="bg1">
              <a:lumMod val="85000"/>
            </a:schemeClr>
          </a:solidFill>
        </p:spPr>
        <p:txBody>
          <a:bodyPr/>
          <a:lstStyle/>
          <a:p>
            <a:r>
              <a:rPr lang="en-US"/>
              <a:t>Click icon to add picture</a:t>
            </a:r>
            <a:endParaRPr lang="en-GB"/>
          </a:p>
        </p:txBody>
      </p:sp>
      <p:sp>
        <p:nvSpPr>
          <p:cNvPr id="2" name="Title 1"/>
          <p:cNvSpPr>
            <a:spLocks noGrp="1"/>
          </p:cNvSpPr>
          <p:nvPr>
            <p:ph type="title"/>
          </p:nvPr>
        </p:nvSpPr>
        <p:spPr>
          <a:xfrm>
            <a:off x="6487200" y="411083"/>
            <a:ext cx="5292000" cy="776038"/>
          </a:xfrm>
        </p:spPr>
        <p:txBody>
          <a:bodyPr/>
          <a:lstStyle/>
          <a:p>
            <a:r>
              <a:rPr lang="en-US"/>
              <a:t>Click to edit Master title style</a:t>
            </a:r>
            <a:endParaRPr lang="en-US" dirty="0"/>
          </a:p>
        </p:txBody>
      </p:sp>
      <p:sp>
        <p:nvSpPr>
          <p:cNvPr id="3" name="Content Placeholder 2"/>
          <p:cNvSpPr>
            <a:spLocks noGrp="1"/>
          </p:cNvSpPr>
          <p:nvPr>
            <p:ph sz="half" idx="1"/>
          </p:nvPr>
        </p:nvSpPr>
        <p:spPr>
          <a:xfrm>
            <a:off x="6487200" y="1521184"/>
            <a:ext cx="5292000" cy="44947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p>
            <a:r>
              <a:rPr lang="en-GB"/>
              <a:t>Document Name</a:t>
            </a:r>
            <a:endParaRPr lang="en-US" dirty="0"/>
          </a:p>
        </p:txBody>
      </p:sp>
      <p:sp>
        <p:nvSpPr>
          <p:cNvPr id="7" name="Slide Number Placeholder 6"/>
          <p:cNvSpPr>
            <a:spLocks noGrp="1"/>
          </p:cNvSpPr>
          <p:nvPr>
            <p:ph type="sldNum" sz="quarter" idx="12"/>
          </p:nvPr>
        </p:nvSpPr>
        <p:spPr/>
        <p:txBody>
          <a:bodyPr/>
          <a:lstStyle/>
          <a:p>
            <a:fld id="{32B354EE-31EA-4FC2-9496-7B6202183237}" type="slidenum">
              <a:rPr lang="en-US" smtClean="0"/>
              <a:t>‹#›</a:t>
            </a:fld>
            <a:endParaRPr lang="en-US" dirty="0"/>
          </a:p>
        </p:txBody>
      </p:sp>
    </p:spTree>
    <p:extLst>
      <p:ext uri="{BB962C8B-B14F-4D97-AF65-F5344CB8AC3E}">
        <p14:creationId xmlns:p14="http://schemas.microsoft.com/office/powerpoint/2010/main" val="212460972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ext, Key Info and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623EE699-16B4-4E6C-852E-7A2C3D133E42}"/>
              </a:ext>
            </a:extLst>
          </p:cNvPr>
          <p:cNvSpPr>
            <a:spLocks noGrp="1"/>
          </p:cNvSpPr>
          <p:nvPr>
            <p:ph type="pic" sz="quarter" idx="13"/>
          </p:nvPr>
        </p:nvSpPr>
        <p:spPr>
          <a:xfrm>
            <a:off x="6096906" y="3429905"/>
            <a:ext cx="6095094" cy="3428095"/>
          </a:xfrm>
          <a:solidFill>
            <a:schemeClr val="bg1">
              <a:lumMod val="85000"/>
            </a:schemeClr>
          </a:solidFill>
        </p:spPr>
        <p:txBody>
          <a:bodyPr/>
          <a:lstStyle/>
          <a:p>
            <a:r>
              <a:rPr lang="en-US"/>
              <a:t>Click icon to add picture</a:t>
            </a:r>
            <a:endParaRPr lang="en-GB"/>
          </a:p>
        </p:txBody>
      </p:sp>
      <p:sp>
        <p:nvSpPr>
          <p:cNvPr id="3" name="Content Placeholder 2"/>
          <p:cNvSpPr>
            <a:spLocks noGrp="1"/>
          </p:cNvSpPr>
          <p:nvPr>
            <p:ph sz="half" idx="1"/>
          </p:nvPr>
        </p:nvSpPr>
        <p:spPr>
          <a:xfrm>
            <a:off x="410878" y="1521184"/>
            <a:ext cx="5292112" cy="4494733"/>
          </a:xfrm>
        </p:spPr>
        <p:txBody>
          <a:bodyPr/>
          <a:lstStyle>
            <a:lvl1pPr>
              <a:defRPr sz="1597"/>
            </a:lvl1pPr>
            <a:lvl2pPr>
              <a:defRPr sz="1597"/>
            </a:lvl2pPr>
            <a:lvl3pPr>
              <a:defRPr sz="1597"/>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p>
            <a:r>
              <a:rPr lang="en-GB"/>
              <a:t>Document Name</a:t>
            </a:r>
            <a:endParaRPr lang="en-US" dirty="0"/>
          </a:p>
        </p:txBody>
      </p:sp>
      <p:sp>
        <p:nvSpPr>
          <p:cNvPr id="7" name="Slide Number Placeholder 6"/>
          <p:cNvSpPr>
            <a:spLocks noGrp="1"/>
          </p:cNvSpPr>
          <p:nvPr>
            <p:ph type="sldNum" sz="quarter" idx="12"/>
          </p:nvPr>
        </p:nvSpPr>
        <p:spPr/>
        <p:txBody>
          <a:bodyPr/>
          <a:lstStyle/>
          <a:p>
            <a:fld id="{32B354EE-31EA-4FC2-9496-7B6202183237}" type="slidenum">
              <a:rPr lang="en-US" smtClean="0"/>
              <a:t>‹#›</a:t>
            </a:fld>
            <a:endParaRPr lang="en-US" dirty="0"/>
          </a:p>
        </p:txBody>
      </p:sp>
      <p:sp>
        <p:nvSpPr>
          <p:cNvPr id="5" name="Text Placeholder 4">
            <a:extLst>
              <a:ext uri="{FF2B5EF4-FFF2-40B4-BE49-F238E27FC236}">
                <a16:creationId xmlns:a16="http://schemas.microsoft.com/office/drawing/2014/main" id="{F57219E9-6258-4F28-A57E-2D2A7A1479EF}"/>
              </a:ext>
            </a:extLst>
          </p:cNvPr>
          <p:cNvSpPr>
            <a:spLocks noGrp="1"/>
          </p:cNvSpPr>
          <p:nvPr>
            <p:ph type="body" sz="quarter" idx="14"/>
          </p:nvPr>
        </p:nvSpPr>
        <p:spPr>
          <a:xfrm>
            <a:off x="6096906" y="4"/>
            <a:ext cx="6095094" cy="3429905"/>
          </a:xfrm>
          <a:solidFill>
            <a:schemeClr val="accent3"/>
          </a:solidFill>
        </p:spPr>
        <p:txBody>
          <a:bodyPr lIns="360000" tIns="360000" rIns="360000" bIns="360000" anchor="ctr"/>
          <a:lstStyle>
            <a:lvl1pPr algn="ctr">
              <a:defRPr sz="3400" b="0">
                <a:solidFill>
                  <a:schemeClr val="tx2"/>
                </a:solidFill>
                <a:latin typeface="+mj-lt"/>
              </a:defRPr>
            </a:lvl1pPr>
          </a:lstStyle>
          <a:p>
            <a:pPr lvl="0"/>
            <a:r>
              <a:rPr lang="en-US"/>
              <a:t>Click to edit Master text styles</a:t>
            </a:r>
          </a:p>
        </p:txBody>
      </p:sp>
      <p:sp>
        <p:nvSpPr>
          <p:cNvPr id="4" name="Title 3">
            <a:extLst>
              <a:ext uri="{FF2B5EF4-FFF2-40B4-BE49-F238E27FC236}">
                <a16:creationId xmlns:a16="http://schemas.microsoft.com/office/drawing/2014/main" id="{73F85738-4ACC-4932-9AC9-54B0CFBC9C5F}"/>
              </a:ext>
            </a:extLst>
          </p:cNvPr>
          <p:cNvSpPr>
            <a:spLocks noGrp="1"/>
          </p:cNvSpPr>
          <p:nvPr>
            <p:ph type="title"/>
          </p:nvPr>
        </p:nvSpPr>
        <p:spPr>
          <a:xfrm>
            <a:off x="410879" y="410669"/>
            <a:ext cx="5292111" cy="776038"/>
          </a:xfrm>
        </p:spPr>
        <p:txBody>
          <a:bodyPr/>
          <a:lstStyle/>
          <a:p>
            <a:r>
              <a:rPr lang="en-US"/>
              <a:t>Click to edit Master title style</a:t>
            </a:r>
            <a:endParaRPr lang="en-GB"/>
          </a:p>
        </p:txBody>
      </p:sp>
    </p:spTree>
    <p:extLst>
      <p:ext uri="{BB962C8B-B14F-4D97-AF65-F5344CB8AC3E}">
        <p14:creationId xmlns:p14="http://schemas.microsoft.com/office/powerpoint/2010/main" val="3922839426"/>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Key Figure and Content">
    <p:spTree>
      <p:nvGrpSpPr>
        <p:cNvPr id="1" name=""/>
        <p:cNvGrpSpPr/>
        <p:nvPr/>
      </p:nvGrpSpPr>
      <p:grpSpPr>
        <a:xfrm>
          <a:off x="0" y="0"/>
          <a:ext cx="0" cy="0"/>
          <a:chOff x="0" y="0"/>
          <a:chExt cx="0" cy="0"/>
        </a:xfrm>
      </p:grpSpPr>
      <p:sp>
        <p:nvSpPr>
          <p:cNvPr id="9" name="Text Placeholder 4">
            <a:extLst>
              <a:ext uri="{FF2B5EF4-FFF2-40B4-BE49-F238E27FC236}">
                <a16:creationId xmlns:a16="http://schemas.microsoft.com/office/drawing/2014/main" id="{2AF37378-9CE3-46C1-80C8-30215DE1AF63}"/>
              </a:ext>
            </a:extLst>
          </p:cNvPr>
          <p:cNvSpPr>
            <a:spLocks noGrp="1"/>
          </p:cNvSpPr>
          <p:nvPr>
            <p:ph type="body" sz="quarter" idx="14"/>
          </p:nvPr>
        </p:nvSpPr>
        <p:spPr>
          <a:xfrm>
            <a:off x="906" y="-905"/>
            <a:ext cx="6095094" cy="6858905"/>
          </a:xfrm>
          <a:solidFill>
            <a:schemeClr val="accent3"/>
          </a:solidFill>
        </p:spPr>
        <p:txBody>
          <a:bodyPr lIns="360000" tIns="360000" rIns="360000" bIns="360000" anchor="ctr"/>
          <a:lstStyle>
            <a:lvl1pPr algn="ctr">
              <a:defRPr sz="4600">
                <a:solidFill>
                  <a:schemeClr val="tx2"/>
                </a:solidFill>
                <a:latin typeface="+mj-lt"/>
              </a:defRPr>
            </a:lvl1pPr>
          </a:lstStyle>
          <a:p>
            <a:pPr lvl="0"/>
            <a:r>
              <a:rPr lang="en-US"/>
              <a:t>Click to edit Master text styles</a:t>
            </a:r>
          </a:p>
        </p:txBody>
      </p:sp>
      <p:sp>
        <p:nvSpPr>
          <p:cNvPr id="2" name="Title 1"/>
          <p:cNvSpPr>
            <a:spLocks noGrp="1"/>
          </p:cNvSpPr>
          <p:nvPr>
            <p:ph type="title"/>
          </p:nvPr>
        </p:nvSpPr>
        <p:spPr>
          <a:xfrm>
            <a:off x="6487200" y="411083"/>
            <a:ext cx="5292000" cy="776038"/>
          </a:xfrm>
        </p:spPr>
        <p:txBody>
          <a:bodyPr/>
          <a:lstStyle/>
          <a:p>
            <a:r>
              <a:rPr lang="en-US"/>
              <a:t>Click to edit Master title style</a:t>
            </a:r>
            <a:endParaRPr lang="en-US" dirty="0"/>
          </a:p>
        </p:txBody>
      </p:sp>
      <p:sp>
        <p:nvSpPr>
          <p:cNvPr id="3" name="Content Placeholder 2"/>
          <p:cNvSpPr>
            <a:spLocks noGrp="1"/>
          </p:cNvSpPr>
          <p:nvPr>
            <p:ph sz="half" idx="1"/>
          </p:nvPr>
        </p:nvSpPr>
        <p:spPr>
          <a:xfrm>
            <a:off x="6487200" y="1521184"/>
            <a:ext cx="5292000" cy="44947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p>
            <a:r>
              <a:rPr lang="en-GB"/>
              <a:t>Document Name</a:t>
            </a:r>
            <a:endParaRPr lang="en-US" dirty="0"/>
          </a:p>
        </p:txBody>
      </p:sp>
      <p:sp>
        <p:nvSpPr>
          <p:cNvPr id="7" name="Slide Number Placeholder 6"/>
          <p:cNvSpPr>
            <a:spLocks noGrp="1"/>
          </p:cNvSpPr>
          <p:nvPr>
            <p:ph type="sldNum" sz="quarter" idx="12"/>
          </p:nvPr>
        </p:nvSpPr>
        <p:spPr/>
        <p:txBody>
          <a:bodyPr/>
          <a:lstStyle/>
          <a:p>
            <a:fld id="{32B354EE-31EA-4FC2-9496-7B6202183237}" type="slidenum">
              <a:rPr lang="en-US" smtClean="0"/>
              <a:t>‹#›</a:t>
            </a:fld>
            <a:endParaRPr lang="en-US" dirty="0"/>
          </a:p>
        </p:txBody>
      </p:sp>
    </p:spTree>
    <p:extLst>
      <p:ext uri="{BB962C8B-B14F-4D97-AF65-F5344CB8AC3E}">
        <p14:creationId xmlns:p14="http://schemas.microsoft.com/office/powerpoint/2010/main" val="398089874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ext and Large Image">
    <p:bg>
      <p:bgPr>
        <a:solidFill>
          <a:schemeClr val="tx2"/>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C1E61418-E972-40CA-AF1C-5059724D8739}"/>
              </a:ext>
            </a:extLst>
          </p:cNvPr>
          <p:cNvSpPr>
            <a:spLocks noGrp="1"/>
          </p:cNvSpPr>
          <p:nvPr>
            <p:ph type="pic" sz="quarter" idx="14"/>
          </p:nvPr>
        </p:nvSpPr>
        <p:spPr>
          <a:xfrm>
            <a:off x="3660000" y="0"/>
            <a:ext cx="8532000" cy="6858000"/>
          </a:xfrm>
          <a:solidFill>
            <a:schemeClr val="bg1">
              <a:lumMod val="85000"/>
            </a:schemeClr>
          </a:solidFill>
        </p:spPr>
        <p:txBody>
          <a:bodyPr/>
          <a:lstStyle/>
          <a:p>
            <a:r>
              <a:rPr lang="en-US"/>
              <a:t>Click icon to add picture</a:t>
            </a:r>
            <a:endParaRPr lang="en-GB"/>
          </a:p>
        </p:txBody>
      </p:sp>
      <p:sp>
        <p:nvSpPr>
          <p:cNvPr id="4" name="Footer Placeholder 3">
            <a:extLst>
              <a:ext uri="{FF2B5EF4-FFF2-40B4-BE49-F238E27FC236}">
                <a16:creationId xmlns:a16="http://schemas.microsoft.com/office/drawing/2014/main" id="{265266B1-3B43-413F-B581-A2BA7F232AAD}"/>
              </a:ext>
            </a:extLst>
          </p:cNvPr>
          <p:cNvSpPr>
            <a:spLocks noGrp="1"/>
          </p:cNvSpPr>
          <p:nvPr>
            <p:ph type="ftr" sz="quarter" idx="11"/>
          </p:nvPr>
        </p:nvSpPr>
        <p:spPr/>
        <p:txBody>
          <a:bodyPr/>
          <a:lstStyle>
            <a:lvl1pPr>
              <a:defRPr>
                <a:solidFill>
                  <a:schemeClr val="bg1"/>
                </a:solidFill>
              </a:defRPr>
            </a:lvl1pPr>
          </a:lstStyle>
          <a:p>
            <a:r>
              <a:rPr lang="en-GB"/>
              <a:t>Document Name</a:t>
            </a:r>
            <a:endParaRPr lang="en-US" dirty="0"/>
          </a:p>
        </p:txBody>
      </p:sp>
      <p:sp>
        <p:nvSpPr>
          <p:cNvPr id="5" name="Slide Number Placeholder 4">
            <a:extLst>
              <a:ext uri="{FF2B5EF4-FFF2-40B4-BE49-F238E27FC236}">
                <a16:creationId xmlns:a16="http://schemas.microsoft.com/office/drawing/2014/main" id="{114087E5-4709-465C-88EF-C43AFDD767F1}"/>
              </a:ext>
            </a:extLst>
          </p:cNvPr>
          <p:cNvSpPr>
            <a:spLocks noGrp="1"/>
          </p:cNvSpPr>
          <p:nvPr>
            <p:ph type="sldNum" sz="quarter" idx="12"/>
          </p:nvPr>
        </p:nvSpPr>
        <p:spPr/>
        <p:txBody>
          <a:bodyPr/>
          <a:lstStyle>
            <a:lvl1pPr>
              <a:defRPr>
                <a:solidFill>
                  <a:schemeClr val="bg1"/>
                </a:solidFill>
              </a:defRPr>
            </a:lvl1pPr>
          </a:lstStyle>
          <a:p>
            <a:fld id="{32B354EE-31EA-4FC2-9496-7B6202183237}" type="slidenum">
              <a:rPr lang="en-US" smtClean="0"/>
              <a:pPr/>
              <a:t>‹#›</a:t>
            </a:fld>
            <a:endParaRPr lang="en-US" dirty="0"/>
          </a:p>
        </p:txBody>
      </p:sp>
      <p:sp>
        <p:nvSpPr>
          <p:cNvPr id="7" name="Text Placeholder 6">
            <a:extLst>
              <a:ext uri="{FF2B5EF4-FFF2-40B4-BE49-F238E27FC236}">
                <a16:creationId xmlns:a16="http://schemas.microsoft.com/office/drawing/2014/main" id="{D7F08074-975D-439A-8214-343997E50101}"/>
              </a:ext>
            </a:extLst>
          </p:cNvPr>
          <p:cNvSpPr>
            <a:spLocks noGrp="1"/>
          </p:cNvSpPr>
          <p:nvPr>
            <p:ph type="body" sz="quarter" idx="13"/>
          </p:nvPr>
        </p:nvSpPr>
        <p:spPr>
          <a:xfrm>
            <a:off x="413104" y="1521184"/>
            <a:ext cx="2830327" cy="4494733"/>
          </a:xfrm>
        </p:spPr>
        <p:txBody>
          <a:bodyPr/>
          <a:lstStyle>
            <a:lvl1pPr>
              <a:defRPr>
                <a:solidFill>
                  <a:schemeClr val="bg1"/>
                </a:solidFill>
              </a:defRPr>
            </a:lvl1pPr>
            <a:lvl2pPr>
              <a:defRPr>
                <a:solidFill>
                  <a:schemeClr val="bg1"/>
                </a:solidFill>
              </a:defRPr>
            </a:lvl2pPr>
            <a:lvl3pPr>
              <a:defRPr>
                <a:solidFill>
                  <a:schemeClr val="accent3"/>
                </a:solidFill>
              </a:defRPr>
            </a:lvl3pPr>
            <a:lvl4pPr>
              <a:buClr>
                <a:schemeClr val="accent3"/>
              </a:buClr>
              <a:defRPr>
                <a:solidFill>
                  <a:schemeClr val="bg1"/>
                </a:solidFill>
              </a:defRPr>
            </a:lvl4pPr>
            <a:lvl5pPr>
              <a:buClr>
                <a:schemeClr val="accent3"/>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C4B74708-2400-4449-A566-F6158A62A027}"/>
              </a:ext>
            </a:extLst>
          </p:cNvPr>
          <p:cNvSpPr>
            <a:spLocks noGrp="1"/>
          </p:cNvSpPr>
          <p:nvPr>
            <p:ph type="title"/>
          </p:nvPr>
        </p:nvSpPr>
        <p:spPr>
          <a:xfrm>
            <a:off x="410879" y="410669"/>
            <a:ext cx="2830327" cy="776038"/>
          </a:xfrm>
        </p:spPr>
        <p:txBody>
          <a:bodyPr/>
          <a:lstStyle>
            <a:lvl1pPr>
              <a:defRPr>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3624017091"/>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wo Content Dark Righ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D86AC41-762B-4924-A899-F81343A12E1E}"/>
              </a:ext>
            </a:extLst>
          </p:cNvPr>
          <p:cNvSpPr/>
          <p:nvPr/>
        </p:nvSpPr>
        <p:spPr>
          <a:xfrm>
            <a:off x="6096001" y="4"/>
            <a:ext cx="6096000" cy="6858000"/>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42" dirty="0"/>
          </a:p>
        </p:txBody>
      </p:sp>
      <p:sp>
        <p:nvSpPr>
          <p:cNvPr id="3" name="Content Placeholder 2"/>
          <p:cNvSpPr>
            <a:spLocks noGrp="1"/>
          </p:cNvSpPr>
          <p:nvPr>
            <p:ph sz="half" idx="1"/>
          </p:nvPr>
        </p:nvSpPr>
        <p:spPr>
          <a:xfrm>
            <a:off x="410878" y="1521184"/>
            <a:ext cx="5292112" cy="44947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486790" y="1521184"/>
            <a:ext cx="5292112" cy="4494733"/>
          </a:xfrm>
        </p:spPr>
        <p:txBody>
          <a:bodyPr/>
          <a:lstStyle>
            <a:lvl1pPr>
              <a:defRPr>
                <a:solidFill>
                  <a:schemeClr val="bg1"/>
                </a:solidFill>
              </a:defRPr>
            </a:lvl1pPr>
            <a:lvl2pPr>
              <a:defRPr>
                <a:solidFill>
                  <a:schemeClr val="bg1"/>
                </a:solidFill>
              </a:defRPr>
            </a:lvl2pPr>
            <a:lvl3pPr>
              <a:defRPr>
                <a:solidFill>
                  <a:schemeClr val="accent3"/>
                </a:solidFill>
              </a:defRPr>
            </a:lvl3pPr>
            <a:lvl4pPr>
              <a:buClr>
                <a:schemeClr val="accent3"/>
              </a:buClr>
              <a:defRPr>
                <a:solidFill>
                  <a:schemeClr val="bg1"/>
                </a:solidFill>
              </a:defRPr>
            </a:lvl4pPr>
            <a:lvl5pPr>
              <a:buClr>
                <a:schemeClr val="accent3"/>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p>
            <a:r>
              <a:rPr lang="en-GB"/>
              <a:t>Document Name</a:t>
            </a:r>
            <a:endParaRPr lang="en-US" dirty="0"/>
          </a:p>
        </p:txBody>
      </p:sp>
      <p:sp>
        <p:nvSpPr>
          <p:cNvPr id="7" name="Slide Number Placeholder 6"/>
          <p:cNvSpPr>
            <a:spLocks noGrp="1"/>
          </p:cNvSpPr>
          <p:nvPr>
            <p:ph type="sldNum" sz="quarter" idx="12"/>
          </p:nvPr>
        </p:nvSpPr>
        <p:spPr/>
        <p:txBody>
          <a:bodyPr/>
          <a:lstStyle/>
          <a:p>
            <a:fld id="{32B354EE-31EA-4FC2-9496-7B6202183237}" type="slidenum">
              <a:rPr lang="en-US" smtClean="0"/>
              <a:t>‹#›</a:t>
            </a:fld>
            <a:endParaRPr lang="en-US" dirty="0"/>
          </a:p>
        </p:txBody>
      </p:sp>
      <p:sp>
        <p:nvSpPr>
          <p:cNvPr id="8" name="Title 7">
            <a:extLst>
              <a:ext uri="{FF2B5EF4-FFF2-40B4-BE49-F238E27FC236}">
                <a16:creationId xmlns:a16="http://schemas.microsoft.com/office/drawing/2014/main" id="{97185569-060C-4071-87A6-3F288164C3BB}"/>
              </a:ext>
            </a:extLst>
          </p:cNvPr>
          <p:cNvSpPr>
            <a:spLocks noGrp="1"/>
          </p:cNvSpPr>
          <p:nvPr>
            <p:ph type="title"/>
          </p:nvPr>
        </p:nvSpPr>
        <p:spPr>
          <a:xfrm>
            <a:off x="410879" y="410669"/>
            <a:ext cx="5292111" cy="776038"/>
          </a:xfrm>
        </p:spPr>
        <p:txBody>
          <a:bodyPr/>
          <a:lstStyle/>
          <a:p>
            <a:r>
              <a:rPr lang="en-US"/>
              <a:t>Click to edit Master title style</a:t>
            </a:r>
            <a:endParaRPr lang="en-GB"/>
          </a:p>
        </p:txBody>
      </p:sp>
      <p:sp>
        <p:nvSpPr>
          <p:cNvPr id="19" name="Freeform 5">
            <a:extLst>
              <a:ext uri="{FF2B5EF4-FFF2-40B4-BE49-F238E27FC236}">
                <a16:creationId xmlns:a16="http://schemas.microsoft.com/office/drawing/2014/main" id="{4CBF1DDE-7DD3-4D1C-9B77-141EBB861B03}"/>
              </a:ext>
            </a:extLst>
          </p:cNvPr>
          <p:cNvSpPr>
            <a:spLocks noChangeAspect="1" noEditPoints="1"/>
          </p:cNvSpPr>
          <p:nvPr/>
        </p:nvSpPr>
        <p:spPr bwMode="auto">
          <a:xfrm>
            <a:off x="11163612" y="6336092"/>
            <a:ext cx="612000" cy="106642"/>
          </a:xfrm>
          <a:custGeom>
            <a:avLst/>
            <a:gdLst>
              <a:gd name="T0" fmla="*/ 2108 w 2301"/>
              <a:gd name="T1" fmla="*/ 43 h 400"/>
              <a:gd name="T2" fmla="*/ 2257 w 2301"/>
              <a:gd name="T3" fmla="*/ 121 h 400"/>
              <a:gd name="T4" fmla="*/ 2154 w 2301"/>
              <a:gd name="T5" fmla="*/ 289 h 400"/>
              <a:gd name="T6" fmla="*/ 2261 w 2301"/>
              <a:gd name="T7" fmla="*/ 295 h 400"/>
              <a:gd name="T8" fmla="*/ 2301 w 2301"/>
              <a:gd name="T9" fmla="*/ 300 h 400"/>
              <a:gd name="T10" fmla="*/ 2108 w 2301"/>
              <a:gd name="T11" fmla="*/ 167 h 400"/>
              <a:gd name="T12" fmla="*/ 548 w 2301"/>
              <a:gd name="T13" fmla="*/ 121 h 400"/>
              <a:gd name="T14" fmla="*/ 643 w 2301"/>
              <a:gd name="T15" fmla="*/ 43 h 400"/>
              <a:gd name="T16" fmla="*/ 746 w 2301"/>
              <a:gd name="T17" fmla="*/ 167 h 400"/>
              <a:gd name="T18" fmla="*/ 729 w 2301"/>
              <a:gd name="T19" fmla="*/ 342 h 400"/>
              <a:gd name="T20" fmla="*/ 789 w 2301"/>
              <a:gd name="T21" fmla="*/ 296 h 400"/>
              <a:gd name="T22" fmla="*/ 622 w 2301"/>
              <a:gd name="T23" fmla="*/ 371 h 400"/>
              <a:gd name="T24" fmla="*/ 1997 w 2301"/>
              <a:gd name="T25" fmla="*/ 297 h 400"/>
              <a:gd name="T26" fmla="*/ 1822 w 2301"/>
              <a:gd name="T27" fmla="*/ 327 h 400"/>
              <a:gd name="T28" fmla="*/ 1954 w 2301"/>
              <a:gd name="T29" fmla="*/ 213 h 400"/>
              <a:gd name="T30" fmla="*/ 1962 w 2301"/>
              <a:gd name="T31" fmla="*/ 141 h 400"/>
              <a:gd name="T32" fmla="*/ 1885 w 2301"/>
              <a:gd name="T33" fmla="*/ 400 h 400"/>
              <a:gd name="T34" fmla="*/ 0 w 2301"/>
              <a:gd name="T35" fmla="*/ 389 h 400"/>
              <a:gd name="T36" fmla="*/ 19 w 2301"/>
              <a:gd name="T37" fmla="*/ 167 h 400"/>
              <a:gd name="T38" fmla="*/ 125 w 2301"/>
              <a:gd name="T39" fmla="*/ 126 h 400"/>
              <a:gd name="T40" fmla="*/ 206 w 2301"/>
              <a:gd name="T41" fmla="*/ 395 h 400"/>
              <a:gd name="T42" fmla="*/ 381 w 2301"/>
              <a:gd name="T43" fmla="*/ 116 h 400"/>
              <a:gd name="T44" fmla="*/ 266 w 2301"/>
              <a:gd name="T45" fmla="*/ 126 h 400"/>
              <a:gd name="T46" fmla="*/ 272 w 2301"/>
              <a:gd name="T47" fmla="*/ 395 h 400"/>
              <a:gd name="T48" fmla="*/ 312 w 2301"/>
              <a:gd name="T49" fmla="*/ 250 h 400"/>
              <a:gd name="T50" fmla="*/ 313 w 2301"/>
              <a:gd name="T51" fmla="*/ 228 h 400"/>
              <a:gd name="T52" fmla="*/ 313 w 2301"/>
              <a:gd name="T53" fmla="*/ 215 h 400"/>
              <a:gd name="T54" fmla="*/ 316 w 2301"/>
              <a:gd name="T55" fmla="*/ 206 h 400"/>
              <a:gd name="T56" fmla="*/ 319 w 2301"/>
              <a:gd name="T57" fmla="*/ 197 h 400"/>
              <a:gd name="T58" fmla="*/ 327 w 2301"/>
              <a:gd name="T59" fmla="*/ 186 h 400"/>
              <a:gd name="T60" fmla="*/ 447 w 2301"/>
              <a:gd name="T61" fmla="*/ 389 h 400"/>
              <a:gd name="T62" fmla="*/ 493 w 2301"/>
              <a:gd name="T63" fmla="*/ 228 h 400"/>
              <a:gd name="T64" fmla="*/ 142 w 2301"/>
              <a:gd name="T65" fmla="*/ 38 h 400"/>
              <a:gd name="T66" fmla="*/ 1292 w 2301"/>
              <a:gd name="T67" fmla="*/ 116 h 400"/>
              <a:gd name="T68" fmla="*/ 1177 w 2301"/>
              <a:gd name="T69" fmla="*/ 126 h 400"/>
              <a:gd name="T70" fmla="*/ 1183 w 2301"/>
              <a:gd name="T71" fmla="*/ 395 h 400"/>
              <a:gd name="T72" fmla="*/ 1223 w 2301"/>
              <a:gd name="T73" fmla="*/ 250 h 400"/>
              <a:gd name="T74" fmla="*/ 1224 w 2301"/>
              <a:gd name="T75" fmla="*/ 228 h 400"/>
              <a:gd name="T76" fmla="*/ 1224 w 2301"/>
              <a:gd name="T77" fmla="*/ 215 h 400"/>
              <a:gd name="T78" fmla="*/ 1227 w 2301"/>
              <a:gd name="T79" fmla="*/ 206 h 400"/>
              <a:gd name="T80" fmla="*/ 1230 w 2301"/>
              <a:gd name="T81" fmla="*/ 197 h 400"/>
              <a:gd name="T82" fmla="*/ 1238 w 2301"/>
              <a:gd name="T83" fmla="*/ 186 h 400"/>
              <a:gd name="T84" fmla="*/ 1386 w 2301"/>
              <a:gd name="T85" fmla="*/ 179 h 400"/>
              <a:gd name="T86" fmla="*/ 1002 w 2301"/>
              <a:gd name="T87" fmla="*/ 126 h 400"/>
              <a:gd name="T88" fmla="*/ 956 w 2301"/>
              <a:gd name="T89" fmla="*/ 170 h 400"/>
              <a:gd name="T90" fmla="*/ 981 w 2301"/>
              <a:gd name="T91" fmla="*/ 400 h 400"/>
              <a:gd name="T92" fmla="*/ 981 w 2301"/>
              <a:gd name="T93" fmla="*/ 354 h 400"/>
              <a:gd name="T94" fmla="*/ 1692 w 2301"/>
              <a:gd name="T95" fmla="*/ 232 h 400"/>
              <a:gd name="T96" fmla="*/ 1646 w 2301"/>
              <a:gd name="T97" fmla="*/ 149 h 400"/>
              <a:gd name="T98" fmla="*/ 1648 w 2301"/>
              <a:gd name="T99" fmla="*/ 258 h 400"/>
              <a:gd name="T100" fmla="*/ 1536 w 2301"/>
              <a:gd name="T101" fmla="*/ 120 h 400"/>
              <a:gd name="T102" fmla="*/ 1646 w 2301"/>
              <a:gd name="T103" fmla="*/ 390 h 400"/>
              <a:gd name="T104" fmla="*/ 1692 w 2301"/>
              <a:gd name="T105" fmla="*/ 242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01" h="400">
                <a:moveTo>
                  <a:pt x="2054" y="162"/>
                </a:moveTo>
                <a:cubicBezTo>
                  <a:pt x="2054" y="126"/>
                  <a:pt x="2054" y="126"/>
                  <a:pt x="2054" y="126"/>
                </a:cubicBezTo>
                <a:cubicBezTo>
                  <a:pt x="2054" y="122"/>
                  <a:pt x="2055" y="121"/>
                  <a:pt x="2059" y="121"/>
                </a:cubicBezTo>
                <a:cubicBezTo>
                  <a:pt x="2108" y="121"/>
                  <a:pt x="2108" y="121"/>
                  <a:pt x="2108" y="121"/>
                </a:cubicBezTo>
                <a:cubicBezTo>
                  <a:pt x="2108" y="43"/>
                  <a:pt x="2108" y="43"/>
                  <a:pt x="2108" y="43"/>
                </a:cubicBezTo>
                <a:cubicBezTo>
                  <a:pt x="2108" y="39"/>
                  <a:pt x="2110" y="38"/>
                  <a:pt x="2113" y="38"/>
                </a:cubicBezTo>
                <a:cubicBezTo>
                  <a:pt x="2149" y="38"/>
                  <a:pt x="2149" y="38"/>
                  <a:pt x="2149" y="38"/>
                </a:cubicBezTo>
                <a:cubicBezTo>
                  <a:pt x="2152" y="38"/>
                  <a:pt x="2154" y="39"/>
                  <a:pt x="2154" y="43"/>
                </a:cubicBezTo>
                <a:cubicBezTo>
                  <a:pt x="2154" y="121"/>
                  <a:pt x="2154" y="121"/>
                  <a:pt x="2154" y="121"/>
                </a:cubicBezTo>
                <a:cubicBezTo>
                  <a:pt x="2257" y="121"/>
                  <a:pt x="2257" y="121"/>
                  <a:pt x="2257" y="121"/>
                </a:cubicBezTo>
                <a:cubicBezTo>
                  <a:pt x="2260" y="121"/>
                  <a:pt x="2262" y="122"/>
                  <a:pt x="2262" y="126"/>
                </a:cubicBezTo>
                <a:cubicBezTo>
                  <a:pt x="2262" y="162"/>
                  <a:pt x="2262" y="162"/>
                  <a:pt x="2262" y="162"/>
                </a:cubicBezTo>
                <a:cubicBezTo>
                  <a:pt x="2262" y="165"/>
                  <a:pt x="2260" y="167"/>
                  <a:pt x="2257" y="167"/>
                </a:cubicBezTo>
                <a:cubicBezTo>
                  <a:pt x="2154" y="167"/>
                  <a:pt x="2154" y="167"/>
                  <a:pt x="2154" y="167"/>
                </a:cubicBezTo>
                <a:cubicBezTo>
                  <a:pt x="2154" y="289"/>
                  <a:pt x="2154" y="289"/>
                  <a:pt x="2154" y="289"/>
                </a:cubicBezTo>
                <a:cubicBezTo>
                  <a:pt x="2154" y="311"/>
                  <a:pt x="2158" y="326"/>
                  <a:pt x="2166" y="336"/>
                </a:cubicBezTo>
                <a:cubicBezTo>
                  <a:pt x="2174" y="348"/>
                  <a:pt x="2186" y="353"/>
                  <a:pt x="2204" y="353"/>
                </a:cubicBezTo>
                <a:cubicBezTo>
                  <a:pt x="2221" y="353"/>
                  <a:pt x="2232" y="351"/>
                  <a:pt x="2240" y="342"/>
                </a:cubicBezTo>
                <a:cubicBezTo>
                  <a:pt x="2248" y="333"/>
                  <a:pt x="2252" y="319"/>
                  <a:pt x="2255" y="300"/>
                </a:cubicBezTo>
                <a:cubicBezTo>
                  <a:pt x="2255" y="297"/>
                  <a:pt x="2257" y="295"/>
                  <a:pt x="2261" y="295"/>
                </a:cubicBezTo>
                <a:cubicBezTo>
                  <a:pt x="2296" y="295"/>
                  <a:pt x="2296" y="295"/>
                  <a:pt x="2296" y="295"/>
                </a:cubicBezTo>
                <a:cubicBezTo>
                  <a:pt x="2298" y="295"/>
                  <a:pt x="2298" y="295"/>
                  <a:pt x="2298" y="295"/>
                </a:cubicBezTo>
                <a:cubicBezTo>
                  <a:pt x="2298" y="295"/>
                  <a:pt x="2299" y="295"/>
                  <a:pt x="2300" y="296"/>
                </a:cubicBezTo>
                <a:cubicBezTo>
                  <a:pt x="2300" y="296"/>
                  <a:pt x="2301" y="297"/>
                  <a:pt x="2301" y="297"/>
                </a:cubicBezTo>
                <a:cubicBezTo>
                  <a:pt x="2301" y="298"/>
                  <a:pt x="2301" y="299"/>
                  <a:pt x="2301" y="300"/>
                </a:cubicBezTo>
                <a:cubicBezTo>
                  <a:pt x="2301" y="327"/>
                  <a:pt x="2295" y="350"/>
                  <a:pt x="2276" y="371"/>
                </a:cubicBezTo>
                <a:cubicBezTo>
                  <a:pt x="2259" y="390"/>
                  <a:pt x="2235" y="400"/>
                  <a:pt x="2205" y="400"/>
                </a:cubicBezTo>
                <a:cubicBezTo>
                  <a:pt x="2173" y="400"/>
                  <a:pt x="2149" y="390"/>
                  <a:pt x="2133" y="371"/>
                </a:cubicBezTo>
                <a:cubicBezTo>
                  <a:pt x="2116" y="353"/>
                  <a:pt x="2108" y="325"/>
                  <a:pt x="2108" y="289"/>
                </a:cubicBezTo>
                <a:cubicBezTo>
                  <a:pt x="2108" y="167"/>
                  <a:pt x="2108" y="167"/>
                  <a:pt x="2108" y="167"/>
                </a:cubicBezTo>
                <a:cubicBezTo>
                  <a:pt x="2059" y="167"/>
                  <a:pt x="2059" y="167"/>
                  <a:pt x="2059" y="167"/>
                </a:cubicBezTo>
                <a:cubicBezTo>
                  <a:pt x="2055" y="167"/>
                  <a:pt x="2054" y="165"/>
                  <a:pt x="2054" y="162"/>
                </a:cubicBezTo>
                <a:moveTo>
                  <a:pt x="543" y="162"/>
                </a:moveTo>
                <a:cubicBezTo>
                  <a:pt x="543" y="126"/>
                  <a:pt x="543" y="126"/>
                  <a:pt x="543" y="126"/>
                </a:cubicBezTo>
                <a:cubicBezTo>
                  <a:pt x="543" y="122"/>
                  <a:pt x="545" y="121"/>
                  <a:pt x="548" y="121"/>
                </a:cubicBezTo>
                <a:cubicBezTo>
                  <a:pt x="597" y="121"/>
                  <a:pt x="597" y="121"/>
                  <a:pt x="597" y="121"/>
                </a:cubicBezTo>
                <a:cubicBezTo>
                  <a:pt x="597" y="43"/>
                  <a:pt x="597" y="43"/>
                  <a:pt x="597" y="43"/>
                </a:cubicBezTo>
                <a:cubicBezTo>
                  <a:pt x="597" y="39"/>
                  <a:pt x="599" y="38"/>
                  <a:pt x="603" y="38"/>
                </a:cubicBezTo>
                <a:cubicBezTo>
                  <a:pt x="638" y="38"/>
                  <a:pt x="638" y="38"/>
                  <a:pt x="638" y="38"/>
                </a:cubicBezTo>
                <a:cubicBezTo>
                  <a:pt x="642" y="38"/>
                  <a:pt x="643" y="39"/>
                  <a:pt x="643" y="43"/>
                </a:cubicBezTo>
                <a:cubicBezTo>
                  <a:pt x="643" y="121"/>
                  <a:pt x="643" y="121"/>
                  <a:pt x="643" y="121"/>
                </a:cubicBezTo>
                <a:cubicBezTo>
                  <a:pt x="746" y="121"/>
                  <a:pt x="746" y="121"/>
                  <a:pt x="746" y="121"/>
                </a:cubicBezTo>
                <a:cubicBezTo>
                  <a:pt x="750" y="121"/>
                  <a:pt x="751" y="122"/>
                  <a:pt x="751" y="126"/>
                </a:cubicBezTo>
                <a:cubicBezTo>
                  <a:pt x="751" y="162"/>
                  <a:pt x="751" y="162"/>
                  <a:pt x="751" y="162"/>
                </a:cubicBezTo>
                <a:cubicBezTo>
                  <a:pt x="751" y="165"/>
                  <a:pt x="750" y="167"/>
                  <a:pt x="746" y="167"/>
                </a:cubicBezTo>
                <a:cubicBezTo>
                  <a:pt x="644" y="167"/>
                  <a:pt x="644" y="167"/>
                  <a:pt x="644" y="167"/>
                </a:cubicBezTo>
                <a:cubicBezTo>
                  <a:pt x="644" y="289"/>
                  <a:pt x="644" y="289"/>
                  <a:pt x="644" y="289"/>
                </a:cubicBezTo>
                <a:cubicBezTo>
                  <a:pt x="644" y="311"/>
                  <a:pt x="648" y="326"/>
                  <a:pt x="655" y="336"/>
                </a:cubicBezTo>
                <a:cubicBezTo>
                  <a:pt x="663" y="348"/>
                  <a:pt x="675" y="353"/>
                  <a:pt x="694" y="353"/>
                </a:cubicBezTo>
                <a:cubicBezTo>
                  <a:pt x="711" y="353"/>
                  <a:pt x="721" y="351"/>
                  <a:pt x="729" y="342"/>
                </a:cubicBezTo>
                <a:cubicBezTo>
                  <a:pt x="737" y="333"/>
                  <a:pt x="741" y="319"/>
                  <a:pt x="744" y="300"/>
                </a:cubicBezTo>
                <a:cubicBezTo>
                  <a:pt x="745" y="297"/>
                  <a:pt x="746" y="295"/>
                  <a:pt x="750" y="295"/>
                </a:cubicBezTo>
                <a:cubicBezTo>
                  <a:pt x="785" y="295"/>
                  <a:pt x="785" y="295"/>
                  <a:pt x="785" y="295"/>
                </a:cubicBezTo>
                <a:cubicBezTo>
                  <a:pt x="787" y="295"/>
                  <a:pt x="787" y="295"/>
                  <a:pt x="787" y="295"/>
                </a:cubicBezTo>
                <a:cubicBezTo>
                  <a:pt x="788" y="295"/>
                  <a:pt x="788" y="295"/>
                  <a:pt x="789" y="296"/>
                </a:cubicBezTo>
                <a:cubicBezTo>
                  <a:pt x="790" y="296"/>
                  <a:pt x="790" y="297"/>
                  <a:pt x="790" y="297"/>
                </a:cubicBezTo>
                <a:cubicBezTo>
                  <a:pt x="790" y="298"/>
                  <a:pt x="790" y="299"/>
                  <a:pt x="790" y="300"/>
                </a:cubicBezTo>
                <a:cubicBezTo>
                  <a:pt x="790" y="327"/>
                  <a:pt x="784" y="350"/>
                  <a:pt x="765" y="371"/>
                </a:cubicBezTo>
                <a:cubicBezTo>
                  <a:pt x="748" y="390"/>
                  <a:pt x="725" y="400"/>
                  <a:pt x="694" y="400"/>
                </a:cubicBezTo>
                <a:cubicBezTo>
                  <a:pt x="662" y="400"/>
                  <a:pt x="639" y="390"/>
                  <a:pt x="622" y="371"/>
                </a:cubicBezTo>
                <a:cubicBezTo>
                  <a:pt x="606" y="353"/>
                  <a:pt x="597" y="325"/>
                  <a:pt x="597" y="289"/>
                </a:cubicBezTo>
                <a:cubicBezTo>
                  <a:pt x="597" y="167"/>
                  <a:pt x="597" y="167"/>
                  <a:pt x="597" y="167"/>
                </a:cubicBezTo>
                <a:cubicBezTo>
                  <a:pt x="548" y="167"/>
                  <a:pt x="548" y="167"/>
                  <a:pt x="548" y="167"/>
                </a:cubicBezTo>
                <a:cubicBezTo>
                  <a:pt x="545" y="167"/>
                  <a:pt x="543" y="165"/>
                  <a:pt x="543" y="162"/>
                </a:cubicBezTo>
                <a:moveTo>
                  <a:pt x="1997" y="297"/>
                </a:moveTo>
                <a:cubicBezTo>
                  <a:pt x="1965" y="297"/>
                  <a:pt x="1965" y="297"/>
                  <a:pt x="1965" y="297"/>
                </a:cubicBezTo>
                <a:cubicBezTo>
                  <a:pt x="1958" y="297"/>
                  <a:pt x="1956" y="301"/>
                  <a:pt x="1955" y="304"/>
                </a:cubicBezTo>
                <a:cubicBezTo>
                  <a:pt x="1950" y="319"/>
                  <a:pt x="1942" y="331"/>
                  <a:pt x="1929" y="340"/>
                </a:cubicBezTo>
                <a:cubicBezTo>
                  <a:pt x="1917" y="349"/>
                  <a:pt x="1902" y="354"/>
                  <a:pt x="1885" y="354"/>
                </a:cubicBezTo>
                <a:cubicBezTo>
                  <a:pt x="1860" y="354"/>
                  <a:pt x="1837" y="345"/>
                  <a:pt x="1822" y="327"/>
                </a:cubicBezTo>
                <a:cubicBezTo>
                  <a:pt x="1807" y="309"/>
                  <a:pt x="1799" y="286"/>
                  <a:pt x="1799" y="258"/>
                </a:cubicBezTo>
                <a:cubicBezTo>
                  <a:pt x="1799" y="230"/>
                  <a:pt x="1807" y="206"/>
                  <a:pt x="1822" y="188"/>
                </a:cubicBezTo>
                <a:cubicBezTo>
                  <a:pt x="1837" y="170"/>
                  <a:pt x="1860" y="162"/>
                  <a:pt x="1885" y="162"/>
                </a:cubicBezTo>
                <a:cubicBezTo>
                  <a:pt x="1902" y="162"/>
                  <a:pt x="1916" y="166"/>
                  <a:pt x="1928" y="175"/>
                </a:cubicBezTo>
                <a:cubicBezTo>
                  <a:pt x="1941" y="184"/>
                  <a:pt x="1949" y="197"/>
                  <a:pt x="1954" y="213"/>
                </a:cubicBezTo>
                <a:cubicBezTo>
                  <a:pt x="1955" y="215"/>
                  <a:pt x="1957" y="219"/>
                  <a:pt x="1964" y="219"/>
                </a:cubicBezTo>
                <a:cubicBezTo>
                  <a:pt x="1996" y="219"/>
                  <a:pt x="1996" y="219"/>
                  <a:pt x="1996" y="219"/>
                </a:cubicBezTo>
                <a:cubicBezTo>
                  <a:pt x="1999" y="219"/>
                  <a:pt x="2002" y="217"/>
                  <a:pt x="2002" y="213"/>
                </a:cubicBezTo>
                <a:cubicBezTo>
                  <a:pt x="2002" y="211"/>
                  <a:pt x="2002" y="209"/>
                  <a:pt x="2001" y="207"/>
                </a:cubicBezTo>
                <a:cubicBezTo>
                  <a:pt x="1994" y="179"/>
                  <a:pt x="1982" y="157"/>
                  <a:pt x="1962" y="141"/>
                </a:cubicBezTo>
                <a:cubicBezTo>
                  <a:pt x="1942" y="125"/>
                  <a:pt x="1916" y="117"/>
                  <a:pt x="1885" y="117"/>
                </a:cubicBezTo>
                <a:cubicBezTo>
                  <a:pt x="1845" y="117"/>
                  <a:pt x="1812" y="130"/>
                  <a:pt x="1788" y="157"/>
                </a:cubicBezTo>
                <a:cubicBezTo>
                  <a:pt x="1765" y="183"/>
                  <a:pt x="1753" y="217"/>
                  <a:pt x="1753" y="258"/>
                </a:cubicBezTo>
                <a:cubicBezTo>
                  <a:pt x="1753" y="299"/>
                  <a:pt x="1765" y="333"/>
                  <a:pt x="1789" y="360"/>
                </a:cubicBezTo>
                <a:cubicBezTo>
                  <a:pt x="1812" y="386"/>
                  <a:pt x="1845" y="400"/>
                  <a:pt x="1885" y="400"/>
                </a:cubicBezTo>
                <a:cubicBezTo>
                  <a:pt x="1916" y="400"/>
                  <a:pt x="1942" y="392"/>
                  <a:pt x="1962" y="376"/>
                </a:cubicBezTo>
                <a:cubicBezTo>
                  <a:pt x="1982" y="360"/>
                  <a:pt x="1995" y="337"/>
                  <a:pt x="2003" y="309"/>
                </a:cubicBezTo>
                <a:cubicBezTo>
                  <a:pt x="2003" y="307"/>
                  <a:pt x="2003" y="305"/>
                  <a:pt x="2003" y="303"/>
                </a:cubicBezTo>
                <a:cubicBezTo>
                  <a:pt x="2003" y="300"/>
                  <a:pt x="2002" y="297"/>
                  <a:pt x="1997" y="297"/>
                </a:cubicBezTo>
                <a:moveTo>
                  <a:pt x="0" y="389"/>
                </a:moveTo>
                <a:cubicBezTo>
                  <a:pt x="0" y="354"/>
                  <a:pt x="0" y="354"/>
                  <a:pt x="0" y="354"/>
                </a:cubicBezTo>
                <a:cubicBezTo>
                  <a:pt x="0" y="351"/>
                  <a:pt x="2" y="349"/>
                  <a:pt x="6" y="349"/>
                </a:cubicBezTo>
                <a:cubicBezTo>
                  <a:pt x="78" y="349"/>
                  <a:pt x="78" y="349"/>
                  <a:pt x="78" y="349"/>
                </a:cubicBezTo>
                <a:cubicBezTo>
                  <a:pt x="78" y="167"/>
                  <a:pt x="78" y="167"/>
                  <a:pt x="78" y="167"/>
                </a:cubicBezTo>
                <a:cubicBezTo>
                  <a:pt x="19" y="167"/>
                  <a:pt x="19" y="167"/>
                  <a:pt x="19" y="167"/>
                </a:cubicBezTo>
                <a:cubicBezTo>
                  <a:pt x="16" y="167"/>
                  <a:pt x="14" y="165"/>
                  <a:pt x="14" y="162"/>
                </a:cubicBezTo>
                <a:cubicBezTo>
                  <a:pt x="14" y="126"/>
                  <a:pt x="14" y="126"/>
                  <a:pt x="14" y="126"/>
                </a:cubicBezTo>
                <a:cubicBezTo>
                  <a:pt x="14" y="122"/>
                  <a:pt x="16" y="121"/>
                  <a:pt x="19" y="121"/>
                </a:cubicBezTo>
                <a:cubicBezTo>
                  <a:pt x="119" y="121"/>
                  <a:pt x="119" y="121"/>
                  <a:pt x="119" y="121"/>
                </a:cubicBezTo>
                <a:cubicBezTo>
                  <a:pt x="122" y="121"/>
                  <a:pt x="124" y="122"/>
                  <a:pt x="125" y="126"/>
                </a:cubicBezTo>
                <a:cubicBezTo>
                  <a:pt x="125" y="349"/>
                  <a:pt x="125" y="349"/>
                  <a:pt x="125" y="349"/>
                </a:cubicBezTo>
                <a:cubicBezTo>
                  <a:pt x="206" y="349"/>
                  <a:pt x="206" y="349"/>
                  <a:pt x="206" y="349"/>
                </a:cubicBezTo>
                <a:cubicBezTo>
                  <a:pt x="209" y="349"/>
                  <a:pt x="211" y="351"/>
                  <a:pt x="211" y="354"/>
                </a:cubicBezTo>
                <a:cubicBezTo>
                  <a:pt x="211" y="389"/>
                  <a:pt x="211" y="389"/>
                  <a:pt x="211" y="389"/>
                </a:cubicBezTo>
                <a:cubicBezTo>
                  <a:pt x="211" y="393"/>
                  <a:pt x="210" y="395"/>
                  <a:pt x="206" y="395"/>
                </a:cubicBezTo>
                <a:cubicBezTo>
                  <a:pt x="6" y="395"/>
                  <a:pt x="6" y="395"/>
                  <a:pt x="6" y="395"/>
                </a:cubicBezTo>
                <a:cubicBezTo>
                  <a:pt x="2" y="395"/>
                  <a:pt x="0" y="393"/>
                  <a:pt x="0" y="389"/>
                </a:cubicBezTo>
                <a:moveTo>
                  <a:pt x="493" y="227"/>
                </a:moveTo>
                <a:cubicBezTo>
                  <a:pt x="493" y="199"/>
                  <a:pt x="485" y="173"/>
                  <a:pt x="463" y="149"/>
                </a:cubicBezTo>
                <a:cubicBezTo>
                  <a:pt x="444" y="128"/>
                  <a:pt x="411" y="116"/>
                  <a:pt x="381" y="116"/>
                </a:cubicBezTo>
                <a:cubicBezTo>
                  <a:pt x="332" y="116"/>
                  <a:pt x="312" y="150"/>
                  <a:pt x="312" y="150"/>
                </a:cubicBezTo>
                <a:cubicBezTo>
                  <a:pt x="312" y="126"/>
                  <a:pt x="312" y="126"/>
                  <a:pt x="312" y="126"/>
                </a:cubicBezTo>
                <a:cubicBezTo>
                  <a:pt x="312" y="122"/>
                  <a:pt x="311" y="121"/>
                  <a:pt x="307" y="121"/>
                </a:cubicBezTo>
                <a:cubicBezTo>
                  <a:pt x="272" y="121"/>
                  <a:pt x="272" y="121"/>
                  <a:pt x="272" y="121"/>
                </a:cubicBezTo>
                <a:cubicBezTo>
                  <a:pt x="268" y="121"/>
                  <a:pt x="266" y="122"/>
                  <a:pt x="266" y="126"/>
                </a:cubicBezTo>
                <a:cubicBezTo>
                  <a:pt x="266" y="231"/>
                  <a:pt x="266" y="231"/>
                  <a:pt x="266" y="231"/>
                </a:cubicBezTo>
                <a:cubicBezTo>
                  <a:pt x="266" y="235"/>
                  <a:pt x="266" y="238"/>
                  <a:pt x="266" y="242"/>
                </a:cubicBezTo>
                <a:cubicBezTo>
                  <a:pt x="266" y="244"/>
                  <a:pt x="266" y="247"/>
                  <a:pt x="266" y="250"/>
                </a:cubicBezTo>
                <a:cubicBezTo>
                  <a:pt x="266" y="389"/>
                  <a:pt x="266" y="389"/>
                  <a:pt x="266" y="389"/>
                </a:cubicBezTo>
                <a:cubicBezTo>
                  <a:pt x="266" y="393"/>
                  <a:pt x="268" y="395"/>
                  <a:pt x="272" y="395"/>
                </a:cubicBezTo>
                <a:cubicBezTo>
                  <a:pt x="307" y="395"/>
                  <a:pt x="307" y="395"/>
                  <a:pt x="307" y="395"/>
                </a:cubicBezTo>
                <a:cubicBezTo>
                  <a:pt x="311" y="395"/>
                  <a:pt x="312" y="393"/>
                  <a:pt x="312" y="389"/>
                </a:cubicBezTo>
                <a:cubicBezTo>
                  <a:pt x="312" y="251"/>
                  <a:pt x="312" y="251"/>
                  <a:pt x="312" y="251"/>
                </a:cubicBezTo>
                <a:cubicBezTo>
                  <a:pt x="312" y="250"/>
                  <a:pt x="312" y="250"/>
                  <a:pt x="312" y="250"/>
                </a:cubicBezTo>
                <a:cubicBezTo>
                  <a:pt x="312" y="250"/>
                  <a:pt x="312" y="250"/>
                  <a:pt x="312" y="250"/>
                </a:cubicBezTo>
                <a:cubicBezTo>
                  <a:pt x="312" y="243"/>
                  <a:pt x="312" y="241"/>
                  <a:pt x="312" y="236"/>
                </a:cubicBezTo>
                <a:cubicBezTo>
                  <a:pt x="312" y="235"/>
                  <a:pt x="312" y="235"/>
                  <a:pt x="312" y="235"/>
                </a:cubicBezTo>
                <a:cubicBezTo>
                  <a:pt x="312" y="234"/>
                  <a:pt x="312" y="233"/>
                  <a:pt x="312" y="232"/>
                </a:cubicBezTo>
                <a:cubicBezTo>
                  <a:pt x="312" y="232"/>
                  <a:pt x="312" y="231"/>
                  <a:pt x="312" y="231"/>
                </a:cubicBezTo>
                <a:cubicBezTo>
                  <a:pt x="312" y="230"/>
                  <a:pt x="313" y="229"/>
                  <a:pt x="313" y="228"/>
                </a:cubicBezTo>
                <a:cubicBezTo>
                  <a:pt x="313" y="228"/>
                  <a:pt x="313" y="224"/>
                  <a:pt x="313" y="223"/>
                </a:cubicBezTo>
                <a:cubicBezTo>
                  <a:pt x="313" y="222"/>
                  <a:pt x="313" y="222"/>
                  <a:pt x="313" y="221"/>
                </a:cubicBezTo>
                <a:cubicBezTo>
                  <a:pt x="313" y="220"/>
                  <a:pt x="313" y="220"/>
                  <a:pt x="313" y="219"/>
                </a:cubicBezTo>
                <a:cubicBezTo>
                  <a:pt x="313" y="218"/>
                  <a:pt x="313" y="218"/>
                  <a:pt x="313" y="217"/>
                </a:cubicBezTo>
                <a:cubicBezTo>
                  <a:pt x="313" y="216"/>
                  <a:pt x="313" y="216"/>
                  <a:pt x="313" y="215"/>
                </a:cubicBezTo>
                <a:cubicBezTo>
                  <a:pt x="314" y="215"/>
                  <a:pt x="314" y="214"/>
                  <a:pt x="314" y="213"/>
                </a:cubicBezTo>
                <a:cubicBezTo>
                  <a:pt x="314" y="213"/>
                  <a:pt x="314" y="212"/>
                  <a:pt x="314" y="211"/>
                </a:cubicBezTo>
                <a:cubicBezTo>
                  <a:pt x="314" y="211"/>
                  <a:pt x="314" y="210"/>
                  <a:pt x="315" y="210"/>
                </a:cubicBezTo>
                <a:cubicBezTo>
                  <a:pt x="315" y="209"/>
                  <a:pt x="315" y="208"/>
                  <a:pt x="315" y="208"/>
                </a:cubicBezTo>
                <a:cubicBezTo>
                  <a:pt x="315" y="207"/>
                  <a:pt x="315" y="207"/>
                  <a:pt x="316" y="206"/>
                </a:cubicBezTo>
                <a:cubicBezTo>
                  <a:pt x="316" y="205"/>
                  <a:pt x="316" y="205"/>
                  <a:pt x="316" y="204"/>
                </a:cubicBezTo>
                <a:cubicBezTo>
                  <a:pt x="316" y="203"/>
                  <a:pt x="317" y="203"/>
                  <a:pt x="317" y="202"/>
                </a:cubicBezTo>
                <a:cubicBezTo>
                  <a:pt x="317" y="202"/>
                  <a:pt x="317" y="201"/>
                  <a:pt x="318" y="200"/>
                </a:cubicBezTo>
                <a:cubicBezTo>
                  <a:pt x="318" y="200"/>
                  <a:pt x="318" y="199"/>
                  <a:pt x="319" y="199"/>
                </a:cubicBezTo>
                <a:cubicBezTo>
                  <a:pt x="319" y="198"/>
                  <a:pt x="319" y="197"/>
                  <a:pt x="319" y="197"/>
                </a:cubicBezTo>
                <a:cubicBezTo>
                  <a:pt x="320" y="196"/>
                  <a:pt x="320" y="195"/>
                  <a:pt x="321" y="195"/>
                </a:cubicBezTo>
                <a:cubicBezTo>
                  <a:pt x="321" y="194"/>
                  <a:pt x="321" y="194"/>
                  <a:pt x="322" y="193"/>
                </a:cubicBezTo>
                <a:cubicBezTo>
                  <a:pt x="322" y="192"/>
                  <a:pt x="323" y="192"/>
                  <a:pt x="323" y="191"/>
                </a:cubicBezTo>
                <a:cubicBezTo>
                  <a:pt x="323" y="190"/>
                  <a:pt x="324" y="190"/>
                  <a:pt x="324" y="189"/>
                </a:cubicBezTo>
                <a:cubicBezTo>
                  <a:pt x="325" y="188"/>
                  <a:pt x="326" y="187"/>
                  <a:pt x="327" y="186"/>
                </a:cubicBezTo>
                <a:cubicBezTo>
                  <a:pt x="342" y="168"/>
                  <a:pt x="360" y="162"/>
                  <a:pt x="380" y="162"/>
                </a:cubicBezTo>
                <a:cubicBezTo>
                  <a:pt x="398" y="162"/>
                  <a:pt x="416" y="169"/>
                  <a:pt x="427" y="180"/>
                </a:cubicBezTo>
                <a:cubicBezTo>
                  <a:pt x="439" y="192"/>
                  <a:pt x="447" y="210"/>
                  <a:pt x="447" y="229"/>
                </a:cubicBezTo>
                <a:cubicBezTo>
                  <a:pt x="447" y="254"/>
                  <a:pt x="447" y="254"/>
                  <a:pt x="447" y="254"/>
                </a:cubicBezTo>
                <a:cubicBezTo>
                  <a:pt x="447" y="389"/>
                  <a:pt x="447" y="389"/>
                  <a:pt x="447" y="389"/>
                </a:cubicBezTo>
                <a:cubicBezTo>
                  <a:pt x="447" y="393"/>
                  <a:pt x="449" y="395"/>
                  <a:pt x="453" y="395"/>
                </a:cubicBezTo>
                <a:cubicBezTo>
                  <a:pt x="488" y="395"/>
                  <a:pt x="488" y="395"/>
                  <a:pt x="488" y="395"/>
                </a:cubicBezTo>
                <a:cubicBezTo>
                  <a:pt x="492" y="395"/>
                  <a:pt x="493" y="393"/>
                  <a:pt x="493" y="389"/>
                </a:cubicBezTo>
                <a:cubicBezTo>
                  <a:pt x="493" y="254"/>
                  <a:pt x="493" y="254"/>
                  <a:pt x="493" y="254"/>
                </a:cubicBezTo>
                <a:cubicBezTo>
                  <a:pt x="493" y="228"/>
                  <a:pt x="493" y="228"/>
                  <a:pt x="493" y="228"/>
                </a:cubicBezTo>
                <a:cubicBezTo>
                  <a:pt x="493" y="227"/>
                  <a:pt x="493" y="227"/>
                  <a:pt x="493" y="227"/>
                </a:cubicBezTo>
                <a:close/>
                <a:moveTo>
                  <a:pt x="105" y="0"/>
                </a:moveTo>
                <a:cubicBezTo>
                  <a:pt x="84" y="0"/>
                  <a:pt x="67" y="17"/>
                  <a:pt x="67" y="38"/>
                </a:cubicBezTo>
                <a:cubicBezTo>
                  <a:pt x="67" y="58"/>
                  <a:pt x="84" y="75"/>
                  <a:pt x="105" y="75"/>
                </a:cubicBezTo>
                <a:cubicBezTo>
                  <a:pt x="125" y="75"/>
                  <a:pt x="142" y="58"/>
                  <a:pt x="142" y="38"/>
                </a:cubicBezTo>
                <a:cubicBezTo>
                  <a:pt x="142" y="17"/>
                  <a:pt x="125" y="0"/>
                  <a:pt x="105" y="0"/>
                </a:cubicBezTo>
                <a:moveTo>
                  <a:pt x="1386" y="179"/>
                </a:moveTo>
                <a:cubicBezTo>
                  <a:pt x="1390" y="177"/>
                  <a:pt x="1391" y="173"/>
                  <a:pt x="1389" y="169"/>
                </a:cubicBezTo>
                <a:cubicBezTo>
                  <a:pt x="1385" y="162"/>
                  <a:pt x="1380" y="156"/>
                  <a:pt x="1374" y="149"/>
                </a:cubicBezTo>
                <a:cubicBezTo>
                  <a:pt x="1355" y="128"/>
                  <a:pt x="1322" y="116"/>
                  <a:pt x="1292" y="116"/>
                </a:cubicBezTo>
                <a:cubicBezTo>
                  <a:pt x="1243" y="116"/>
                  <a:pt x="1223" y="150"/>
                  <a:pt x="1223" y="150"/>
                </a:cubicBezTo>
                <a:cubicBezTo>
                  <a:pt x="1223" y="126"/>
                  <a:pt x="1223" y="126"/>
                  <a:pt x="1223" y="126"/>
                </a:cubicBezTo>
                <a:cubicBezTo>
                  <a:pt x="1223" y="123"/>
                  <a:pt x="1221" y="121"/>
                  <a:pt x="1218" y="121"/>
                </a:cubicBezTo>
                <a:cubicBezTo>
                  <a:pt x="1183" y="121"/>
                  <a:pt x="1183" y="121"/>
                  <a:pt x="1183" y="121"/>
                </a:cubicBezTo>
                <a:cubicBezTo>
                  <a:pt x="1179" y="121"/>
                  <a:pt x="1177" y="122"/>
                  <a:pt x="1177" y="126"/>
                </a:cubicBezTo>
                <a:cubicBezTo>
                  <a:pt x="1177" y="231"/>
                  <a:pt x="1177" y="231"/>
                  <a:pt x="1177" y="231"/>
                </a:cubicBezTo>
                <a:cubicBezTo>
                  <a:pt x="1177" y="235"/>
                  <a:pt x="1177" y="238"/>
                  <a:pt x="1177" y="242"/>
                </a:cubicBezTo>
                <a:cubicBezTo>
                  <a:pt x="1177" y="244"/>
                  <a:pt x="1177" y="247"/>
                  <a:pt x="1177" y="250"/>
                </a:cubicBezTo>
                <a:cubicBezTo>
                  <a:pt x="1177" y="389"/>
                  <a:pt x="1177" y="389"/>
                  <a:pt x="1177" y="389"/>
                </a:cubicBezTo>
                <a:cubicBezTo>
                  <a:pt x="1177" y="393"/>
                  <a:pt x="1179" y="395"/>
                  <a:pt x="1183" y="395"/>
                </a:cubicBezTo>
                <a:cubicBezTo>
                  <a:pt x="1218" y="395"/>
                  <a:pt x="1218" y="395"/>
                  <a:pt x="1218" y="395"/>
                </a:cubicBezTo>
                <a:cubicBezTo>
                  <a:pt x="1221" y="395"/>
                  <a:pt x="1223" y="392"/>
                  <a:pt x="1223" y="389"/>
                </a:cubicBezTo>
                <a:cubicBezTo>
                  <a:pt x="1223" y="251"/>
                  <a:pt x="1223" y="251"/>
                  <a:pt x="1223" y="251"/>
                </a:cubicBezTo>
                <a:cubicBezTo>
                  <a:pt x="1223" y="250"/>
                  <a:pt x="1223" y="250"/>
                  <a:pt x="1223" y="250"/>
                </a:cubicBezTo>
                <a:cubicBezTo>
                  <a:pt x="1223" y="250"/>
                  <a:pt x="1223" y="250"/>
                  <a:pt x="1223" y="250"/>
                </a:cubicBezTo>
                <a:cubicBezTo>
                  <a:pt x="1223" y="243"/>
                  <a:pt x="1223" y="241"/>
                  <a:pt x="1223" y="236"/>
                </a:cubicBezTo>
                <a:cubicBezTo>
                  <a:pt x="1223" y="236"/>
                  <a:pt x="1223" y="235"/>
                  <a:pt x="1223" y="235"/>
                </a:cubicBezTo>
                <a:cubicBezTo>
                  <a:pt x="1223" y="234"/>
                  <a:pt x="1223" y="233"/>
                  <a:pt x="1223" y="232"/>
                </a:cubicBezTo>
                <a:cubicBezTo>
                  <a:pt x="1223" y="232"/>
                  <a:pt x="1223" y="231"/>
                  <a:pt x="1223" y="231"/>
                </a:cubicBezTo>
                <a:cubicBezTo>
                  <a:pt x="1223" y="230"/>
                  <a:pt x="1223" y="229"/>
                  <a:pt x="1224" y="228"/>
                </a:cubicBezTo>
                <a:cubicBezTo>
                  <a:pt x="1224" y="228"/>
                  <a:pt x="1224" y="224"/>
                  <a:pt x="1224" y="223"/>
                </a:cubicBezTo>
                <a:cubicBezTo>
                  <a:pt x="1224" y="222"/>
                  <a:pt x="1224" y="222"/>
                  <a:pt x="1224" y="221"/>
                </a:cubicBezTo>
                <a:cubicBezTo>
                  <a:pt x="1224" y="220"/>
                  <a:pt x="1224" y="220"/>
                  <a:pt x="1224" y="219"/>
                </a:cubicBezTo>
                <a:cubicBezTo>
                  <a:pt x="1224" y="218"/>
                  <a:pt x="1224" y="218"/>
                  <a:pt x="1224" y="217"/>
                </a:cubicBezTo>
                <a:cubicBezTo>
                  <a:pt x="1224" y="216"/>
                  <a:pt x="1224" y="216"/>
                  <a:pt x="1224" y="215"/>
                </a:cubicBezTo>
                <a:cubicBezTo>
                  <a:pt x="1225" y="215"/>
                  <a:pt x="1225" y="214"/>
                  <a:pt x="1225" y="213"/>
                </a:cubicBezTo>
                <a:cubicBezTo>
                  <a:pt x="1225" y="213"/>
                  <a:pt x="1225" y="212"/>
                  <a:pt x="1225" y="211"/>
                </a:cubicBezTo>
                <a:cubicBezTo>
                  <a:pt x="1225" y="211"/>
                  <a:pt x="1225" y="210"/>
                  <a:pt x="1226" y="210"/>
                </a:cubicBezTo>
                <a:cubicBezTo>
                  <a:pt x="1226" y="209"/>
                  <a:pt x="1226" y="208"/>
                  <a:pt x="1226" y="208"/>
                </a:cubicBezTo>
                <a:cubicBezTo>
                  <a:pt x="1226" y="207"/>
                  <a:pt x="1226" y="207"/>
                  <a:pt x="1227" y="206"/>
                </a:cubicBezTo>
                <a:cubicBezTo>
                  <a:pt x="1227" y="205"/>
                  <a:pt x="1227" y="205"/>
                  <a:pt x="1227" y="204"/>
                </a:cubicBezTo>
                <a:cubicBezTo>
                  <a:pt x="1227" y="203"/>
                  <a:pt x="1228" y="203"/>
                  <a:pt x="1228" y="202"/>
                </a:cubicBezTo>
                <a:cubicBezTo>
                  <a:pt x="1228" y="202"/>
                  <a:pt x="1228" y="201"/>
                  <a:pt x="1229" y="200"/>
                </a:cubicBezTo>
                <a:cubicBezTo>
                  <a:pt x="1229" y="200"/>
                  <a:pt x="1229" y="199"/>
                  <a:pt x="1230" y="199"/>
                </a:cubicBezTo>
                <a:cubicBezTo>
                  <a:pt x="1230" y="198"/>
                  <a:pt x="1230" y="197"/>
                  <a:pt x="1230" y="197"/>
                </a:cubicBezTo>
                <a:cubicBezTo>
                  <a:pt x="1231" y="196"/>
                  <a:pt x="1231" y="195"/>
                  <a:pt x="1232" y="195"/>
                </a:cubicBezTo>
                <a:cubicBezTo>
                  <a:pt x="1232" y="194"/>
                  <a:pt x="1232" y="194"/>
                  <a:pt x="1232" y="193"/>
                </a:cubicBezTo>
                <a:cubicBezTo>
                  <a:pt x="1233" y="192"/>
                  <a:pt x="1233" y="192"/>
                  <a:pt x="1234" y="191"/>
                </a:cubicBezTo>
                <a:cubicBezTo>
                  <a:pt x="1234" y="190"/>
                  <a:pt x="1235" y="190"/>
                  <a:pt x="1235" y="189"/>
                </a:cubicBezTo>
                <a:cubicBezTo>
                  <a:pt x="1236" y="188"/>
                  <a:pt x="1237" y="187"/>
                  <a:pt x="1238" y="186"/>
                </a:cubicBezTo>
                <a:cubicBezTo>
                  <a:pt x="1253" y="168"/>
                  <a:pt x="1271" y="162"/>
                  <a:pt x="1291" y="162"/>
                </a:cubicBezTo>
                <a:cubicBezTo>
                  <a:pt x="1308" y="162"/>
                  <a:pt x="1328" y="169"/>
                  <a:pt x="1338" y="180"/>
                </a:cubicBezTo>
                <a:cubicBezTo>
                  <a:pt x="1341" y="184"/>
                  <a:pt x="1345" y="188"/>
                  <a:pt x="1348" y="192"/>
                </a:cubicBezTo>
                <a:cubicBezTo>
                  <a:pt x="1350" y="196"/>
                  <a:pt x="1354" y="197"/>
                  <a:pt x="1357" y="195"/>
                </a:cubicBezTo>
                <a:lnTo>
                  <a:pt x="1386" y="179"/>
                </a:lnTo>
                <a:close/>
                <a:moveTo>
                  <a:pt x="1106" y="268"/>
                </a:moveTo>
                <a:cubicBezTo>
                  <a:pt x="1109" y="268"/>
                  <a:pt x="1112" y="265"/>
                  <a:pt x="1112" y="262"/>
                </a:cubicBezTo>
                <a:cubicBezTo>
                  <a:pt x="1112" y="256"/>
                  <a:pt x="1112" y="249"/>
                  <a:pt x="1112" y="246"/>
                </a:cubicBezTo>
                <a:cubicBezTo>
                  <a:pt x="1107" y="184"/>
                  <a:pt x="1065" y="133"/>
                  <a:pt x="1010" y="120"/>
                </a:cubicBezTo>
                <a:cubicBezTo>
                  <a:pt x="1006" y="119"/>
                  <a:pt x="1002" y="122"/>
                  <a:pt x="1002" y="126"/>
                </a:cubicBezTo>
                <a:cubicBezTo>
                  <a:pt x="1002" y="164"/>
                  <a:pt x="1002" y="164"/>
                  <a:pt x="1002" y="164"/>
                </a:cubicBezTo>
                <a:cubicBezTo>
                  <a:pt x="1002" y="166"/>
                  <a:pt x="1004" y="169"/>
                  <a:pt x="1006" y="170"/>
                </a:cubicBezTo>
                <a:cubicBezTo>
                  <a:pt x="1032" y="179"/>
                  <a:pt x="1053" y="201"/>
                  <a:pt x="1062" y="229"/>
                </a:cubicBezTo>
                <a:cubicBezTo>
                  <a:pt x="900" y="229"/>
                  <a:pt x="900" y="229"/>
                  <a:pt x="900" y="229"/>
                </a:cubicBezTo>
                <a:cubicBezTo>
                  <a:pt x="909" y="201"/>
                  <a:pt x="930" y="179"/>
                  <a:pt x="956" y="170"/>
                </a:cubicBezTo>
                <a:cubicBezTo>
                  <a:pt x="958" y="169"/>
                  <a:pt x="960" y="166"/>
                  <a:pt x="960" y="164"/>
                </a:cubicBezTo>
                <a:cubicBezTo>
                  <a:pt x="960" y="126"/>
                  <a:pt x="960" y="126"/>
                  <a:pt x="960" y="126"/>
                </a:cubicBezTo>
                <a:cubicBezTo>
                  <a:pt x="960" y="122"/>
                  <a:pt x="956" y="119"/>
                  <a:pt x="952" y="120"/>
                </a:cubicBezTo>
                <a:cubicBezTo>
                  <a:pt x="893" y="134"/>
                  <a:pt x="850" y="191"/>
                  <a:pt x="850" y="258"/>
                </a:cubicBezTo>
                <a:cubicBezTo>
                  <a:pt x="850" y="337"/>
                  <a:pt x="908" y="400"/>
                  <a:pt x="981" y="400"/>
                </a:cubicBezTo>
                <a:cubicBezTo>
                  <a:pt x="1032" y="400"/>
                  <a:pt x="1076" y="369"/>
                  <a:pt x="1098" y="322"/>
                </a:cubicBezTo>
                <a:cubicBezTo>
                  <a:pt x="1100" y="318"/>
                  <a:pt x="1097" y="313"/>
                  <a:pt x="1092" y="313"/>
                </a:cubicBezTo>
                <a:cubicBezTo>
                  <a:pt x="1055" y="313"/>
                  <a:pt x="1055" y="313"/>
                  <a:pt x="1055" y="313"/>
                </a:cubicBezTo>
                <a:cubicBezTo>
                  <a:pt x="1053" y="313"/>
                  <a:pt x="1051" y="314"/>
                  <a:pt x="1049" y="316"/>
                </a:cubicBezTo>
                <a:cubicBezTo>
                  <a:pt x="1034" y="339"/>
                  <a:pt x="1009" y="354"/>
                  <a:pt x="981" y="354"/>
                </a:cubicBezTo>
                <a:cubicBezTo>
                  <a:pt x="936" y="354"/>
                  <a:pt x="900" y="316"/>
                  <a:pt x="896" y="268"/>
                </a:cubicBezTo>
                <a:cubicBezTo>
                  <a:pt x="1066" y="268"/>
                  <a:pt x="1066" y="268"/>
                  <a:pt x="1066" y="268"/>
                </a:cubicBezTo>
                <a:cubicBezTo>
                  <a:pt x="1066" y="268"/>
                  <a:pt x="1066" y="268"/>
                  <a:pt x="1066" y="268"/>
                </a:cubicBezTo>
                <a:lnTo>
                  <a:pt x="1106" y="268"/>
                </a:lnTo>
                <a:close/>
                <a:moveTo>
                  <a:pt x="1692" y="232"/>
                </a:moveTo>
                <a:cubicBezTo>
                  <a:pt x="1692" y="126"/>
                  <a:pt x="1692" y="126"/>
                  <a:pt x="1692" y="126"/>
                </a:cubicBezTo>
                <a:cubicBezTo>
                  <a:pt x="1692" y="123"/>
                  <a:pt x="1690" y="121"/>
                  <a:pt x="1686" y="121"/>
                </a:cubicBezTo>
                <a:cubicBezTo>
                  <a:pt x="1651" y="121"/>
                  <a:pt x="1651" y="121"/>
                  <a:pt x="1651" y="121"/>
                </a:cubicBezTo>
                <a:cubicBezTo>
                  <a:pt x="1648" y="121"/>
                  <a:pt x="1646" y="123"/>
                  <a:pt x="1646" y="126"/>
                </a:cubicBezTo>
                <a:cubicBezTo>
                  <a:pt x="1646" y="149"/>
                  <a:pt x="1646" y="149"/>
                  <a:pt x="1646" y="149"/>
                </a:cubicBezTo>
                <a:cubicBezTo>
                  <a:pt x="1628" y="133"/>
                  <a:pt x="1607" y="121"/>
                  <a:pt x="1583" y="116"/>
                </a:cubicBezTo>
                <a:cubicBezTo>
                  <a:pt x="1580" y="115"/>
                  <a:pt x="1578" y="117"/>
                  <a:pt x="1578" y="120"/>
                </a:cubicBezTo>
                <a:cubicBezTo>
                  <a:pt x="1578" y="161"/>
                  <a:pt x="1578" y="161"/>
                  <a:pt x="1578" y="161"/>
                </a:cubicBezTo>
                <a:cubicBezTo>
                  <a:pt x="1578" y="163"/>
                  <a:pt x="1579" y="165"/>
                  <a:pt x="1581" y="165"/>
                </a:cubicBezTo>
                <a:cubicBezTo>
                  <a:pt x="1619" y="176"/>
                  <a:pt x="1648" y="213"/>
                  <a:pt x="1648" y="258"/>
                </a:cubicBezTo>
                <a:cubicBezTo>
                  <a:pt x="1648" y="311"/>
                  <a:pt x="1608" y="354"/>
                  <a:pt x="1558" y="354"/>
                </a:cubicBezTo>
                <a:cubicBezTo>
                  <a:pt x="1509" y="354"/>
                  <a:pt x="1469" y="311"/>
                  <a:pt x="1469" y="258"/>
                </a:cubicBezTo>
                <a:cubicBezTo>
                  <a:pt x="1469" y="214"/>
                  <a:pt x="1496" y="178"/>
                  <a:pt x="1533" y="166"/>
                </a:cubicBezTo>
                <a:cubicBezTo>
                  <a:pt x="1535" y="165"/>
                  <a:pt x="1536" y="164"/>
                  <a:pt x="1536" y="162"/>
                </a:cubicBezTo>
                <a:cubicBezTo>
                  <a:pt x="1536" y="120"/>
                  <a:pt x="1536" y="120"/>
                  <a:pt x="1536" y="120"/>
                </a:cubicBezTo>
                <a:cubicBezTo>
                  <a:pt x="1536" y="117"/>
                  <a:pt x="1534" y="115"/>
                  <a:pt x="1531" y="116"/>
                </a:cubicBezTo>
                <a:cubicBezTo>
                  <a:pt x="1469" y="128"/>
                  <a:pt x="1422" y="187"/>
                  <a:pt x="1422" y="257"/>
                </a:cubicBezTo>
                <a:cubicBezTo>
                  <a:pt x="1422" y="336"/>
                  <a:pt x="1482" y="400"/>
                  <a:pt x="1557" y="400"/>
                </a:cubicBezTo>
                <a:cubicBezTo>
                  <a:pt x="1591" y="400"/>
                  <a:pt x="1622" y="386"/>
                  <a:pt x="1646" y="364"/>
                </a:cubicBezTo>
                <a:cubicBezTo>
                  <a:pt x="1646" y="390"/>
                  <a:pt x="1646" y="390"/>
                  <a:pt x="1646" y="390"/>
                </a:cubicBezTo>
                <a:cubicBezTo>
                  <a:pt x="1646" y="393"/>
                  <a:pt x="1648" y="395"/>
                  <a:pt x="1651" y="395"/>
                </a:cubicBezTo>
                <a:cubicBezTo>
                  <a:pt x="1686" y="395"/>
                  <a:pt x="1686" y="395"/>
                  <a:pt x="1686" y="395"/>
                </a:cubicBezTo>
                <a:cubicBezTo>
                  <a:pt x="1690" y="395"/>
                  <a:pt x="1692" y="393"/>
                  <a:pt x="1692" y="390"/>
                </a:cubicBezTo>
                <a:cubicBezTo>
                  <a:pt x="1692" y="250"/>
                  <a:pt x="1692" y="250"/>
                  <a:pt x="1692" y="250"/>
                </a:cubicBezTo>
                <a:cubicBezTo>
                  <a:pt x="1692" y="247"/>
                  <a:pt x="1692" y="245"/>
                  <a:pt x="1692" y="242"/>
                </a:cubicBezTo>
                <a:cubicBezTo>
                  <a:pt x="1692" y="239"/>
                  <a:pt x="1692" y="235"/>
                  <a:pt x="1692" y="232"/>
                </a:cubicBezTo>
              </a:path>
            </a:pathLst>
          </a:custGeom>
          <a:solidFill>
            <a:srgbClr val="FF37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72354380"/>
      </p:ext>
    </p:extLst>
  </p:cSld>
  <p:clrMapOvr>
    <a:masterClrMapping/>
  </p:clrMapOvr>
  <p:transition>
    <p:fade/>
  </p:transition>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wo Content Dark Lef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D86AC41-762B-4924-A899-F81343A12E1E}"/>
              </a:ext>
            </a:extLst>
          </p:cNvPr>
          <p:cNvSpPr/>
          <p:nvPr/>
        </p:nvSpPr>
        <p:spPr>
          <a:xfrm>
            <a:off x="906" y="-1"/>
            <a:ext cx="6096000" cy="6858000"/>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42" dirty="0"/>
          </a:p>
        </p:txBody>
      </p:sp>
      <p:sp>
        <p:nvSpPr>
          <p:cNvPr id="4" name="Content Placeholder 3"/>
          <p:cNvSpPr>
            <a:spLocks noGrp="1"/>
          </p:cNvSpPr>
          <p:nvPr>
            <p:ph sz="half" idx="2"/>
          </p:nvPr>
        </p:nvSpPr>
        <p:spPr>
          <a:xfrm>
            <a:off x="410878" y="1521183"/>
            <a:ext cx="5292112" cy="4494732"/>
          </a:xfrm>
        </p:spPr>
        <p:txBody>
          <a:bodyPr/>
          <a:lstStyle>
            <a:lvl1pPr>
              <a:defRPr>
                <a:solidFill>
                  <a:schemeClr val="bg1"/>
                </a:solidFill>
              </a:defRPr>
            </a:lvl1pPr>
            <a:lvl2pPr>
              <a:defRPr>
                <a:solidFill>
                  <a:schemeClr val="bg1"/>
                </a:solidFill>
              </a:defRPr>
            </a:lvl2pPr>
            <a:lvl3pPr>
              <a:defRPr>
                <a:solidFill>
                  <a:schemeClr val="accent3"/>
                </a:solidFill>
              </a:defRPr>
            </a:lvl3pPr>
            <a:lvl4pPr>
              <a:buClr>
                <a:schemeClr val="accent3"/>
              </a:buClr>
              <a:defRPr>
                <a:solidFill>
                  <a:schemeClr val="bg1"/>
                </a:solidFill>
              </a:defRPr>
            </a:lvl4pPr>
            <a:lvl5pPr>
              <a:buClr>
                <a:schemeClr val="accent3"/>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2"/>
          <p:cNvSpPr>
            <a:spLocks noGrp="1"/>
          </p:cNvSpPr>
          <p:nvPr>
            <p:ph sz="half" idx="1"/>
          </p:nvPr>
        </p:nvSpPr>
        <p:spPr>
          <a:xfrm>
            <a:off x="6487250" y="1521678"/>
            <a:ext cx="5292000" cy="44947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lvl1pPr>
              <a:defRPr>
                <a:solidFill>
                  <a:schemeClr val="bg1"/>
                </a:solidFill>
              </a:defRPr>
            </a:lvl1pPr>
          </a:lstStyle>
          <a:p>
            <a:r>
              <a:rPr lang="en-GB"/>
              <a:t>Document Name</a:t>
            </a:r>
            <a:endParaRPr lang="en-US"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32B354EE-31EA-4FC2-9496-7B6202183237}" type="slidenum">
              <a:rPr lang="en-US" smtClean="0"/>
              <a:pPr/>
              <a:t>‹#›</a:t>
            </a:fld>
            <a:endParaRPr lang="en-US" dirty="0"/>
          </a:p>
        </p:txBody>
      </p:sp>
      <p:sp>
        <p:nvSpPr>
          <p:cNvPr id="8" name="Title 7">
            <a:extLst>
              <a:ext uri="{FF2B5EF4-FFF2-40B4-BE49-F238E27FC236}">
                <a16:creationId xmlns:a16="http://schemas.microsoft.com/office/drawing/2014/main" id="{FD930A9A-C0DD-4B8F-B286-D07D532A2ED0}"/>
              </a:ext>
            </a:extLst>
          </p:cNvPr>
          <p:cNvSpPr>
            <a:spLocks noGrp="1"/>
          </p:cNvSpPr>
          <p:nvPr>
            <p:ph type="title"/>
          </p:nvPr>
        </p:nvSpPr>
        <p:spPr>
          <a:xfrm>
            <a:off x="6487249" y="411163"/>
            <a:ext cx="5292000" cy="776038"/>
          </a:xfrm>
        </p:spPr>
        <p:txBody>
          <a:bodyPr/>
          <a:lstStyle/>
          <a:p>
            <a:r>
              <a:rPr lang="en-US"/>
              <a:t>Click to edit Master title style</a:t>
            </a:r>
            <a:endParaRPr lang="en-GB"/>
          </a:p>
        </p:txBody>
      </p:sp>
    </p:spTree>
    <p:extLst>
      <p:ext uri="{BB962C8B-B14F-4D97-AF65-F5344CB8AC3E}">
        <p14:creationId xmlns:p14="http://schemas.microsoft.com/office/powerpoint/2010/main" val="1184455796"/>
      </p:ext>
    </p:extLst>
  </p:cSld>
  <p:clrMapOvr>
    <a:masterClrMapping/>
  </p:clrMapOvr>
  <p:transition>
    <p:fade/>
  </p:transition>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Fact Tiles Slide">
    <p:bg>
      <p:bgPr>
        <a:solidFill>
          <a:schemeClr val="tx2"/>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866F170A-22F9-4C51-A3F5-C624133A83B4}"/>
              </a:ext>
            </a:extLst>
          </p:cNvPr>
          <p:cNvSpPr>
            <a:spLocks noGrp="1"/>
          </p:cNvSpPr>
          <p:nvPr>
            <p:ph type="body" sz="quarter" idx="13" hasCustomPrompt="1"/>
          </p:nvPr>
        </p:nvSpPr>
        <p:spPr>
          <a:xfrm>
            <a:off x="0" y="1"/>
            <a:ext cx="4065882" cy="3428999"/>
          </a:xfrm>
        </p:spPr>
        <p:txBody>
          <a:bodyPr anchor="ctr"/>
          <a:lstStyle>
            <a:lvl1pPr algn="ctr">
              <a:lnSpc>
                <a:spcPct val="100000"/>
              </a:lnSpc>
              <a:spcAft>
                <a:spcPts val="0"/>
              </a:spcAft>
              <a:defRPr sz="9100" b="0">
                <a:solidFill>
                  <a:schemeClr val="accent3"/>
                </a:solidFill>
                <a:latin typeface="+mj-lt"/>
              </a:defRPr>
            </a:lvl1pPr>
            <a:lvl2pPr algn="ctr">
              <a:defRPr sz="2200" b="0">
                <a:solidFill>
                  <a:schemeClr val="accent3"/>
                </a:solidFill>
              </a:defRPr>
            </a:lvl2pPr>
          </a:lstStyle>
          <a:p>
            <a:pPr lvl="0"/>
            <a:r>
              <a:rPr lang="en-US" dirty="0"/>
              <a:t>00</a:t>
            </a:r>
          </a:p>
          <a:p>
            <a:pPr lvl="1"/>
            <a:r>
              <a:rPr lang="en-US" dirty="0"/>
              <a:t>Second level</a:t>
            </a:r>
            <a:endParaRPr lang="en-GB" dirty="0"/>
          </a:p>
        </p:txBody>
      </p:sp>
      <p:sp>
        <p:nvSpPr>
          <p:cNvPr id="8" name="Text Placeholder 6">
            <a:extLst>
              <a:ext uri="{FF2B5EF4-FFF2-40B4-BE49-F238E27FC236}">
                <a16:creationId xmlns:a16="http://schemas.microsoft.com/office/drawing/2014/main" id="{978A6CC2-2B2B-49B7-988E-7B29E92604E5}"/>
              </a:ext>
            </a:extLst>
          </p:cNvPr>
          <p:cNvSpPr>
            <a:spLocks noGrp="1"/>
          </p:cNvSpPr>
          <p:nvPr>
            <p:ph type="body" sz="quarter" idx="14" hasCustomPrompt="1"/>
          </p:nvPr>
        </p:nvSpPr>
        <p:spPr>
          <a:xfrm>
            <a:off x="4063059" y="1"/>
            <a:ext cx="4065882" cy="3428999"/>
          </a:xfrm>
          <a:solidFill>
            <a:schemeClr val="accent3"/>
          </a:solidFill>
        </p:spPr>
        <p:txBody>
          <a:bodyPr anchor="ctr"/>
          <a:lstStyle>
            <a:lvl1pPr algn="ctr">
              <a:lnSpc>
                <a:spcPct val="100000"/>
              </a:lnSpc>
              <a:spcAft>
                <a:spcPts val="0"/>
              </a:spcAft>
              <a:defRPr sz="9100" b="0">
                <a:latin typeface="+mj-lt"/>
              </a:defRPr>
            </a:lvl1pPr>
            <a:lvl2pPr algn="ctr">
              <a:defRPr sz="2200" b="0"/>
            </a:lvl2pPr>
          </a:lstStyle>
          <a:p>
            <a:pPr lvl="0"/>
            <a:r>
              <a:rPr lang="en-US" dirty="0"/>
              <a:t>00</a:t>
            </a:r>
          </a:p>
          <a:p>
            <a:pPr lvl="1"/>
            <a:r>
              <a:rPr lang="en-US" dirty="0"/>
              <a:t>Second level</a:t>
            </a:r>
            <a:endParaRPr lang="en-GB" dirty="0"/>
          </a:p>
        </p:txBody>
      </p:sp>
      <p:sp>
        <p:nvSpPr>
          <p:cNvPr id="9" name="Text Placeholder 6">
            <a:extLst>
              <a:ext uri="{FF2B5EF4-FFF2-40B4-BE49-F238E27FC236}">
                <a16:creationId xmlns:a16="http://schemas.microsoft.com/office/drawing/2014/main" id="{56AC9356-AA84-4F4C-B1FF-5212DBD30167}"/>
              </a:ext>
            </a:extLst>
          </p:cNvPr>
          <p:cNvSpPr>
            <a:spLocks noGrp="1"/>
          </p:cNvSpPr>
          <p:nvPr>
            <p:ph type="body" sz="quarter" idx="15" hasCustomPrompt="1"/>
          </p:nvPr>
        </p:nvSpPr>
        <p:spPr>
          <a:xfrm>
            <a:off x="8126118" y="1"/>
            <a:ext cx="4065882" cy="3428999"/>
          </a:xfrm>
          <a:solidFill>
            <a:schemeClr val="accent1"/>
          </a:solidFill>
        </p:spPr>
        <p:txBody>
          <a:bodyPr anchor="ctr"/>
          <a:lstStyle>
            <a:lvl1pPr algn="ctr">
              <a:lnSpc>
                <a:spcPct val="100000"/>
              </a:lnSpc>
              <a:spcAft>
                <a:spcPts val="0"/>
              </a:spcAft>
              <a:defRPr sz="9100" b="0">
                <a:solidFill>
                  <a:schemeClr val="bg1"/>
                </a:solidFill>
                <a:latin typeface="+mj-lt"/>
              </a:defRPr>
            </a:lvl1pPr>
            <a:lvl2pPr algn="ctr">
              <a:defRPr sz="2200" b="0">
                <a:solidFill>
                  <a:schemeClr val="bg1"/>
                </a:solidFill>
              </a:defRPr>
            </a:lvl2pPr>
          </a:lstStyle>
          <a:p>
            <a:pPr lvl="0"/>
            <a:r>
              <a:rPr lang="en-US" dirty="0"/>
              <a:t>00</a:t>
            </a:r>
          </a:p>
          <a:p>
            <a:pPr lvl="1"/>
            <a:r>
              <a:rPr lang="en-US" dirty="0"/>
              <a:t>Second level</a:t>
            </a:r>
            <a:endParaRPr lang="en-GB" dirty="0"/>
          </a:p>
        </p:txBody>
      </p:sp>
      <p:sp>
        <p:nvSpPr>
          <p:cNvPr id="10" name="Text Placeholder 6">
            <a:extLst>
              <a:ext uri="{FF2B5EF4-FFF2-40B4-BE49-F238E27FC236}">
                <a16:creationId xmlns:a16="http://schemas.microsoft.com/office/drawing/2014/main" id="{F0EEEBEF-05E3-4523-B510-9AB7EDBF07CF}"/>
              </a:ext>
            </a:extLst>
          </p:cNvPr>
          <p:cNvSpPr>
            <a:spLocks noGrp="1"/>
          </p:cNvSpPr>
          <p:nvPr>
            <p:ph type="body" sz="quarter" idx="16" hasCustomPrompt="1"/>
          </p:nvPr>
        </p:nvSpPr>
        <p:spPr>
          <a:xfrm>
            <a:off x="8126118" y="3429079"/>
            <a:ext cx="4065882" cy="3428999"/>
          </a:xfrm>
        </p:spPr>
        <p:txBody>
          <a:bodyPr anchor="ctr"/>
          <a:lstStyle>
            <a:lvl1pPr algn="ctr">
              <a:lnSpc>
                <a:spcPct val="100000"/>
              </a:lnSpc>
              <a:spcAft>
                <a:spcPts val="0"/>
              </a:spcAft>
              <a:defRPr sz="9100" b="0">
                <a:solidFill>
                  <a:schemeClr val="accent3"/>
                </a:solidFill>
                <a:latin typeface="+mj-lt"/>
              </a:defRPr>
            </a:lvl1pPr>
            <a:lvl2pPr algn="ctr">
              <a:defRPr sz="2200" b="0">
                <a:solidFill>
                  <a:schemeClr val="accent3"/>
                </a:solidFill>
              </a:defRPr>
            </a:lvl2pPr>
          </a:lstStyle>
          <a:p>
            <a:pPr lvl="0"/>
            <a:r>
              <a:rPr lang="en-US" dirty="0"/>
              <a:t>00</a:t>
            </a:r>
          </a:p>
          <a:p>
            <a:pPr lvl="1"/>
            <a:r>
              <a:rPr lang="en-US" dirty="0"/>
              <a:t>Second level</a:t>
            </a:r>
            <a:endParaRPr lang="en-GB" dirty="0"/>
          </a:p>
        </p:txBody>
      </p:sp>
      <p:sp>
        <p:nvSpPr>
          <p:cNvPr id="11" name="Text Placeholder 6">
            <a:extLst>
              <a:ext uri="{FF2B5EF4-FFF2-40B4-BE49-F238E27FC236}">
                <a16:creationId xmlns:a16="http://schemas.microsoft.com/office/drawing/2014/main" id="{E8DD8EBF-71D9-4384-B696-89AB7269F144}"/>
              </a:ext>
            </a:extLst>
          </p:cNvPr>
          <p:cNvSpPr>
            <a:spLocks noGrp="1"/>
          </p:cNvSpPr>
          <p:nvPr>
            <p:ph type="body" sz="quarter" idx="17" hasCustomPrompt="1"/>
          </p:nvPr>
        </p:nvSpPr>
        <p:spPr>
          <a:xfrm>
            <a:off x="4063059" y="3429079"/>
            <a:ext cx="4065882" cy="3428999"/>
          </a:xfrm>
          <a:solidFill>
            <a:schemeClr val="bg1"/>
          </a:solidFill>
        </p:spPr>
        <p:txBody>
          <a:bodyPr anchor="ctr"/>
          <a:lstStyle>
            <a:lvl1pPr algn="ctr">
              <a:lnSpc>
                <a:spcPct val="100000"/>
              </a:lnSpc>
              <a:spcAft>
                <a:spcPts val="0"/>
              </a:spcAft>
              <a:defRPr sz="9100" b="0">
                <a:solidFill>
                  <a:schemeClr val="accent5"/>
                </a:solidFill>
                <a:latin typeface="+mj-lt"/>
              </a:defRPr>
            </a:lvl1pPr>
            <a:lvl2pPr algn="ctr">
              <a:defRPr sz="2200" b="0">
                <a:solidFill>
                  <a:schemeClr val="accent5"/>
                </a:solidFill>
              </a:defRPr>
            </a:lvl2pPr>
          </a:lstStyle>
          <a:p>
            <a:pPr lvl="0"/>
            <a:r>
              <a:rPr lang="en-US" dirty="0"/>
              <a:t>00</a:t>
            </a:r>
          </a:p>
          <a:p>
            <a:pPr lvl="1"/>
            <a:r>
              <a:rPr lang="en-US" dirty="0"/>
              <a:t>Second level</a:t>
            </a:r>
            <a:endParaRPr lang="en-GB" dirty="0"/>
          </a:p>
        </p:txBody>
      </p:sp>
      <p:sp>
        <p:nvSpPr>
          <p:cNvPr id="12" name="Text Placeholder 6">
            <a:extLst>
              <a:ext uri="{FF2B5EF4-FFF2-40B4-BE49-F238E27FC236}">
                <a16:creationId xmlns:a16="http://schemas.microsoft.com/office/drawing/2014/main" id="{9BB48325-C2CB-490C-BEC5-9F1DE6155CF1}"/>
              </a:ext>
            </a:extLst>
          </p:cNvPr>
          <p:cNvSpPr>
            <a:spLocks noGrp="1"/>
          </p:cNvSpPr>
          <p:nvPr>
            <p:ph type="body" sz="quarter" idx="18" hasCustomPrompt="1"/>
          </p:nvPr>
        </p:nvSpPr>
        <p:spPr>
          <a:xfrm>
            <a:off x="0" y="3429079"/>
            <a:ext cx="4065882" cy="3428999"/>
          </a:xfrm>
          <a:solidFill>
            <a:schemeClr val="accent1"/>
          </a:solidFill>
        </p:spPr>
        <p:txBody>
          <a:bodyPr anchor="ctr"/>
          <a:lstStyle>
            <a:lvl1pPr algn="ctr">
              <a:lnSpc>
                <a:spcPct val="100000"/>
              </a:lnSpc>
              <a:spcAft>
                <a:spcPts val="0"/>
              </a:spcAft>
              <a:defRPr sz="9100" b="0">
                <a:solidFill>
                  <a:schemeClr val="bg1"/>
                </a:solidFill>
                <a:latin typeface="+mj-lt"/>
              </a:defRPr>
            </a:lvl1pPr>
            <a:lvl2pPr algn="ctr">
              <a:defRPr sz="2200" b="0">
                <a:solidFill>
                  <a:schemeClr val="bg1"/>
                </a:solidFill>
              </a:defRPr>
            </a:lvl2pPr>
          </a:lstStyle>
          <a:p>
            <a:pPr lvl="0"/>
            <a:r>
              <a:rPr lang="en-US" dirty="0"/>
              <a:t>00</a:t>
            </a:r>
          </a:p>
          <a:p>
            <a:pPr lvl="1"/>
            <a:r>
              <a:rPr lang="en-US" dirty="0"/>
              <a:t>Second level</a:t>
            </a:r>
            <a:endParaRPr lang="en-GB" dirty="0"/>
          </a:p>
        </p:txBody>
      </p:sp>
      <p:sp>
        <p:nvSpPr>
          <p:cNvPr id="3" name="Date Placeholder 2">
            <a:extLst>
              <a:ext uri="{FF2B5EF4-FFF2-40B4-BE49-F238E27FC236}">
                <a16:creationId xmlns:a16="http://schemas.microsoft.com/office/drawing/2014/main" id="{40F9A526-7C09-4FE7-AB48-4E3DF8072AB2}"/>
              </a:ext>
            </a:extLst>
          </p:cNvPr>
          <p:cNvSpPr>
            <a:spLocks noGrp="1"/>
          </p:cNvSpPr>
          <p:nvPr>
            <p:ph type="dt" sz="half" idx="10"/>
          </p:nvPr>
        </p:nvSpPr>
        <p:spPr/>
        <p:txBody>
          <a:bodyPr/>
          <a:lstStyle>
            <a:lvl1pPr>
              <a:defRPr>
                <a:solidFill>
                  <a:schemeClr val="bg1"/>
                </a:solidFill>
              </a:defRPr>
            </a:lvl1pPr>
          </a:lstStyle>
          <a:p>
            <a:endParaRPr lang="en-US" dirty="0"/>
          </a:p>
        </p:txBody>
      </p:sp>
      <p:sp>
        <p:nvSpPr>
          <p:cNvPr id="4" name="Footer Placeholder 3">
            <a:extLst>
              <a:ext uri="{FF2B5EF4-FFF2-40B4-BE49-F238E27FC236}">
                <a16:creationId xmlns:a16="http://schemas.microsoft.com/office/drawing/2014/main" id="{C16E0864-1815-47B8-8BBA-B0910E1190F0}"/>
              </a:ext>
            </a:extLst>
          </p:cNvPr>
          <p:cNvSpPr>
            <a:spLocks noGrp="1"/>
          </p:cNvSpPr>
          <p:nvPr>
            <p:ph type="ftr" sz="quarter" idx="11"/>
          </p:nvPr>
        </p:nvSpPr>
        <p:spPr/>
        <p:txBody>
          <a:bodyPr/>
          <a:lstStyle>
            <a:lvl1pPr>
              <a:defRPr>
                <a:solidFill>
                  <a:schemeClr val="bg1"/>
                </a:solidFill>
              </a:defRPr>
            </a:lvl1pPr>
          </a:lstStyle>
          <a:p>
            <a:r>
              <a:rPr lang="en-GB"/>
              <a:t>Document Name</a:t>
            </a:r>
            <a:endParaRPr lang="en-US" dirty="0"/>
          </a:p>
        </p:txBody>
      </p:sp>
      <p:sp>
        <p:nvSpPr>
          <p:cNvPr id="5" name="Slide Number Placeholder 4">
            <a:extLst>
              <a:ext uri="{FF2B5EF4-FFF2-40B4-BE49-F238E27FC236}">
                <a16:creationId xmlns:a16="http://schemas.microsoft.com/office/drawing/2014/main" id="{9DD78EFC-C516-4B8D-8CA7-6B33A2BD773D}"/>
              </a:ext>
            </a:extLst>
          </p:cNvPr>
          <p:cNvSpPr>
            <a:spLocks noGrp="1"/>
          </p:cNvSpPr>
          <p:nvPr>
            <p:ph type="sldNum" sz="quarter" idx="12"/>
          </p:nvPr>
        </p:nvSpPr>
        <p:spPr/>
        <p:txBody>
          <a:bodyPr/>
          <a:lstStyle>
            <a:lvl1pPr>
              <a:defRPr>
                <a:solidFill>
                  <a:schemeClr val="bg1"/>
                </a:solidFill>
              </a:defRPr>
            </a:lvl1pPr>
          </a:lstStyle>
          <a:p>
            <a:fld id="{32B354EE-31EA-4FC2-9496-7B6202183237}" type="slidenum">
              <a:rPr lang="en-US" smtClean="0"/>
              <a:pPr/>
              <a:t>‹#›</a:t>
            </a:fld>
            <a:endParaRPr lang="en-US" dirty="0"/>
          </a:p>
        </p:txBody>
      </p:sp>
    </p:spTree>
    <p:extLst>
      <p:ext uri="{BB962C8B-B14F-4D97-AF65-F5344CB8AC3E}">
        <p14:creationId xmlns:p14="http://schemas.microsoft.com/office/powerpoint/2010/main" val="4258386179"/>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17" name="Freeform 5">
            <a:extLst>
              <a:ext uri="{FF2B5EF4-FFF2-40B4-BE49-F238E27FC236}">
                <a16:creationId xmlns:a16="http://schemas.microsoft.com/office/drawing/2014/main" id="{BA983841-2E67-4BBE-85F6-5824A21EE170}"/>
              </a:ext>
            </a:extLst>
          </p:cNvPr>
          <p:cNvSpPr>
            <a:spLocks noChangeAspect="1" noEditPoints="1"/>
          </p:cNvSpPr>
          <p:nvPr/>
        </p:nvSpPr>
        <p:spPr bwMode="auto">
          <a:xfrm>
            <a:off x="2841600" y="2861916"/>
            <a:ext cx="6508800" cy="1134169"/>
          </a:xfrm>
          <a:custGeom>
            <a:avLst/>
            <a:gdLst>
              <a:gd name="T0" fmla="*/ 2108 w 2301"/>
              <a:gd name="T1" fmla="*/ 43 h 400"/>
              <a:gd name="T2" fmla="*/ 2257 w 2301"/>
              <a:gd name="T3" fmla="*/ 121 h 400"/>
              <a:gd name="T4" fmla="*/ 2154 w 2301"/>
              <a:gd name="T5" fmla="*/ 289 h 400"/>
              <a:gd name="T6" fmla="*/ 2261 w 2301"/>
              <a:gd name="T7" fmla="*/ 295 h 400"/>
              <a:gd name="T8" fmla="*/ 2301 w 2301"/>
              <a:gd name="T9" fmla="*/ 300 h 400"/>
              <a:gd name="T10" fmla="*/ 2108 w 2301"/>
              <a:gd name="T11" fmla="*/ 167 h 400"/>
              <a:gd name="T12" fmla="*/ 548 w 2301"/>
              <a:gd name="T13" fmla="*/ 121 h 400"/>
              <a:gd name="T14" fmla="*/ 643 w 2301"/>
              <a:gd name="T15" fmla="*/ 43 h 400"/>
              <a:gd name="T16" fmla="*/ 746 w 2301"/>
              <a:gd name="T17" fmla="*/ 167 h 400"/>
              <a:gd name="T18" fmla="*/ 729 w 2301"/>
              <a:gd name="T19" fmla="*/ 342 h 400"/>
              <a:gd name="T20" fmla="*/ 789 w 2301"/>
              <a:gd name="T21" fmla="*/ 296 h 400"/>
              <a:gd name="T22" fmla="*/ 622 w 2301"/>
              <a:gd name="T23" fmla="*/ 371 h 400"/>
              <a:gd name="T24" fmla="*/ 1997 w 2301"/>
              <a:gd name="T25" fmla="*/ 297 h 400"/>
              <a:gd name="T26" fmla="*/ 1822 w 2301"/>
              <a:gd name="T27" fmla="*/ 327 h 400"/>
              <a:gd name="T28" fmla="*/ 1954 w 2301"/>
              <a:gd name="T29" fmla="*/ 213 h 400"/>
              <a:gd name="T30" fmla="*/ 1962 w 2301"/>
              <a:gd name="T31" fmla="*/ 141 h 400"/>
              <a:gd name="T32" fmla="*/ 1885 w 2301"/>
              <a:gd name="T33" fmla="*/ 400 h 400"/>
              <a:gd name="T34" fmla="*/ 0 w 2301"/>
              <a:gd name="T35" fmla="*/ 389 h 400"/>
              <a:gd name="T36" fmla="*/ 19 w 2301"/>
              <a:gd name="T37" fmla="*/ 167 h 400"/>
              <a:gd name="T38" fmla="*/ 125 w 2301"/>
              <a:gd name="T39" fmla="*/ 126 h 400"/>
              <a:gd name="T40" fmla="*/ 206 w 2301"/>
              <a:gd name="T41" fmla="*/ 395 h 400"/>
              <a:gd name="T42" fmla="*/ 381 w 2301"/>
              <a:gd name="T43" fmla="*/ 116 h 400"/>
              <a:gd name="T44" fmla="*/ 266 w 2301"/>
              <a:gd name="T45" fmla="*/ 126 h 400"/>
              <a:gd name="T46" fmla="*/ 272 w 2301"/>
              <a:gd name="T47" fmla="*/ 395 h 400"/>
              <a:gd name="T48" fmla="*/ 312 w 2301"/>
              <a:gd name="T49" fmla="*/ 250 h 400"/>
              <a:gd name="T50" fmla="*/ 313 w 2301"/>
              <a:gd name="T51" fmla="*/ 228 h 400"/>
              <a:gd name="T52" fmla="*/ 313 w 2301"/>
              <a:gd name="T53" fmla="*/ 215 h 400"/>
              <a:gd name="T54" fmla="*/ 316 w 2301"/>
              <a:gd name="T55" fmla="*/ 206 h 400"/>
              <a:gd name="T56" fmla="*/ 319 w 2301"/>
              <a:gd name="T57" fmla="*/ 197 h 400"/>
              <a:gd name="T58" fmla="*/ 327 w 2301"/>
              <a:gd name="T59" fmla="*/ 186 h 400"/>
              <a:gd name="T60" fmla="*/ 447 w 2301"/>
              <a:gd name="T61" fmla="*/ 389 h 400"/>
              <a:gd name="T62" fmla="*/ 493 w 2301"/>
              <a:gd name="T63" fmla="*/ 228 h 400"/>
              <a:gd name="T64" fmla="*/ 142 w 2301"/>
              <a:gd name="T65" fmla="*/ 38 h 400"/>
              <a:gd name="T66" fmla="*/ 1292 w 2301"/>
              <a:gd name="T67" fmla="*/ 116 h 400"/>
              <a:gd name="T68" fmla="*/ 1177 w 2301"/>
              <a:gd name="T69" fmla="*/ 126 h 400"/>
              <a:gd name="T70" fmla="*/ 1183 w 2301"/>
              <a:gd name="T71" fmla="*/ 395 h 400"/>
              <a:gd name="T72" fmla="*/ 1223 w 2301"/>
              <a:gd name="T73" fmla="*/ 250 h 400"/>
              <a:gd name="T74" fmla="*/ 1224 w 2301"/>
              <a:gd name="T75" fmla="*/ 228 h 400"/>
              <a:gd name="T76" fmla="*/ 1224 w 2301"/>
              <a:gd name="T77" fmla="*/ 215 h 400"/>
              <a:gd name="T78" fmla="*/ 1227 w 2301"/>
              <a:gd name="T79" fmla="*/ 206 h 400"/>
              <a:gd name="T80" fmla="*/ 1230 w 2301"/>
              <a:gd name="T81" fmla="*/ 197 h 400"/>
              <a:gd name="T82" fmla="*/ 1238 w 2301"/>
              <a:gd name="T83" fmla="*/ 186 h 400"/>
              <a:gd name="T84" fmla="*/ 1386 w 2301"/>
              <a:gd name="T85" fmla="*/ 179 h 400"/>
              <a:gd name="T86" fmla="*/ 1002 w 2301"/>
              <a:gd name="T87" fmla="*/ 126 h 400"/>
              <a:gd name="T88" fmla="*/ 956 w 2301"/>
              <a:gd name="T89" fmla="*/ 170 h 400"/>
              <a:gd name="T90" fmla="*/ 981 w 2301"/>
              <a:gd name="T91" fmla="*/ 400 h 400"/>
              <a:gd name="T92" fmla="*/ 981 w 2301"/>
              <a:gd name="T93" fmla="*/ 354 h 400"/>
              <a:gd name="T94" fmla="*/ 1692 w 2301"/>
              <a:gd name="T95" fmla="*/ 232 h 400"/>
              <a:gd name="T96" fmla="*/ 1646 w 2301"/>
              <a:gd name="T97" fmla="*/ 149 h 400"/>
              <a:gd name="T98" fmla="*/ 1648 w 2301"/>
              <a:gd name="T99" fmla="*/ 258 h 400"/>
              <a:gd name="T100" fmla="*/ 1536 w 2301"/>
              <a:gd name="T101" fmla="*/ 120 h 400"/>
              <a:gd name="T102" fmla="*/ 1646 w 2301"/>
              <a:gd name="T103" fmla="*/ 390 h 400"/>
              <a:gd name="T104" fmla="*/ 1692 w 2301"/>
              <a:gd name="T105" fmla="*/ 242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01" h="400">
                <a:moveTo>
                  <a:pt x="2054" y="162"/>
                </a:moveTo>
                <a:cubicBezTo>
                  <a:pt x="2054" y="126"/>
                  <a:pt x="2054" y="126"/>
                  <a:pt x="2054" y="126"/>
                </a:cubicBezTo>
                <a:cubicBezTo>
                  <a:pt x="2054" y="122"/>
                  <a:pt x="2055" y="121"/>
                  <a:pt x="2059" y="121"/>
                </a:cubicBezTo>
                <a:cubicBezTo>
                  <a:pt x="2108" y="121"/>
                  <a:pt x="2108" y="121"/>
                  <a:pt x="2108" y="121"/>
                </a:cubicBezTo>
                <a:cubicBezTo>
                  <a:pt x="2108" y="43"/>
                  <a:pt x="2108" y="43"/>
                  <a:pt x="2108" y="43"/>
                </a:cubicBezTo>
                <a:cubicBezTo>
                  <a:pt x="2108" y="39"/>
                  <a:pt x="2110" y="38"/>
                  <a:pt x="2113" y="38"/>
                </a:cubicBezTo>
                <a:cubicBezTo>
                  <a:pt x="2149" y="38"/>
                  <a:pt x="2149" y="38"/>
                  <a:pt x="2149" y="38"/>
                </a:cubicBezTo>
                <a:cubicBezTo>
                  <a:pt x="2152" y="38"/>
                  <a:pt x="2154" y="39"/>
                  <a:pt x="2154" y="43"/>
                </a:cubicBezTo>
                <a:cubicBezTo>
                  <a:pt x="2154" y="121"/>
                  <a:pt x="2154" y="121"/>
                  <a:pt x="2154" y="121"/>
                </a:cubicBezTo>
                <a:cubicBezTo>
                  <a:pt x="2257" y="121"/>
                  <a:pt x="2257" y="121"/>
                  <a:pt x="2257" y="121"/>
                </a:cubicBezTo>
                <a:cubicBezTo>
                  <a:pt x="2260" y="121"/>
                  <a:pt x="2262" y="122"/>
                  <a:pt x="2262" y="126"/>
                </a:cubicBezTo>
                <a:cubicBezTo>
                  <a:pt x="2262" y="162"/>
                  <a:pt x="2262" y="162"/>
                  <a:pt x="2262" y="162"/>
                </a:cubicBezTo>
                <a:cubicBezTo>
                  <a:pt x="2262" y="165"/>
                  <a:pt x="2260" y="167"/>
                  <a:pt x="2257" y="167"/>
                </a:cubicBezTo>
                <a:cubicBezTo>
                  <a:pt x="2154" y="167"/>
                  <a:pt x="2154" y="167"/>
                  <a:pt x="2154" y="167"/>
                </a:cubicBezTo>
                <a:cubicBezTo>
                  <a:pt x="2154" y="289"/>
                  <a:pt x="2154" y="289"/>
                  <a:pt x="2154" y="289"/>
                </a:cubicBezTo>
                <a:cubicBezTo>
                  <a:pt x="2154" y="311"/>
                  <a:pt x="2158" y="326"/>
                  <a:pt x="2166" y="336"/>
                </a:cubicBezTo>
                <a:cubicBezTo>
                  <a:pt x="2174" y="348"/>
                  <a:pt x="2186" y="353"/>
                  <a:pt x="2204" y="353"/>
                </a:cubicBezTo>
                <a:cubicBezTo>
                  <a:pt x="2221" y="353"/>
                  <a:pt x="2232" y="351"/>
                  <a:pt x="2240" y="342"/>
                </a:cubicBezTo>
                <a:cubicBezTo>
                  <a:pt x="2248" y="333"/>
                  <a:pt x="2252" y="319"/>
                  <a:pt x="2255" y="300"/>
                </a:cubicBezTo>
                <a:cubicBezTo>
                  <a:pt x="2255" y="297"/>
                  <a:pt x="2257" y="295"/>
                  <a:pt x="2261" y="295"/>
                </a:cubicBezTo>
                <a:cubicBezTo>
                  <a:pt x="2296" y="295"/>
                  <a:pt x="2296" y="295"/>
                  <a:pt x="2296" y="295"/>
                </a:cubicBezTo>
                <a:cubicBezTo>
                  <a:pt x="2298" y="295"/>
                  <a:pt x="2298" y="295"/>
                  <a:pt x="2298" y="295"/>
                </a:cubicBezTo>
                <a:cubicBezTo>
                  <a:pt x="2298" y="295"/>
                  <a:pt x="2299" y="295"/>
                  <a:pt x="2300" y="296"/>
                </a:cubicBezTo>
                <a:cubicBezTo>
                  <a:pt x="2300" y="296"/>
                  <a:pt x="2301" y="297"/>
                  <a:pt x="2301" y="297"/>
                </a:cubicBezTo>
                <a:cubicBezTo>
                  <a:pt x="2301" y="298"/>
                  <a:pt x="2301" y="299"/>
                  <a:pt x="2301" y="300"/>
                </a:cubicBezTo>
                <a:cubicBezTo>
                  <a:pt x="2301" y="327"/>
                  <a:pt x="2295" y="350"/>
                  <a:pt x="2276" y="371"/>
                </a:cubicBezTo>
                <a:cubicBezTo>
                  <a:pt x="2259" y="390"/>
                  <a:pt x="2235" y="400"/>
                  <a:pt x="2205" y="400"/>
                </a:cubicBezTo>
                <a:cubicBezTo>
                  <a:pt x="2173" y="400"/>
                  <a:pt x="2149" y="390"/>
                  <a:pt x="2133" y="371"/>
                </a:cubicBezTo>
                <a:cubicBezTo>
                  <a:pt x="2116" y="353"/>
                  <a:pt x="2108" y="325"/>
                  <a:pt x="2108" y="289"/>
                </a:cubicBezTo>
                <a:cubicBezTo>
                  <a:pt x="2108" y="167"/>
                  <a:pt x="2108" y="167"/>
                  <a:pt x="2108" y="167"/>
                </a:cubicBezTo>
                <a:cubicBezTo>
                  <a:pt x="2059" y="167"/>
                  <a:pt x="2059" y="167"/>
                  <a:pt x="2059" y="167"/>
                </a:cubicBezTo>
                <a:cubicBezTo>
                  <a:pt x="2055" y="167"/>
                  <a:pt x="2054" y="165"/>
                  <a:pt x="2054" y="162"/>
                </a:cubicBezTo>
                <a:moveTo>
                  <a:pt x="543" y="162"/>
                </a:moveTo>
                <a:cubicBezTo>
                  <a:pt x="543" y="126"/>
                  <a:pt x="543" y="126"/>
                  <a:pt x="543" y="126"/>
                </a:cubicBezTo>
                <a:cubicBezTo>
                  <a:pt x="543" y="122"/>
                  <a:pt x="545" y="121"/>
                  <a:pt x="548" y="121"/>
                </a:cubicBezTo>
                <a:cubicBezTo>
                  <a:pt x="597" y="121"/>
                  <a:pt x="597" y="121"/>
                  <a:pt x="597" y="121"/>
                </a:cubicBezTo>
                <a:cubicBezTo>
                  <a:pt x="597" y="43"/>
                  <a:pt x="597" y="43"/>
                  <a:pt x="597" y="43"/>
                </a:cubicBezTo>
                <a:cubicBezTo>
                  <a:pt x="597" y="39"/>
                  <a:pt x="599" y="38"/>
                  <a:pt x="603" y="38"/>
                </a:cubicBezTo>
                <a:cubicBezTo>
                  <a:pt x="638" y="38"/>
                  <a:pt x="638" y="38"/>
                  <a:pt x="638" y="38"/>
                </a:cubicBezTo>
                <a:cubicBezTo>
                  <a:pt x="642" y="38"/>
                  <a:pt x="643" y="39"/>
                  <a:pt x="643" y="43"/>
                </a:cubicBezTo>
                <a:cubicBezTo>
                  <a:pt x="643" y="121"/>
                  <a:pt x="643" y="121"/>
                  <a:pt x="643" y="121"/>
                </a:cubicBezTo>
                <a:cubicBezTo>
                  <a:pt x="746" y="121"/>
                  <a:pt x="746" y="121"/>
                  <a:pt x="746" y="121"/>
                </a:cubicBezTo>
                <a:cubicBezTo>
                  <a:pt x="750" y="121"/>
                  <a:pt x="751" y="122"/>
                  <a:pt x="751" y="126"/>
                </a:cubicBezTo>
                <a:cubicBezTo>
                  <a:pt x="751" y="162"/>
                  <a:pt x="751" y="162"/>
                  <a:pt x="751" y="162"/>
                </a:cubicBezTo>
                <a:cubicBezTo>
                  <a:pt x="751" y="165"/>
                  <a:pt x="750" y="167"/>
                  <a:pt x="746" y="167"/>
                </a:cubicBezTo>
                <a:cubicBezTo>
                  <a:pt x="644" y="167"/>
                  <a:pt x="644" y="167"/>
                  <a:pt x="644" y="167"/>
                </a:cubicBezTo>
                <a:cubicBezTo>
                  <a:pt x="644" y="289"/>
                  <a:pt x="644" y="289"/>
                  <a:pt x="644" y="289"/>
                </a:cubicBezTo>
                <a:cubicBezTo>
                  <a:pt x="644" y="311"/>
                  <a:pt x="648" y="326"/>
                  <a:pt x="655" y="336"/>
                </a:cubicBezTo>
                <a:cubicBezTo>
                  <a:pt x="663" y="348"/>
                  <a:pt x="675" y="353"/>
                  <a:pt x="694" y="353"/>
                </a:cubicBezTo>
                <a:cubicBezTo>
                  <a:pt x="711" y="353"/>
                  <a:pt x="721" y="351"/>
                  <a:pt x="729" y="342"/>
                </a:cubicBezTo>
                <a:cubicBezTo>
                  <a:pt x="737" y="333"/>
                  <a:pt x="741" y="319"/>
                  <a:pt x="744" y="300"/>
                </a:cubicBezTo>
                <a:cubicBezTo>
                  <a:pt x="745" y="297"/>
                  <a:pt x="746" y="295"/>
                  <a:pt x="750" y="295"/>
                </a:cubicBezTo>
                <a:cubicBezTo>
                  <a:pt x="785" y="295"/>
                  <a:pt x="785" y="295"/>
                  <a:pt x="785" y="295"/>
                </a:cubicBezTo>
                <a:cubicBezTo>
                  <a:pt x="787" y="295"/>
                  <a:pt x="787" y="295"/>
                  <a:pt x="787" y="295"/>
                </a:cubicBezTo>
                <a:cubicBezTo>
                  <a:pt x="788" y="295"/>
                  <a:pt x="788" y="295"/>
                  <a:pt x="789" y="296"/>
                </a:cubicBezTo>
                <a:cubicBezTo>
                  <a:pt x="790" y="296"/>
                  <a:pt x="790" y="297"/>
                  <a:pt x="790" y="297"/>
                </a:cubicBezTo>
                <a:cubicBezTo>
                  <a:pt x="790" y="298"/>
                  <a:pt x="790" y="299"/>
                  <a:pt x="790" y="300"/>
                </a:cubicBezTo>
                <a:cubicBezTo>
                  <a:pt x="790" y="327"/>
                  <a:pt x="784" y="350"/>
                  <a:pt x="765" y="371"/>
                </a:cubicBezTo>
                <a:cubicBezTo>
                  <a:pt x="748" y="390"/>
                  <a:pt x="725" y="400"/>
                  <a:pt x="694" y="400"/>
                </a:cubicBezTo>
                <a:cubicBezTo>
                  <a:pt x="662" y="400"/>
                  <a:pt x="639" y="390"/>
                  <a:pt x="622" y="371"/>
                </a:cubicBezTo>
                <a:cubicBezTo>
                  <a:pt x="606" y="353"/>
                  <a:pt x="597" y="325"/>
                  <a:pt x="597" y="289"/>
                </a:cubicBezTo>
                <a:cubicBezTo>
                  <a:pt x="597" y="167"/>
                  <a:pt x="597" y="167"/>
                  <a:pt x="597" y="167"/>
                </a:cubicBezTo>
                <a:cubicBezTo>
                  <a:pt x="548" y="167"/>
                  <a:pt x="548" y="167"/>
                  <a:pt x="548" y="167"/>
                </a:cubicBezTo>
                <a:cubicBezTo>
                  <a:pt x="545" y="167"/>
                  <a:pt x="543" y="165"/>
                  <a:pt x="543" y="162"/>
                </a:cubicBezTo>
                <a:moveTo>
                  <a:pt x="1997" y="297"/>
                </a:moveTo>
                <a:cubicBezTo>
                  <a:pt x="1965" y="297"/>
                  <a:pt x="1965" y="297"/>
                  <a:pt x="1965" y="297"/>
                </a:cubicBezTo>
                <a:cubicBezTo>
                  <a:pt x="1958" y="297"/>
                  <a:pt x="1956" y="301"/>
                  <a:pt x="1955" y="304"/>
                </a:cubicBezTo>
                <a:cubicBezTo>
                  <a:pt x="1950" y="319"/>
                  <a:pt x="1942" y="331"/>
                  <a:pt x="1929" y="340"/>
                </a:cubicBezTo>
                <a:cubicBezTo>
                  <a:pt x="1917" y="349"/>
                  <a:pt x="1902" y="354"/>
                  <a:pt x="1885" y="354"/>
                </a:cubicBezTo>
                <a:cubicBezTo>
                  <a:pt x="1860" y="354"/>
                  <a:pt x="1837" y="345"/>
                  <a:pt x="1822" y="327"/>
                </a:cubicBezTo>
                <a:cubicBezTo>
                  <a:pt x="1807" y="309"/>
                  <a:pt x="1799" y="286"/>
                  <a:pt x="1799" y="258"/>
                </a:cubicBezTo>
                <a:cubicBezTo>
                  <a:pt x="1799" y="230"/>
                  <a:pt x="1807" y="206"/>
                  <a:pt x="1822" y="188"/>
                </a:cubicBezTo>
                <a:cubicBezTo>
                  <a:pt x="1837" y="170"/>
                  <a:pt x="1860" y="162"/>
                  <a:pt x="1885" y="162"/>
                </a:cubicBezTo>
                <a:cubicBezTo>
                  <a:pt x="1902" y="162"/>
                  <a:pt x="1916" y="166"/>
                  <a:pt x="1928" y="175"/>
                </a:cubicBezTo>
                <a:cubicBezTo>
                  <a:pt x="1941" y="184"/>
                  <a:pt x="1949" y="197"/>
                  <a:pt x="1954" y="213"/>
                </a:cubicBezTo>
                <a:cubicBezTo>
                  <a:pt x="1955" y="215"/>
                  <a:pt x="1957" y="219"/>
                  <a:pt x="1964" y="219"/>
                </a:cubicBezTo>
                <a:cubicBezTo>
                  <a:pt x="1996" y="219"/>
                  <a:pt x="1996" y="219"/>
                  <a:pt x="1996" y="219"/>
                </a:cubicBezTo>
                <a:cubicBezTo>
                  <a:pt x="1999" y="219"/>
                  <a:pt x="2002" y="217"/>
                  <a:pt x="2002" y="213"/>
                </a:cubicBezTo>
                <a:cubicBezTo>
                  <a:pt x="2002" y="211"/>
                  <a:pt x="2002" y="209"/>
                  <a:pt x="2001" y="207"/>
                </a:cubicBezTo>
                <a:cubicBezTo>
                  <a:pt x="1994" y="179"/>
                  <a:pt x="1982" y="157"/>
                  <a:pt x="1962" y="141"/>
                </a:cubicBezTo>
                <a:cubicBezTo>
                  <a:pt x="1942" y="125"/>
                  <a:pt x="1916" y="117"/>
                  <a:pt x="1885" y="117"/>
                </a:cubicBezTo>
                <a:cubicBezTo>
                  <a:pt x="1845" y="117"/>
                  <a:pt x="1812" y="130"/>
                  <a:pt x="1788" y="157"/>
                </a:cubicBezTo>
                <a:cubicBezTo>
                  <a:pt x="1765" y="183"/>
                  <a:pt x="1753" y="217"/>
                  <a:pt x="1753" y="258"/>
                </a:cubicBezTo>
                <a:cubicBezTo>
                  <a:pt x="1753" y="299"/>
                  <a:pt x="1765" y="333"/>
                  <a:pt x="1789" y="360"/>
                </a:cubicBezTo>
                <a:cubicBezTo>
                  <a:pt x="1812" y="386"/>
                  <a:pt x="1845" y="400"/>
                  <a:pt x="1885" y="400"/>
                </a:cubicBezTo>
                <a:cubicBezTo>
                  <a:pt x="1916" y="400"/>
                  <a:pt x="1942" y="392"/>
                  <a:pt x="1962" y="376"/>
                </a:cubicBezTo>
                <a:cubicBezTo>
                  <a:pt x="1982" y="360"/>
                  <a:pt x="1995" y="337"/>
                  <a:pt x="2003" y="309"/>
                </a:cubicBezTo>
                <a:cubicBezTo>
                  <a:pt x="2003" y="307"/>
                  <a:pt x="2003" y="305"/>
                  <a:pt x="2003" y="303"/>
                </a:cubicBezTo>
                <a:cubicBezTo>
                  <a:pt x="2003" y="300"/>
                  <a:pt x="2002" y="297"/>
                  <a:pt x="1997" y="297"/>
                </a:cubicBezTo>
                <a:moveTo>
                  <a:pt x="0" y="389"/>
                </a:moveTo>
                <a:cubicBezTo>
                  <a:pt x="0" y="354"/>
                  <a:pt x="0" y="354"/>
                  <a:pt x="0" y="354"/>
                </a:cubicBezTo>
                <a:cubicBezTo>
                  <a:pt x="0" y="351"/>
                  <a:pt x="2" y="349"/>
                  <a:pt x="6" y="349"/>
                </a:cubicBezTo>
                <a:cubicBezTo>
                  <a:pt x="78" y="349"/>
                  <a:pt x="78" y="349"/>
                  <a:pt x="78" y="349"/>
                </a:cubicBezTo>
                <a:cubicBezTo>
                  <a:pt x="78" y="167"/>
                  <a:pt x="78" y="167"/>
                  <a:pt x="78" y="167"/>
                </a:cubicBezTo>
                <a:cubicBezTo>
                  <a:pt x="19" y="167"/>
                  <a:pt x="19" y="167"/>
                  <a:pt x="19" y="167"/>
                </a:cubicBezTo>
                <a:cubicBezTo>
                  <a:pt x="16" y="167"/>
                  <a:pt x="14" y="165"/>
                  <a:pt x="14" y="162"/>
                </a:cubicBezTo>
                <a:cubicBezTo>
                  <a:pt x="14" y="126"/>
                  <a:pt x="14" y="126"/>
                  <a:pt x="14" y="126"/>
                </a:cubicBezTo>
                <a:cubicBezTo>
                  <a:pt x="14" y="122"/>
                  <a:pt x="16" y="121"/>
                  <a:pt x="19" y="121"/>
                </a:cubicBezTo>
                <a:cubicBezTo>
                  <a:pt x="119" y="121"/>
                  <a:pt x="119" y="121"/>
                  <a:pt x="119" y="121"/>
                </a:cubicBezTo>
                <a:cubicBezTo>
                  <a:pt x="122" y="121"/>
                  <a:pt x="124" y="122"/>
                  <a:pt x="125" y="126"/>
                </a:cubicBezTo>
                <a:cubicBezTo>
                  <a:pt x="125" y="349"/>
                  <a:pt x="125" y="349"/>
                  <a:pt x="125" y="349"/>
                </a:cubicBezTo>
                <a:cubicBezTo>
                  <a:pt x="206" y="349"/>
                  <a:pt x="206" y="349"/>
                  <a:pt x="206" y="349"/>
                </a:cubicBezTo>
                <a:cubicBezTo>
                  <a:pt x="209" y="349"/>
                  <a:pt x="211" y="351"/>
                  <a:pt x="211" y="354"/>
                </a:cubicBezTo>
                <a:cubicBezTo>
                  <a:pt x="211" y="389"/>
                  <a:pt x="211" y="389"/>
                  <a:pt x="211" y="389"/>
                </a:cubicBezTo>
                <a:cubicBezTo>
                  <a:pt x="211" y="393"/>
                  <a:pt x="210" y="395"/>
                  <a:pt x="206" y="395"/>
                </a:cubicBezTo>
                <a:cubicBezTo>
                  <a:pt x="6" y="395"/>
                  <a:pt x="6" y="395"/>
                  <a:pt x="6" y="395"/>
                </a:cubicBezTo>
                <a:cubicBezTo>
                  <a:pt x="2" y="395"/>
                  <a:pt x="0" y="393"/>
                  <a:pt x="0" y="389"/>
                </a:cubicBezTo>
                <a:moveTo>
                  <a:pt x="493" y="227"/>
                </a:moveTo>
                <a:cubicBezTo>
                  <a:pt x="493" y="199"/>
                  <a:pt x="485" y="173"/>
                  <a:pt x="463" y="149"/>
                </a:cubicBezTo>
                <a:cubicBezTo>
                  <a:pt x="444" y="128"/>
                  <a:pt x="411" y="116"/>
                  <a:pt x="381" y="116"/>
                </a:cubicBezTo>
                <a:cubicBezTo>
                  <a:pt x="332" y="116"/>
                  <a:pt x="312" y="150"/>
                  <a:pt x="312" y="150"/>
                </a:cubicBezTo>
                <a:cubicBezTo>
                  <a:pt x="312" y="126"/>
                  <a:pt x="312" y="126"/>
                  <a:pt x="312" y="126"/>
                </a:cubicBezTo>
                <a:cubicBezTo>
                  <a:pt x="312" y="122"/>
                  <a:pt x="311" y="121"/>
                  <a:pt x="307" y="121"/>
                </a:cubicBezTo>
                <a:cubicBezTo>
                  <a:pt x="272" y="121"/>
                  <a:pt x="272" y="121"/>
                  <a:pt x="272" y="121"/>
                </a:cubicBezTo>
                <a:cubicBezTo>
                  <a:pt x="268" y="121"/>
                  <a:pt x="266" y="122"/>
                  <a:pt x="266" y="126"/>
                </a:cubicBezTo>
                <a:cubicBezTo>
                  <a:pt x="266" y="231"/>
                  <a:pt x="266" y="231"/>
                  <a:pt x="266" y="231"/>
                </a:cubicBezTo>
                <a:cubicBezTo>
                  <a:pt x="266" y="235"/>
                  <a:pt x="266" y="238"/>
                  <a:pt x="266" y="242"/>
                </a:cubicBezTo>
                <a:cubicBezTo>
                  <a:pt x="266" y="244"/>
                  <a:pt x="266" y="247"/>
                  <a:pt x="266" y="250"/>
                </a:cubicBezTo>
                <a:cubicBezTo>
                  <a:pt x="266" y="389"/>
                  <a:pt x="266" y="389"/>
                  <a:pt x="266" y="389"/>
                </a:cubicBezTo>
                <a:cubicBezTo>
                  <a:pt x="266" y="393"/>
                  <a:pt x="268" y="395"/>
                  <a:pt x="272" y="395"/>
                </a:cubicBezTo>
                <a:cubicBezTo>
                  <a:pt x="307" y="395"/>
                  <a:pt x="307" y="395"/>
                  <a:pt x="307" y="395"/>
                </a:cubicBezTo>
                <a:cubicBezTo>
                  <a:pt x="311" y="395"/>
                  <a:pt x="312" y="393"/>
                  <a:pt x="312" y="389"/>
                </a:cubicBezTo>
                <a:cubicBezTo>
                  <a:pt x="312" y="251"/>
                  <a:pt x="312" y="251"/>
                  <a:pt x="312" y="251"/>
                </a:cubicBezTo>
                <a:cubicBezTo>
                  <a:pt x="312" y="250"/>
                  <a:pt x="312" y="250"/>
                  <a:pt x="312" y="250"/>
                </a:cubicBezTo>
                <a:cubicBezTo>
                  <a:pt x="312" y="250"/>
                  <a:pt x="312" y="250"/>
                  <a:pt x="312" y="250"/>
                </a:cubicBezTo>
                <a:cubicBezTo>
                  <a:pt x="312" y="243"/>
                  <a:pt x="312" y="241"/>
                  <a:pt x="312" y="236"/>
                </a:cubicBezTo>
                <a:cubicBezTo>
                  <a:pt x="312" y="235"/>
                  <a:pt x="312" y="235"/>
                  <a:pt x="312" y="235"/>
                </a:cubicBezTo>
                <a:cubicBezTo>
                  <a:pt x="312" y="234"/>
                  <a:pt x="312" y="233"/>
                  <a:pt x="312" y="232"/>
                </a:cubicBezTo>
                <a:cubicBezTo>
                  <a:pt x="312" y="232"/>
                  <a:pt x="312" y="231"/>
                  <a:pt x="312" y="231"/>
                </a:cubicBezTo>
                <a:cubicBezTo>
                  <a:pt x="312" y="230"/>
                  <a:pt x="313" y="229"/>
                  <a:pt x="313" y="228"/>
                </a:cubicBezTo>
                <a:cubicBezTo>
                  <a:pt x="313" y="228"/>
                  <a:pt x="313" y="224"/>
                  <a:pt x="313" y="223"/>
                </a:cubicBezTo>
                <a:cubicBezTo>
                  <a:pt x="313" y="222"/>
                  <a:pt x="313" y="222"/>
                  <a:pt x="313" y="221"/>
                </a:cubicBezTo>
                <a:cubicBezTo>
                  <a:pt x="313" y="220"/>
                  <a:pt x="313" y="220"/>
                  <a:pt x="313" y="219"/>
                </a:cubicBezTo>
                <a:cubicBezTo>
                  <a:pt x="313" y="218"/>
                  <a:pt x="313" y="218"/>
                  <a:pt x="313" y="217"/>
                </a:cubicBezTo>
                <a:cubicBezTo>
                  <a:pt x="313" y="216"/>
                  <a:pt x="313" y="216"/>
                  <a:pt x="313" y="215"/>
                </a:cubicBezTo>
                <a:cubicBezTo>
                  <a:pt x="314" y="215"/>
                  <a:pt x="314" y="214"/>
                  <a:pt x="314" y="213"/>
                </a:cubicBezTo>
                <a:cubicBezTo>
                  <a:pt x="314" y="213"/>
                  <a:pt x="314" y="212"/>
                  <a:pt x="314" y="211"/>
                </a:cubicBezTo>
                <a:cubicBezTo>
                  <a:pt x="314" y="211"/>
                  <a:pt x="314" y="210"/>
                  <a:pt x="315" y="210"/>
                </a:cubicBezTo>
                <a:cubicBezTo>
                  <a:pt x="315" y="209"/>
                  <a:pt x="315" y="208"/>
                  <a:pt x="315" y="208"/>
                </a:cubicBezTo>
                <a:cubicBezTo>
                  <a:pt x="315" y="207"/>
                  <a:pt x="315" y="207"/>
                  <a:pt x="316" y="206"/>
                </a:cubicBezTo>
                <a:cubicBezTo>
                  <a:pt x="316" y="205"/>
                  <a:pt x="316" y="205"/>
                  <a:pt x="316" y="204"/>
                </a:cubicBezTo>
                <a:cubicBezTo>
                  <a:pt x="316" y="203"/>
                  <a:pt x="317" y="203"/>
                  <a:pt x="317" y="202"/>
                </a:cubicBezTo>
                <a:cubicBezTo>
                  <a:pt x="317" y="202"/>
                  <a:pt x="317" y="201"/>
                  <a:pt x="318" y="200"/>
                </a:cubicBezTo>
                <a:cubicBezTo>
                  <a:pt x="318" y="200"/>
                  <a:pt x="318" y="199"/>
                  <a:pt x="319" y="199"/>
                </a:cubicBezTo>
                <a:cubicBezTo>
                  <a:pt x="319" y="198"/>
                  <a:pt x="319" y="197"/>
                  <a:pt x="319" y="197"/>
                </a:cubicBezTo>
                <a:cubicBezTo>
                  <a:pt x="320" y="196"/>
                  <a:pt x="320" y="195"/>
                  <a:pt x="321" y="195"/>
                </a:cubicBezTo>
                <a:cubicBezTo>
                  <a:pt x="321" y="194"/>
                  <a:pt x="321" y="194"/>
                  <a:pt x="322" y="193"/>
                </a:cubicBezTo>
                <a:cubicBezTo>
                  <a:pt x="322" y="192"/>
                  <a:pt x="323" y="192"/>
                  <a:pt x="323" y="191"/>
                </a:cubicBezTo>
                <a:cubicBezTo>
                  <a:pt x="323" y="190"/>
                  <a:pt x="324" y="190"/>
                  <a:pt x="324" y="189"/>
                </a:cubicBezTo>
                <a:cubicBezTo>
                  <a:pt x="325" y="188"/>
                  <a:pt x="326" y="187"/>
                  <a:pt x="327" y="186"/>
                </a:cubicBezTo>
                <a:cubicBezTo>
                  <a:pt x="342" y="168"/>
                  <a:pt x="360" y="162"/>
                  <a:pt x="380" y="162"/>
                </a:cubicBezTo>
                <a:cubicBezTo>
                  <a:pt x="398" y="162"/>
                  <a:pt x="416" y="169"/>
                  <a:pt x="427" y="180"/>
                </a:cubicBezTo>
                <a:cubicBezTo>
                  <a:pt x="439" y="192"/>
                  <a:pt x="447" y="210"/>
                  <a:pt x="447" y="229"/>
                </a:cubicBezTo>
                <a:cubicBezTo>
                  <a:pt x="447" y="254"/>
                  <a:pt x="447" y="254"/>
                  <a:pt x="447" y="254"/>
                </a:cubicBezTo>
                <a:cubicBezTo>
                  <a:pt x="447" y="389"/>
                  <a:pt x="447" y="389"/>
                  <a:pt x="447" y="389"/>
                </a:cubicBezTo>
                <a:cubicBezTo>
                  <a:pt x="447" y="393"/>
                  <a:pt x="449" y="395"/>
                  <a:pt x="453" y="395"/>
                </a:cubicBezTo>
                <a:cubicBezTo>
                  <a:pt x="488" y="395"/>
                  <a:pt x="488" y="395"/>
                  <a:pt x="488" y="395"/>
                </a:cubicBezTo>
                <a:cubicBezTo>
                  <a:pt x="492" y="395"/>
                  <a:pt x="493" y="393"/>
                  <a:pt x="493" y="389"/>
                </a:cubicBezTo>
                <a:cubicBezTo>
                  <a:pt x="493" y="254"/>
                  <a:pt x="493" y="254"/>
                  <a:pt x="493" y="254"/>
                </a:cubicBezTo>
                <a:cubicBezTo>
                  <a:pt x="493" y="228"/>
                  <a:pt x="493" y="228"/>
                  <a:pt x="493" y="228"/>
                </a:cubicBezTo>
                <a:cubicBezTo>
                  <a:pt x="493" y="227"/>
                  <a:pt x="493" y="227"/>
                  <a:pt x="493" y="227"/>
                </a:cubicBezTo>
                <a:close/>
                <a:moveTo>
                  <a:pt x="105" y="0"/>
                </a:moveTo>
                <a:cubicBezTo>
                  <a:pt x="84" y="0"/>
                  <a:pt x="67" y="17"/>
                  <a:pt x="67" y="38"/>
                </a:cubicBezTo>
                <a:cubicBezTo>
                  <a:pt x="67" y="58"/>
                  <a:pt x="84" y="75"/>
                  <a:pt x="105" y="75"/>
                </a:cubicBezTo>
                <a:cubicBezTo>
                  <a:pt x="125" y="75"/>
                  <a:pt x="142" y="58"/>
                  <a:pt x="142" y="38"/>
                </a:cubicBezTo>
                <a:cubicBezTo>
                  <a:pt x="142" y="17"/>
                  <a:pt x="125" y="0"/>
                  <a:pt x="105" y="0"/>
                </a:cubicBezTo>
                <a:moveTo>
                  <a:pt x="1386" y="179"/>
                </a:moveTo>
                <a:cubicBezTo>
                  <a:pt x="1390" y="177"/>
                  <a:pt x="1391" y="173"/>
                  <a:pt x="1389" y="169"/>
                </a:cubicBezTo>
                <a:cubicBezTo>
                  <a:pt x="1385" y="162"/>
                  <a:pt x="1380" y="156"/>
                  <a:pt x="1374" y="149"/>
                </a:cubicBezTo>
                <a:cubicBezTo>
                  <a:pt x="1355" y="128"/>
                  <a:pt x="1322" y="116"/>
                  <a:pt x="1292" y="116"/>
                </a:cubicBezTo>
                <a:cubicBezTo>
                  <a:pt x="1243" y="116"/>
                  <a:pt x="1223" y="150"/>
                  <a:pt x="1223" y="150"/>
                </a:cubicBezTo>
                <a:cubicBezTo>
                  <a:pt x="1223" y="126"/>
                  <a:pt x="1223" y="126"/>
                  <a:pt x="1223" y="126"/>
                </a:cubicBezTo>
                <a:cubicBezTo>
                  <a:pt x="1223" y="123"/>
                  <a:pt x="1221" y="121"/>
                  <a:pt x="1218" y="121"/>
                </a:cubicBezTo>
                <a:cubicBezTo>
                  <a:pt x="1183" y="121"/>
                  <a:pt x="1183" y="121"/>
                  <a:pt x="1183" y="121"/>
                </a:cubicBezTo>
                <a:cubicBezTo>
                  <a:pt x="1179" y="121"/>
                  <a:pt x="1177" y="122"/>
                  <a:pt x="1177" y="126"/>
                </a:cubicBezTo>
                <a:cubicBezTo>
                  <a:pt x="1177" y="231"/>
                  <a:pt x="1177" y="231"/>
                  <a:pt x="1177" y="231"/>
                </a:cubicBezTo>
                <a:cubicBezTo>
                  <a:pt x="1177" y="235"/>
                  <a:pt x="1177" y="238"/>
                  <a:pt x="1177" y="242"/>
                </a:cubicBezTo>
                <a:cubicBezTo>
                  <a:pt x="1177" y="244"/>
                  <a:pt x="1177" y="247"/>
                  <a:pt x="1177" y="250"/>
                </a:cubicBezTo>
                <a:cubicBezTo>
                  <a:pt x="1177" y="389"/>
                  <a:pt x="1177" y="389"/>
                  <a:pt x="1177" y="389"/>
                </a:cubicBezTo>
                <a:cubicBezTo>
                  <a:pt x="1177" y="393"/>
                  <a:pt x="1179" y="395"/>
                  <a:pt x="1183" y="395"/>
                </a:cubicBezTo>
                <a:cubicBezTo>
                  <a:pt x="1218" y="395"/>
                  <a:pt x="1218" y="395"/>
                  <a:pt x="1218" y="395"/>
                </a:cubicBezTo>
                <a:cubicBezTo>
                  <a:pt x="1221" y="395"/>
                  <a:pt x="1223" y="392"/>
                  <a:pt x="1223" y="389"/>
                </a:cubicBezTo>
                <a:cubicBezTo>
                  <a:pt x="1223" y="251"/>
                  <a:pt x="1223" y="251"/>
                  <a:pt x="1223" y="251"/>
                </a:cubicBezTo>
                <a:cubicBezTo>
                  <a:pt x="1223" y="250"/>
                  <a:pt x="1223" y="250"/>
                  <a:pt x="1223" y="250"/>
                </a:cubicBezTo>
                <a:cubicBezTo>
                  <a:pt x="1223" y="250"/>
                  <a:pt x="1223" y="250"/>
                  <a:pt x="1223" y="250"/>
                </a:cubicBezTo>
                <a:cubicBezTo>
                  <a:pt x="1223" y="243"/>
                  <a:pt x="1223" y="241"/>
                  <a:pt x="1223" y="236"/>
                </a:cubicBezTo>
                <a:cubicBezTo>
                  <a:pt x="1223" y="236"/>
                  <a:pt x="1223" y="235"/>
                  <a:pt x="1223" y="235"/>
                </a:cubicBezTo>
                <a:cubicBezTo>
                  <a:pt x="1223" y="234"/>
                  <a:pt x="1223" y="233"/>
                  <a:pt x="1223" y="232"/>
                </a:cubicBezTo>
                <a:cubicBezTo>
                  <a:pt x="1223" y="232"/>
                  <a:pt x="1223" y="231"/>
                  <a:pt x="1223" y="231"/>
                </a:cubicBezTo>
                <a:cubicBezTo>
                  <a:pt x="1223" y="230"/>
                  <a:pt x="1223" y="229"/>
                  <a:pt x="1224" y="228"/>
                </a:cubicBezTo>
                <a:cubicBezTo>
                  <a:pt x="1224" y="228"/>
                  <a:pt x="1224" y="224"/>
                  <a:pt x="1224" y="223"/>
                </a:cubicBezTo>
                <a:cubicBezTo>
                  <a:pt x="1224" y="222"/>
                  <a:pt x="1224" y="222"/>
                  <a:pt x="1224" y="221"/>
                </a:cubicBezTo>
                <a:cubicBezTo>
                  <a:pt x="1224" y="220"/>
                  <a:pt x="1224" y="220"/>
                  <a:pt x="1224" y="219"/>
                </a:cubicBezTo>
                <a:cubicBezTo>
                  <a:pt x="1224" y="218"/>
                  <a:pt x="1224" y="218"/>
                  <a:pt x="1224" y="217"/>
                </a:cubicBezTo>
                <a:cubicBezTo>
                  <a:pt x="1224" y="216"/>
                  <a:pt x="1224" y="216"/>
                  <a:pt x="1224" y="215"/>
                </a:cubicBezTo>
                <a:cubicBezTo>
                  <a:pt x="1225" y="215"/>
                  <a:pt x="1225" y="214"/>
                  <a:pt x="1225" y="213"/>
                </a:cubicBezTo>
                <a:cubicBezTo>
                  <a:pt x="1225" y="213"/>
                  <a:pt x="1225" y="212"/>
                  <a:pt x="1225" y="211"/>
                </a:cubicBezTo>
                <a:cubicBezTo>
                  <a:pt x="1225" y="211"/>
                  <a:pt x="1225" y="210"/>
                  <a:pt x="1226" y="210"/>
                </a:cubicBezTo>
                <a:cubicBezTo>
                  <a:pt x="1226" y="209"/>
                  <a:pt x="1226" y="208"/>
                  <a:pt x="1226" y="208"/>
                </a:cubicBezTo>
                <a:cubicBezTo>
                  <a:pt x="1226" y="207"/>
                  <a:pt x="1226" y="207"/>
                  <a:pt x="1227" y="206"/>
                </a:cubicBezTo>
                <a:cubicBezTo>
                  <a:pt x="1227" y="205"/>
                  <a:pt x="1227" y="205"/>
                  <a:pt x="1227" y="204"/>
                </a:cubicBezTo>
                <a:cubicBezTo>
                  <a:pt x="1227" y="203"/>
                  <a:pt x="1228" y="203"/>
                  <a:pt x="1228" y="202"/>
                </a:cubicBezTo>
                <a:cubicBezTo>
                  <a:pt x="1228" y="202"/>
                  <a:pt x="1228" y="201"/>
                  <a:pt x="1229" y="200"/>
                </a:cubicBezTo>
                <a:cubicBezTo>
                  <a:pt x="1229" y="200"/>
                  <a:pt x="1229" y="199"/>
                  <a:pt x="1230" y="199"/>
                </a:cubicBezTo>
                <a:cubicBezTo>
                  <a:pt x="1230" y="198"/>
                  <a:pt x="1230" y="197"/>
                  <a:pt x="1230" y="197"/>
                </a:cubicBezTo>
                <a:cubicBezTo>
                  <a:pt x="1231" y="196"/>
                  <a:pt x="1231" y="195"/>
                  <a:pt x="1232" y="195"/>
                </a:cubicBezTo>
                <a:cubicBezTo>
                  <a:pt x="1232" y="194"/>
                  <a:pt x="1232" y="194"/>
                  <a:pt x="1232" y="193"/>
                </a:cubicBezTo>
                <a:cubicBezTo>
                  <a:pt x="1233" y="192"/>
                  <a:pt x="1233" y="192"/>
                  <a:pt x="1234" y="191"/>
                </a:cubicBezTo>
                <a:cubicBezTo>
                  <a:pt x="1234" y="190"/>
                  <a:pt x="1235" y="190"/>
                  <a:pt x="1235" y="189"/>
                </a:cubicBezTo>
                <a:cubicBezTo>
                  <a:pt x="1236" y="188"/>
                  <a:pt x="1237" y="187"/>
                  <a:pt x="1238" y="186"/>
                </a:cubicBezTo>
                <a:cubicBezTo>
                  <a:pt x="1253" y="168"/>
                  <a:pt x="1271" y="162"/>
                  <a:pt x="1291" y="162"/>
                </a:cubicBezTo>
                <a:cubicBezTo>
                  <a:pt x="1308" y="162"/>
                  <a:pt x="1328" y="169"/>
                  <a:pt x="1338" y="180"/>
                </a:cubicBezTo>
                <a:cubicBezTo>
                  <a:pt x="1341" y="184"/>
                  <a:pt x="1345" y="188"/>
                  <a:pt x="1348" y="192"/>
                </a:cubicBezTo>
                <a:cubicBezTo>
                  <a:pt x="1350" y="196"/>
                  <a:pt x="1354" y="197"/>
                  <a:pt x="1357" y="195"/>
                </a:cubicBezTo>
                <a:lnTo>
                  <a:pt x="1386" y="179"/>
                </a:lnTo>
                <a:close/>
                <a:moveTo>
                  <a:pt x="1106" y="268"/>
                </a:moveTo>
                <a:cubicBezTo>
                  <a:pt x="1109" y="268"/>
                  <a:pt x="1112" y="265"/>
                  <a:pt x="1112" y="262"/>
                </a:cubicBezTo>
                <a:cubicBezTo>
                  <a:pt x="1112" y="256"/>
                  <a:pt x="1112" y="249"/>
                  <a:pt x="1112" y="246"/>
                </a:cubicBezTo>
                <a:cubicBezTo>
                  <a:pt x="1107" y="184"/>
                  <a:pt x="1065" y="133"/>
                  <a:pt x="1010" y="120"/>
                </a:cubicBezTo>
                <a:cubicBezTo>
                  <a:pt x="1006" y="119"/>
                  <a:pt x="1002" y="122"/>
                  <a:pt x="1002" y="126"/>
                </a:cubicBezTo>
                <a:cubicBezTo>
                  <a:pt x="1002" y="164"/>
                  <a:pt x="1002" y="164"/>
                  <a:pt x="1002" y="164"/>
                </a:cubicBezTo>
                <a:cubicBezTo>
                  <a:pt x="1002" y="166"/>
                  <a:pt x="1004" y="169"/>
                  <a:pt x="1006" y="170"/>
                </a:cubicBezTo>
                <a:cubicBezTo>
                  <a:pt x="1032" y="179"/>
                  <a:pt x="1053" y="201"/>
                  <a:pt x="1062" y="229"/>
                </a:cubicBezTo>
                <a:cubicBezTo>
                  <a:pt x="900" y="229"/>
                  <a:pt x="900" y="229"/>
                  <a:pt x="900" y="229"/>
                </a:cubicBezTo>
                <a:cubicBezTo>
                  <a:pt x="909" y="201"/>
                  <a:pt x="930" y="179"/>
                  <a:pt x="956" y="170"/>
                </a:cubicBezTo>
                <a:cubicBezTo>
                  <a:pt x="958" y="169"/>
                  <a:pt x="960" y="166"/>
                  <a:pt x="960" y="164"/>
                </a:cubicBezTo>
                <a:cubicBezTo>
                  <a:pt x="960" y="126"/>
                  <a:pt x="960" y="126"/>
                  <a:pt x="960" y="126"/>
                </a:cubicBezTo>
                <a:cubicBezTo>
                  <a:pt x="960" y="122"/>
                  <a:pt x="956" y="119"/>
                  <a:pt x="952" y="120"/>
                </a:cubicBezTo>
                <a:cubicBezTo>
                  <a:pt x="893" y="134"/>
                  <a:pt x="850" y="191"/>
                  <a:pt x="850" y="258"/>
                </a:cubicBezTo>
                <a:cubicBezTo>
                  <a:pt x="850" y="337"/>
                  <a:pt x="908" y="400"/>
                  <a:pt x="981" y="400"/>
                </a:cubicBezTo>
                <a:cubicBezTo>
                  <a:pt x="1032" y="400"/>
                  <a:pt x="1076" y="369"/>
                  <a:pt x="1098" y="322"/>
                </a:cubicBezTo>
                <a:cubicBezTo>
                  <a:pt x="1100" y="318"/>
                  <a:pt x="1097" y="313"/>
                  <a:pt x="1092" y="313"/>
                </a:cubicBezTo>
                <a:cubicBezTo>
                  <a:pt x="1055" y="313"/>
                  <a:pt x="1055" y="313"/>
                  <a:pt x="1055" y="313"/>
                </a:cubicBezTo>
                <a:cubicBezTo>
                  <a:pt x="1053" y="313"/>
                  <a:pt x="1051" y="314"/>
                  <a:pt x="1049" y="316"/>
                </a:cubicBezTo>
                <a:cubicBezTo>
                  <a:pt x="1034" y="339"/>
                  <a:pt x="1009" y="354"/>
                  <a:pt x="981" y="354"/>
                </a:cubicBezTo>
                <a:cubicBezTo>
                  <a:pt x="936" y="354"/>
                  <a:pt x="900" y="316"/>
                  <a:pt x="896" y="268"/>
                </a:cubicBezTo>
                <a:cubicBezTo>
                  <a:pt x="1066" y="268"/>
                  <a:pt x="1066" y="268"/>
                  <a:pt x="1066" y="268"/>
                </a:cubicBezTo>
                <a:cubicBezTo>
                  <a:pt x="1066" y="268"/>
                  <a:pt x="1066" y="268"/>
                  <a:pt x="1066" y="268"/>
                </a:cubicBezTo>
                <a:lnTo>
                  <a:pt x="1106" y="268"/>
                </a:lnTo>
                <a:close/>
                <a:moveTo>
                  <a:pt x="1692" y="232"/>
                </a:moveTo>
                <a:cubicBezTo>
                  <a:pt x="1692" y="126"/>
                  <a:pt x="1692" y="126"/>
                  <a:pt x="1692" y="126"/>
                </a:cubicBezTo>
                <a:cubicBezTo>
                  <a:pt x="1692" y="123"/>
                  <a:pt x="1690" y="121"/>
                  <a:pt x="1686" y="121"/>
                </a:cubicBezTo>
                <a:cubicBezTo>
                  <a:pt x="1651" y="121"/>
                  <a:pt x="1651" y="121"/>
                  <a:pt x="1651" y="121"/>
                </a:cubicBezTo>
                <a:cubicBezTo>
                  <a:pt x="1648" y="121"/>
                  <a:pt x="1646" y="123"/>
                  <a:pt x="1646" y="126"/>
                </a:cubicBezTo>
                <a:cubicBezTo>
                  <a:pt x="1646" y="149"/>
                  <a:pt x="1646" y="149"/>
                  <a:pt x="1646" y="149"/>
                </a:cubicBezTo>
                <a:cubicBezTo>
                  <a:pt x="1628" y="133"/>
                  <a:pt x="1607" y="121"/>
                  <a:pt x="1583" y="116"/>
                </a:cubicBezTo>
                <a:cubicBezTo>
                  <a:pt x="1580" y="115"/>
                  <a:pt x="1578" y="117"/>
                  <a:pt x="1578" y="120"/>
                </a:cubicBezTo>
                <a:cubicBezTo>
                  <a:pt x="1578" y="161"/>
                  <a:pt x="1578" y="161"/>
                  <a:pt x="1578" y="161"/>
                </a:cubicBezTo>
                <a:cubicBezTo>
                  <a:pt x="1578" y="163"/>
                  <a:pt x="1579" y="165"/>
                  <a:pt x="1581" y="165"/>
                </a:cubicBezTo>
                <a:cubicBezTo>
                  <a:pt x="1619" y="176"/>
                  <a:pt x="1648" y="213"/>
                  <a:pt x="1648" y="258"/>
                </a:cubicBezTo>
                <a:cubicBezTo>
                  <a:pt x="1648" y="311"/>
                  <a:pt x="1608" y="354"/>
                  <a:pt x="1558" y="354"/>
                </a:cubicBezTo>
                <a:cubicBezTo>
                  <a:pt x="1509" y="354"/>
                  <a:pt x="1469" y="311"/>
                  <a:pt x="1469" y="258"/>
                </a:cubicBezTo>
                <a:cubicBezTo>
                  <a:pt x="1469" y="214"/>
                  <a:pt x="1496" y="178"/>
                  <a:pt x="1533" y="166"/>
                </a:cubicBezTo>
                <a:cubicBezTo>
                  <a:pt x="1535" y="165"/>
                  <a:pt x="1536" y="164"/>
                  <a:pt x="1536" y="162"/>
                </a:cubicBezTo>
                <a:cubicBezTo>
                  <a:pt x="1536" y="120"/>
                  <a:pt x="1536" y="120"/>
                  <a:pt x="1536" y="120"/>
                </a:cubicBezTo>
                <a:cubicBezTo>
                  <a:pt x="1536" y="117"/>
                  <a:pt x="1534" y="115"/>
                  <a:pt x="1531" y="116"/>
                </a:cubicBezTo>
                <a:cubicBezTo>
                  <a:pt x="1469" y="128"/>
                  <a:pt x="1422" y="187"/>
                  <a:pt x="1422" y="257"/>
                </a:cubicBezTo>
                <a:cubicBezTo>
                  <a:pt x="1422" y="336"/>
                  <a:pt x="1482" y="400"/>
                  <a:pt x="1557" y="400"/>
                </a:cubicBezTo>
                <a:cubicBezTo>
                  <a:pt x="1591" y="400"/>
                  <a:pt x="1622" y="386"/>
                  <a:pt x="1646" y="364"/>
                </a:cubicBezTo>
                <a:cubicBezTo>
                  <a:pt x="1646" y="390"/>
                  <a:pt x="1646" y="390"/>
                  <a:pt x="1646" y="390"/>
                </a:cubicBezTo>
                <a:cubicBezTo>
                  <a:pt x="1646" y="393"/>
                  <a:pt x="1648" y="395"/>
                  <a:pt x="1651" y="395"/>
                </a:cubicBezTo>
                <a:cubicBezTo>
                  <a:pt x="1686" y="395"/>
                  <a:pt x="1686" y="395"/>
                  <a:pt x="1686" y="395"/>
                </a:cubicBezTo>
                <a:cubicBezTo>
                  <a:pt x="1690" y="395"/>
                  <a:pt x="1692" y="393"/>
                  <a:pt x="1692" y="390"/>
                </a:cubicBezTo>
                <a:cubicBezTo>
                  <a:pt x="1692" y="250"/>
                  <a:pt x="1692" y="250"/>
                  <a:pt x="1692" y="250"/>
                </a:cubicBezTo>
                <a:cubicBezTo>
                  <a:pt x="1692" y="247"/>
                  <a:pt x="1692" y="245"/>
                  <a:pt x="1692" y="242"/>
                </a:cubicBezTo>
                <a:cubicBezTo>
                  <a:pt x="1692" y="239"/>
                  <a:pt x="1692" y="235"/>
                  <a:pt x="1692" y="232"/>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4071690342"/>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Closing Slide 2">
    <p:bg>
      <p:bgPr>
        <a:solidFill>
          <a:schemeClr val="bg1"/>
        </a:solidFill>
        <a:effectLst/>
      </p:bgPr>
    </p:bg>
    <p:spTree>
      <p:nvGrpSpPr>
        <p:cNvPr id="1" name=""/>
        <p:cNvGrpSpPr/>
        <p:nvPr/>
      </p:nvGrpSpPr>
      <p:grpSpPr>
        <a:xfrm>
          <a:off x="0" y="0"/>
          <a:ext cx="0" cy="0"/>
          <a:chOff x="0" y="0"/>
          <a:chExt cx="0" cy="0"/>
        </a:xfrm>
      </p:grpSpPr>
      <p:sp>
        <p:nvSpPr>
          <p:cNvPr id="17" name="Freeform 5">
            <a:extLst>
              <a:ext uri="{FF2B5EF4-FFF2-40B4-BE49-F238E27FC236}">
                <a16:creationId xmlns:a16="http://schemas.microsoft.com/office/drawing/2014/main" id="{BA983841-2E67-4BBE-85F6-5824A21EE170}"/>
              </a:ext>
            </a:extLst>
          </p:cNvPr>
          <p:cNvSpPr>
            <a:spLocks noChangeAspect="1" noEditPoints="1"/>
          </p:cNvSpPr>
          <p:nvPr/>
        </p:nvSpPr>
        <p:spPr bwMode="auto">
          <a:xfrm>
            <a:off x="2841600" y="2861916"/>
            <a:ext cx="6508800" cy="1134169"/>
          </a:xfrm>
          <a:custGeom>
            <a:avLst/>
            <a:gdLst>
              <a:gd name="T0" fmla="*/ 2108 w 2301"/>
              <a:gd name="T1" fmla="*/ 43 h 400"/>
              <a:gd name="T2" fmla="*/ 2257 w 2301"/>
              <a:gd name="T3" fmla="*/ 121 h 400"/>
              <a:gd name="T4" fmla="*/ 2154 w 2301"/>
              <a:gd name="T5" fmla="*/ 289 h 400"/>
              <a:gd name="T6" fmla="*/ 2261 w 2301"/>
              <a:gd name="T7" fmla="*/ 295 h 400"/>
              <a:gd name="T8" fmla="*/ 2301 w 2301"/>
              <a:gd name="T9" fmla="*/ 300 h 400"/>
              <a:gd name="T10" fmla="*/ 2108 w 2301"/>
              <a:gd name="T11" fmla="*/ 167 h 400"/>
              <a:gd name="T12" fmla="*/ 548 w 2301"/>
              <a:gd name="T13" fmla="*/ 121 h 400"/>
              <a:gd name="T14" fmla="*/ 643 w 2301"/>
              <a:gd name="T15" fmla="*/ 43 h 400"/>
              <a:gd name="T16" fmla="*/ 746 w 2301"/>
              <a:gd name="T17" fmla="*/ 167 h 400"/>
              <a:gd name="T18" fmla="*/ 729 w 2301"/>
              <a:gd name="T19" fmla="*/ 342 h 400"/>
              <a:gd name="T20" fmla="*/ 789 w 2301"/>
              <a:gd name="T21" fmla="*/ 296 h 400"/>
              <a:gd name="T22" fmla="*/ 622 w 2301"/>
              <a:gd name="T23" fmla="*/ 371 h 400"/>
              <a:gd name="T24" fmla="*/ 1997 w 2301"/>
              <a:gd name="T25" fmla="*/ 297 h 400"/>
              <a:gd name="T26" fmla="*/ 1822 w 2301"/>
              <a:gd name="T27" fmla="*/ 327 h 400"/>
              <a:gd name="T28" fmla="*/ 1954 w 2301"/>
              <a:gd name="T29" fmla="*/ 213 h 400"/>
              <a:gd name="T30" fmla="*/ 1962 w 2301"/>
              <a:gd name="T31" fmla="*/ 141 h 400"/>
              <a:gd name="T32" fmla="*/ 1885 w 2301"/>
              <a:gd name="T33" fmla="*/ 400 h 400"/>
              <a:gd name="T34" fmla="*/ 0 w 2301"/>
              <a:gd name="T35" fmla="*/ 389 h 400"/>
              <a:gd name="T36" fmla="*/ 19 w 2301"/>
              <a:gd name="T37" fmla="*/ 167 h 400"/>
              <a:gd name="T38" fmla="*/ 125 w 2301"/>
              <a:gd name="T39" fmla="*/ 126 h 400"/>
              <a:gd name="T40" fmla="*/ 206 w 2301"/>
              <a:gd name="T41" fmla="*/ 395 h 400"/>
              <a:gd name="T42" fmla="*/ 381 w 2301"/>
              <a:gd name="T43" fmla="*/ 116 h 400"/>
              <a:gd name="T44" fmla="*/ 266 w 2301"/>
              <a:gd name="T45" fmla="*/ 126 h 400"/>
              <a:gd name="T46" fmla="*/ 272 w 2301"/>
              <a:gd name="T47" fmla="*/ 395 h 400"/>
              <a:gd name="T48" fmla="*/ 312 w 2301"/>
              <a:gd name="T49" fmla="*/ 250 h 400"/>
              <a:gd name="T50" fmla="*/ 313 w 2301"/>
              <a:gd name="T51" fmla="*/ 228 h 400"/>
              <a:gd name="T52" fmla="*/ 313 w 2301"/>
              <a:gd name="T53" fmla="*/ 215 h 400"/>
              <a:gd name="T54" fmla="*/ 316 w 2301"/>
              <a:gd name="T55" fmla="*/ 206 h 400"/>
              <a:gd name="T56" fmla="*/ 319 w 2301"/>
              <a:gd name="T57" fmla="*/ 197 h 400"/>
              <a:gd name="T58" fmla="*/ 327 w 2301"/>
              <a:gd name="T59" fmla="*/ 186 h 400"/>
              <a:gd name="T60" fmla="*/ 447 w 2301"/>
              <a:gd name="T61" fmla="*/ 389 h 400"/>
              <a:gd name="T62" fmla="*/ 493 w 2301"/>
              <a:gd name="T63" fmla="*/ 228 h 400"/>
              <a:gd name="T64" fmla="*/ 142 w 2301"/>
              <a:gd name="T65" fmla="*/ 38 h 400"/>
              <a:gd name="T66" fmla="*/ 1292 w 2301"/>
              <a:gd name="T67" fmla="*/ 116 h 400"/>
              <a:gd name="T68" fmla="*/ 1177 w 2301"/>
              <a:gd name="T69" fmla="*/ 126 h 400"/>
              <a:gd name="T70" fmla="*/ 1183 w 2301"/>
              <a:gd name="T71" fmla="*/ 395 h 400"/>
              <a:gd name="T72" fmla="*/ 1223 w 2301"/>
              <a:gd name="T73" fmla="*/ 250 h 400"/>
              <a:gd name="T74" fmla="*/ 1224 w 2301"/>
              <a:gd name="T75" fmla="*/ 228 h 400"/>
              <a:gd name="T76" fmla="*/ 1224 w 2301"/>
              <a:gd name="T77" fmla="*/ 215 h 400"/>
              <a:gd name="T78" fmla="*/ 1227 w 2301"/>
              <a:gd name="T79" fmla="*/ 206 h 400"/>
              <a:gd name="T80" fmla="*/ 1230 w 2301"/>
              <a:gd name="T81" fmla="*/ 197 h 400"/>
              <a:gd name="T82" fmla="*/ 1238 w 2301"/>
              <a:gd name="T83" fmla="*/ 186 h 400"/>
              <a:gd name="T84" fmla="*/ 1386 w 2301"/>
              <a:gd name="T85" fmla="*/ 179 h 400"/>
              <a:gd name="T86" fmla="*/ 1002 w 2301"/>
              <a:gd name="T87" fmla="*/ 126 h 400"/>
              <a:gd name="T88" fmla="*/ 956 w 2301"/>
              <a:gd name="T89" fmla="*/ 170 h 400"/>
              <a:gd name="T90" fmla="*/ 981 w 2301"/>
              <a:gd name="T91" fmla="*/ 400 h 400"/>
              <a:gd name="T92" fmla="*/ 981 w 2301"/>
              <a:gd name="T93" fmla="*/ 354 h 400"/>
              <a:gd name="T94" fmla="*/ 1692 w 2301"/>
              <a:gd name="T95" fmla="*/ 232 h 400"/>
              <a:gd name="T96" fmla="*/ 1646 w 2301"/>
              <a:gd name="T97" fmla="*/ 149 h 400"/>
              <a:gd name="T98" fmla="*/ 1648 w 2301"/>
              <a:gd name="T99" fmla="*/ 258 h 400"/>
              <a:gd name="T100" fmla="*/ 1536 w 2301"/>
              <a:gd name="T101" fmla="*/ 120 h 400"/>
              <a:gd name="T102" fmla="*/ 1646 w 2301"/>
              <a:gd name="T103" fmla="*/ 390 h 400"/>
              <a:gd name="T104" fmla="*/ 1692 w 2301"/>
              <a:gd name="T105" fmla="*/ 242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01" h="400">
                <a:moveTo>
                  <a:pt x="2054" y="162"/>
                </a:moveTo>
                <a:cubicBezTo>
                  <a:pt x="2054" y="126"/>
                  <a:pt x="2054" y="126"/>
                  <a:pt x="2054" y="126"/>
                </a:cubicBezTo>
                <a:cubicBezTo>
                  <a:pt x="2054" y="122"/>
                  <a:pt x="2055" y="121"/>
                  <a:pt x="2059" y="121"/>
                </a:cubicBezTo>
                <a:cubicBezTo>
                  <a:pt x="2108" y="121"/>
                  <a:pt x="2108" y="121"/>
                  <a:pt x="2108" y="121"/>
                </a:cubicBezTo>
                <a:cubicBezTo>
                  <a:pt x="2108" y="43"/>
                  <a:pt x="2108" y="43"/>
                  <a:pt x="2108" y="43"/>
                </a:cubicBezTo>
                <a:cubicBezTo>
                  <a:pt x="2108" y="39"/>
                  <a:pt x="2110" y="38"/>
                  <a:pt x="2113" y="38"/>
                </a:cubicBezTo>
                <a:cubicBezTo>
                  <a:pt x="2149" y="38"/>
                  <a:pt x="2149" y="38"/>
                  <a:pt x="2149" y="38"/>
                </a:cubicBezTo>
                <a:cubicBezTo>
                  <a:pt x="2152" y="38"/>
                  <a:pt x="2154" y="39"/>
                  <a:pt x="2154" y="43"/>
                </a:cubicBezTo>
                <a:cubicBezTo>
                  <a:pt x="2154" y="121"/>
                  <a:pt x="2154" y="121"/>
                  <a:pt x="2154" y="121"/>
                </a:cubicBezTo>
                <a:cubicBezTo>
                  <a:pt x="2257" y="121"/>
                  <a:pt x="2257" y="121"/>
                  <a:pt x="2257" y="121"/>
                </a:cubicBezTo>
                <a:cubicBezTo>
                  <a:pt x="2260" y="121"/>
                  <a:pt x="2262" y="122"/>
                  <a:pt x="2262" y="126"/>
                </a:cubicBezTo>
                <a:cubicBezTo>
                  <a:pt x="2262" y="162"/>
                  <a:pt x="2262" y="162"/>
                  <a:pt x="2262" y="162"/>
                </a:cubicBezTo>
                <a:cubicBezTo>
                  <a:pt x="2262" y="165"/>
                  <a:pt x="2260" y="167"/>
                  <a:pt x="2257" y="167"/>
                </a:cubicBezTo>
                <a:cubicBezTo>
                  <a:pt x="2154" y="167"/>
                  <a:pt x="2154" y="167"/>
                  <a:pt x="2154" y="167"/>
                </a:cubicBezTo>
                <a:cubicBezTo>
                  <a:pt x="2154" y="289"/>
                  <a:pt x="2154" y="289"/>
                  <a:pt x="2154" y="289"/>
                </a:cubicBezTo>
                <a:cubicBezTo>
                  <a:pt x="2154" y="311"/>
                  <a:pt x="2158" y="326"/>
                  <a:pt x="2166" y="336"/>
                </a:cubicBezTo>
                <a:cubicBezTo>
                  <a:pt x="2174" y="348"/>
                  <a:pt x="2186" y="353"/>
                  <a:pt x="2204" y="353"/>
                </a:cubicBezTo>
                <a:cubicBezTo>
                  <a:pt x="2221" y="353"/>
                  <a:pt x="2232" y="351"/>
                  <a:pt x="2240" y="342"/>
                </a:cubicBezTo>
                <a:cubicBezTo>
                  <a:pt x="2248" y="333"/>
                  <a:pt x="2252" y="319"/>
                  <a:pt x="2255" y="300"/>
                </a:cubicBezTo>
                <a:cubicBezTo>
                  <a:pt x="2255" y="297"/>
                  <a:pt x="2257" y="295"/>
                  <a:pt x="2261" y="295"/>
                </a:cubicBezTo>
                <a:cubicBezTo>
                  <a:pt x="2296" y="295"/>
                  <a:pt x="2296" y="295"/>
                  <a:pt x="2296" y="295"/>
                </a:cubicBezTo>
                <a:cubicBezTo>
                  <a:pt x="2298" y="295"/>
                  <a:pt x="2298" y="295"/>
                  <a:pt x="2298" y="295"/>
                </a:cubicBezTo>
                <a:cubicBezTo>
                  <a:pt x="2298" y="295"/>
                  <a:pt x="2299" y="295"/>
                  <a:pt x="2300" y="296"/>
                </a:cubicBezTo>
                <a:cubicBezTo>
                  <a:pt x="2300" y="296"/>
                  <a:pt x="2301" y="297"/>
                  <a:pt x="2301" y="297"/>
                </a:cubicBezTo>
                <a:cubicBezTo>
                  <a:pt x="2301" y="298"/>
                  <a:pt x="2301" y="299"/>
                  <a:pt x="2301" y="300"/>
                </a:cubicBezTo>
                <a:cubicBezTo>
                  <a:pt x="2301" y="327"/>
                  <a:pt x="2295" y="350"/>
                  <a:pt x="2276" y="371"/>
                </a:cubicBezTo>
                <a:cubicBezTo>
                  <a:pt x="2259" y="390"/>
                  <a:pt x="2235" y="400"/>
                  <a:pt x="2205" y="400"/>
                </a:cubicBezTo>
                <a:cubicBezTo>
                  <a:pt x="2173" y="400"/>
                  <a:pt x="2149" y="390"/>
                  <a:pt x="2133" y="371"/>
                </a:cubicBezTo>
                <a:cubicBezTo>
                  <a:pt x="2116" y="353"/>
                  <a:pt x="2108" y="325"/>
                  <a:pt x="2108" y="289"/>
                </a:cubicBezTo>
                <a:cubicBezTo>
                  <a:pt x="2108" y="167"/>
                  <a:pt x="2108" y="167"/>
                  <a:pt x="2108" y="167"/>
                </a:cubicBezTo>
                <a:cubicBezTo>
                  <a:pt x="2059" y="167"/>
                  <a:pt x="2059" y="167"/>
                  <a:pt x="2059" y="167"/>
                </a:cubicBezTo>
                <a:cubicBezTo>
                  <a:pt x="2055" y="167"/>
                  <a:pt x="2054" y="165"/>
                  <a:pt x="2054" y="162"/>
                </a:cubicBezTo>
                <a:moveTo>
                  <a:pt x="543" y="162"/>
                </a:moveTo>
                <a:cubicBezTo>
                  <a:pt x="543" y="126"/>
                  <a:pt x="543" y="126"/>
                  <a:pt x="543" y="126"/>
                </a:cubicBezTo>
                <a:cubicBezTo>
                  <a:pt x="543" y="122"/>
                  <a:pt x="545" y="121"/>
                  <a:pt x="548" y="121"/>
                </a:cubicBezTo>
                <a:cubicBezTo>
                  <a:pt x="597" y="121"/>
                  <a:pt x="597" y="121"/>
                  <a:pt x="597" y="121"/>
                </a:cubicBezTo>
                <a:cubicBezTo>
                  <a:pt x="597" y="43"/>
                  <a:pt x="597" y="43"/>
                  <a:pt x="597" y="43"/>
                </a:cubicBezTo>
                <a:cubicBezTo>
                  <a:pt x="597" y="39"/>
                  <a:pt x="599" y="38"/>
                  <a:pt x="603" y="38"/>
                </a:cubicBezTo>
                <a:cubicBezTo>
                  <a:pt x="638" y="38"/>
                  <a:pt x="638" y="38"/>
                  <a:pt x="638" y="38"/>
                </a:cubicBezTo>
                <a:cubicBezTo>
                  <a:pt x="642" y="38"/>
                  <a:pt x="643" y="39"/>
                  <a:pt x="643" y="43"/>
                </a:cubicBezTo>
                <a:cubicBezTo>
                  <a:pt x="643" y="121"/>
                  <a:pt x="643" y="121"/>
                  <a:pt x="643" y="121"/>
                </a:cubicBezTo>
                <a:cubicBezTo>
                  <a:pt x="746" y="121"/>
                  <a:pt x="746" y="121"/>
                  <a:pt x="746" y="121"/>
                </a:cubicBezTo>
                <a:cubicBezTo>
                  <a:pt x="750" y="121"/>
                  <a:pt x="751" y="122"/>
                  <a:pt x="751" y="126"/>
                </a:cubicBezTo>
                <a:cubicBezTo>
                  <a:pt x="751" y="162"/>
                  <a:pt x="751" y="162"/>
                  <a:pt x="751" y="162"/>
                </a:cubicBezTo>
                <a:cubicBezTo>
                  <a:pt x="751" y="165"/>
                  <a:pt x="750" y="167"/>
                  <a:pt x="746" y="167"/>
                </a:cubicBezTo>
                <a:cubicBezTo>
                  <a:pt x="644" y="167"/>
                  <a:pt x="644" y="167"/>
                  <a:pt x="644" y="167"/>
                </a:cubicBezTo>
                <a:cubicBezTo>
                  <a:pt x="644" y="289"/>
                  <a:pt x="644" y="289"/>
                  <a:pt x="644" y="289"/>
                </a:cubicBezTo>
                <a:cubicBezTo>
                  <a:pt x="644" y="311"/>
                  <a:pt x="648" y="326"/>
                  <a:pt x="655" y="336"/>
                </a:cubicBezTo>
                <a:cubicBezTo>
                  <a:pt x="663" y="348"/>
                  <a:pt x="675" y="353"/>
                  <a:pt x="694" y="353"/>
                </a:cubicBezTo>
                <a:cubicBezTo>
                  <a:pt x="711" y="353"/>
                  <a:pt x="721" y="351"/>
                  <a:pt x="729" y="342"/>
                </a:cubicBezTo>
                <a:cubicBezTo>
                  <a:pt x="737" y="333"/>
                  <a:pt x="741" y="319"/>
                  <a:pt x="744" y="300"/>
                </a:cubicBezTo>
                <a:cubicBezTo>
                  <a:pt x="745" y="297"/>
                  <a:pt x="746" y="295"/>
                  <a:pt x="750" y="295"/>
                </a:cubicBezTo>
                <a:cubicBezTo>
                  <a:pt x="785" y="295"/>
                  <a:pt x="785" y="295"/>
                  <a:pt x="785" y="295"/>
                </a:cubicBezTo>
                <a:cubicBezTo>
                  <a:pt x="787" y="295"/>
                  <a:pt x="787" y="295"/>
                  <a:pt x="787" y="295"/>
                </a:cubicBezTo>
                <a:cubicBezTo>
                  <a:pt x="788" y="295"/>
                  <a:pt x="788" y="295"/>
                  <a:pt x="789" y="296"/>
                </a:cubicBezTo>
                <a:cubicBezTo>
                  <a:pt x="790" y="296"/>
                  <a:pt x="790" y="297"/>
                  <a:pt x="790" y="297"/>
                </a:cubicBezTo>
                <a:cubicBezTo>
                  <a:pt x="790" y="298"/>
                  <a:pt x="790" y="299"/>
                  <a:pt x="790" y="300"/>
                </a:cubicBezTo>
                <a:cubicBezTo>
                  <a:pt x="790" y="327"/>
                  <a:pt x="784" y="350"/>
                  <a:pt x="765" y="371"/>
                </a:cubicBezTo>
                <a:cubicBezTo>
                  <a:pt x="748" y="390"/>
                  <a:pt x="725" y="400"/>
                  <a:pt x="694" y="400"/>
                </a:cubicBezTo>
                <a:cubicBezTo>
                  <a:pt x="662" y="400"/>
                  <a:pt x="639" y="390"/>
                  <a:pt x="622" y="371"/>
                </a:cubicBezTo>
                <a:cubicBezTo>
                  <a:pt x="606" y="353"/>
                  <a:pt x="597" y="325"/>
                  <a:pt x="597" y="289"/>
                </a:cubicBezTo>
                <a:cubicBezTo>
                  <a:pt x="597" y="167"/>
                  <a:pt x="597" y="167"/>
                  <a:pt x="597" y="167"/>
                </a:cubicBezTo>
                <a:cubicBezTo>
                  <a:pt x="548" y="167"/>
                  <a:pt x="548" y="167"/>
                  <a:pt x="548" y="167"/>
                </a:cubicBezTo>
                <a:cubicBezTo>
                  <a:pt x="545" y="167"/>
                  <a:pt x="543" y="165"/>
                  <a:pt x="543" y="162"/>
                </a:cubicBezTo>
                <a:moveTo>
                  <a:pt x="1997" y="297"/>
                </a:moveTo>
                <a:cubicBezTo>
                  <a:pt x="1965" y="297"/>
                  <a:pt x="1965" y="297"/>
                  <a:pt x="1965" y="297"/>
                </a:cubicBezTo>
                <a:cubicBezTo>
                  <a:pt x="1958" y="297"/>
                  <a:pt x="1956" y="301"/>
                  <a:pt x="1955" y="304"/>
                </a:cubicBezTo>
                <a:cubicBezTo>
                  <a:pt x="1950" y="319"/>
                  <a:pt x="1942" y="331"/>
                  <a:pt x="1929" y="340"/>
                </a:cubicBezTo>
                <a:cubicBezTo>
                  <a:pt x="1917" y="349"/>
                  <a:pt x="1902" y="354"/>
                  <a:pt x="1885" y="354"/>
                </a:cubicBezTo>
                <a:cubicBezTo>
                  <a:pt x="1860" y="354"/>
                  <a:pt x="1837" y="345"/>
                  <a:pt x="1822" y="327"/>
                </a:cubicBezTo>
                <a:cubicBezTo>
                  <a:pt x="1807" y="309"/>
                  <a:pt x="1799" y="286"/>
                  <a:pt x="1799" y="258"/>
                </a:cubicBezTo>
                <a:cubicBezTo>
                  <a:pt x="1799" y="230"/>
                  <a:pt x="1807" y="206"/>
                  <a:pt x="1822" y="188"/>
                </a:cubicBezTo>
                <a:cubicBezTo>
                  <a:pt x="1837" y="170"/>
                  <a:pt x="1860" y="162"/>
                  <a:pt x="1885" y="162"/>
                </a:cubicBezTo>
                <a:cubicBezTo>
                  <a:pt x="1902" y="162"/>
                  <a:pt x="1916" y="166"/>
                  <a:pt x="1928" y="175"/>
                </a:cubicBezTo>
                <a:cubicBezTo>
                  <a:pt x="1941" y="184"/>
                  <a:pt x="1949" y="197"/>
                  <a:pt x="1954" y="213"/>
                </a:cubicBezTo>
                <a:cubicBezTo>
                  <a:pt x="1955" y="215"/>
                  <a:pt x="1957" y="219"/>
                  <a:pt x="1964" y="219"/>
                </a:cubicBezTo>
                <a:cubicBezTo>
                  <a:pt x="1996" y="219"/>
                  <a:pt x="1996" y="219"/>
                  <a:pt x="1996" y="219"/>
                </a:cubicBezTo>
                <a:cubicBezTo>
                  <a:pt x="1999" y="219"/>
                  <a:pt x="2002" y="217"/>
                  <a:pt x="2002" y="213"/>
                </a:cubicBezTo>
                <a:cubicBezTo>
                  <a:pt x="2002" y="211"/>
                  <a:pt x="2002" y="209"/>
                  <a:pt x="2001" y="207"/>
                </a:cubicBezTo>
                <a:cubicBezTo>
                  <a:pt x="1994" y="179"/>
                  <a:pt x="1982" y="157"/>
                  <a:pt x="1962" y="141"/>
                </a:cubicBezTo>
                <a:cubicBezTo>
                  <a:pt x="1942" y="125"/>
                  <a:pt x="1916" y="117"/>
                  <a:pt x="1885" y="117"/>
                </a:cubicBezTo>
                <a:cubicBezTo>
                  <a:pt x="1845" y="117"/>
                  <a:pt x="1812" y="130"/>
                  <a:pt x="1788" y="157"/>
                </a:cubicBezTo>
                <a:cubicBezTo>
                  <a:pt x="1765" y="183"/>
                  <a:pt x="1753" y="217"/>
                  <a:pt x="1753" y="258"/>
                </a:cubicBezTo>
                <a:cubicBezTo>
                  <a:pt x="1753" y="299"/>
                  <a:pt x="1765" y="333"/>
                  <a:pt x="1789" y="360"/>
                </a:cubicBezTo>
                <a:cubicBezTo>
                  <a:pt x="1812" y="386"/>
                  <a:pt x="1845" y="400"/>
                  <a:pt x="1885" y="400"/>
                </a:cubicBezTo>
                <a:cubicBezTo>
                  <a:pt x="1916" y="400"/>
                  <a:pt x="1942" y="392"/>
                  <a:pt x="1962" y="376"/>
                </a:cubicBezTo>
                <a:cubicBezTo>
                  <a:pt x="1982" y="360"/>
                  <a:pt x="1995" y="337"/>
                  <a:pt x="2003" y="309"/>
                </a:cubicBezTo>
                <a:cubicBezTo>
                  <a:pt x="2003" y="307"/>
                  <a:pt x="2003" y="305"/>
                  <a:pt x="2003" y="303"/>
                </a:cubicBezTo>
                <a:cubicBezTo>
                  <a:pt x="2003" y="300"/>
                  <a:pt x="2002" y="297"/>
                  <a:pt x="1997" y="297"/>
                </a:cubicBezTo>
                <a:moveTo>
                  <a:pt x="0" y="389"/>
                </a:moveTo>
                <a:cubicBezTo>
                  <a:pt x="0" y="354"/>
                  <a:pt x="0" y="354"/>
                  <a:pt x="0" y="354"/>
                </a:cubicBezTo>
                <a:cubicBezTo>
                  <a:pt x="0" y="351"/>
                  <a:pt x="2" y="349"/>
                  <a:pt x="6" y="349"/>
                </a:cubicBezTo>
                <a:cubicBezTo>
                  <a:pt x="78" y="349"/>
                  <a:pt x="78" y="349"/>
                  <a:pt x="78" y="349"/>
                </a:cubicBezTo>
                <a:cubicBezTo>
                  <a:pt x="78" y="167"/>
                  <a:pt x="78" y="167"/>
                  <a:pt x="78" y="167"/>
                </a:cubicBezTo>
                <a:cubicBezTo>
                  <a:pt x="19" y="167"/>
                  <a:pt x="19" y="167"/>
                  <a:pt x="19" y="167"/>
                </a:cubicBezTo>
                <a:cubicBezTo>
                  <a:pt x="16" y="167"/>
                  <a:pt x="14" y="165"/>
                  <a:pt x="14" y="162"/>
                </a:cubicBezTo>
                <a:cubicBezTo>
                  <a:pt x="14" y="126"/>
                  <a:pt x="14" y="126"/>
                  <a:pt x="14" y="126"/>
                </a:cubicBezTo>
                <a:cubicBezTo>
                  <a:pt x="14" y="122"/>
                  <a:pt x="16" y="121"/>
                  <a:pt x="19" y="121"/>
                </a:cubicBezTo>
                <a:cubicBezTo>
                  <a:pt x="119" y="121"/>
                  <a:pt x="119" y="121"/>
                  <a:pt x="119" y="121"/>
                </a:cubicBezTo>
                <a:cubicBezTo>
                  <a:pt x="122" y="121"/>
                  <a:pt x="124" y="122"/>
                  <a:pt x="125" y="126"/>
                </a:cubicBezTo>
                <a:cubicBezTo>
                  <a:pt x="125" y="349"/>
                  <a:pt x="125" y="349"/>
                  <a:pt x="125" y="349"/>
                </a:cubicBezTo>
                <a:cubicBezTo>
                  <a:pt x="206" y="349"/>
                  <a:pt x="206" y="349"/>
                  <a:pt x="206" y="349"/>
                </a:cubicBezTo>
                <a:cubicBezTo>
                  <a:pt x="209" y="349"/>
                  <a:pt x="211" y="351"/>
                  <a:pt x="211" y="354"/>
                </a:cubicBezTo>
                <a:cubicBezTo>
                  <a:pt x="211" y="389"/>
                  <a:pt x="211" y="389"/>
                  <a:pt x="211" y="389"/>
                </a:cubicBezTo>
                <a:cubicBezTo>
                  <a:pt x="211" y="393"/>
                  <a:pt x="210" y="395"/>
                  <a:pt x="206" y="395"/>
                </a:cubicBezTo>
                <a:cubicBezTo>
                  <a:pt x="6" y="395"/>
                  <a:pt x="6" y="395"/>
                  <a:pt x="6" y="395"/>
                </a:cubicBezTo>
                <a:cubicBezTo>
                  <a:pt x="2" y="395"/>
                  <a:pt x="0" y="393"/>
                  <a:pt x="0" y="389"/>
                </a:cubicBezTo>
                <a:moveTo>
                  <a:pt x="493" y="227"/>
                </a:moveTo>
                <a:cubicBezTo>
                  <a:pt x="493" y="199"/>
                  <a:pt x="485" y="173"/>
                  <a:pt x="463" y="149"/>
                </a:cubicBezTo>
                <a:cubicBezTo>
                  <a:pt x="444" y="128"/>
                  <a:pt x="411" y="116"/>
                  <a:pt x="381" y="116"/>
                </a:cubicBezTo>
                <a:cubicBezTo>
                  <a:pt x="332" y="116"/>
                  <a:pt x="312" y="150"/>
                  <a:pt x="312" y="150"/>
                </a:cubicBezTo>
                <a:cubicBezTo>
                  <a:pt x="312" y="126"/>
                  <a:pt x="312" y="126"/>
                  <a:pt x="312" y="126"/>
                </a:cubicBezTo>
                <a:cubicBezTo>
                  <a:pt x="312" y="122"/>
                  <a:pt x="311" y="121"/>
                  <a:pt x="307" y="121"/>
                </a:cubicBezTo>
                <a:cubicBezTo>
                  <a:pt x="272" y="121"/>
                  <a:pt x="272" y="121"/>
                  <a:pt x="272" y="121"/>
                </a:cubicBezTo>
                <a:cubicBezTo>
                  <a:pt x="268" y="121"/>
                  <a:pt x="266" y="122"/>
                  <a:pt x="266" y="126"/>
                </a:cubicBezTo>
                <a:cubicBezTo>
                  <a:pt x="266" y="231"/>
                  <a:pt x="266" y="231"/>
                  <a:pt x="266" y="231"/>
                </a:cubicBezTo>
                <a:cubicBezTo>
                  <a:pt x="266" y="235"/>
                  <a:pt x="266" y="238"/>
                  <a:pt x="266" y="242"/>
                </a:cubicBezTo>
                <a:cubicBezTo>
                  <a:pt x="266" y="244"/>
                  <a:pt x="266" y="247"/>
                  <a:pt x="266" y="250"/>
                </a:cubicBezTo>
                <a:cubicBezTo>
                  <a:pt x="266" y="389"/>
                  <a:pt x="266" y="389"/>
                  <a:pt x="266" y="389"/>
                </a:cubicBezTo>
                <a:cubicBezTo>
                  <a:pt x="266" y="393"/>
                  <a:pt x="268" y="395"/>
                  <a:pt x="272" y="395"/>
                </a:cubicBezTo>
                <a:cubicBezTo>
                  <a:pt x="307" y="395"/>
                  <a:pt x="307" y="395"/>
                  <a:pt x="307" y="395"/>
                </a:cubicBezTo>
                <a:cubicBezTo>
                  <a:pt x="311" y="395"/>
                  <a:pt x="312" y="393"/>
                  <a:pt x="312" y="389"/>
                </a:cubicBezTo>
                <a:cubicBezTo>
                  <a:pt x="312" y="251"/>
                  <a:pt x="312" y="251"/>
                  <a:pt x="312" y="251"/>
                </a:cubicBezTo>
                <a:cubicBezTo>
                  <a:pt x="312" y="250"/>
                  <a:pt x="312" y="250"/>
                  <a:pt x="312" y="250"/>
                </a:cubicBezTo>
                <a:cubicBezTo>
                  <a:pt x="312" y="250"/>
                  <a:pt x="312" y="250"/>
                  <a:pt x="312" y="250"/>
                </a:cubicBezTo>
                <a:cubicBezTo>
                  <a:pt x="312" y="243"/>
                  <a:pt x="312" y="241"/>
                  <a:pt x="312" y="236"/>
                </a:cubicBezTo>
                <a:cubicBezTo>
                  <a:pt x="312" y="235"/>
                  <a:pt x="312" y="235"/>
                  <a:pt x="312" y="235"/>
                </a:cubicBezTo>
                <a:cubicBezTo>
                  <a:pt x="312" y="234"/>
                  <a:pt x="312" y="233"/>
                  <a:pt x="312" y="232"/>
                </a:cubicBezTo>
                <a:cubicBezTo>
                  <a:pt x="312" y="232"/>
                  <a:pt x="312" y="231"/>
                  <a:pt x="312" y="231"/>
                </a:cubicBezTo>
                <a:cubicBezTo>
                  <a:pt x="312" y="230"/>
                  <a:pt x="313" y="229"/>
                  <a:pt x="313" y="228"/>
                </a:cubicBezTo>
                <a:cubicBezTo>
                  <a:pt x="313" y="228"/>
                  <a:pt x="313" y="224"/>
                  <a:pt x="313" y="223"/>
                </a:cubicBezTo>
                <a:cubicBezTo>
                  <a:pt x="313" y="222"/>
                  <a:pt x="313" y="222"/>
                  <a:pt x="313" y="221"/>
                </a:cubicBezTo>
                <a:cubicBezTo>
                  <a:pt x="313" y="220"/>
                  <a:pt x="313" y="220"/>
                  <a:pt x="313" y="219"/>
                </a:cubicBezTo>
                <a:cubicBezTo>
                  <a:pt x="313" y="218"/>
                  <a:pt x="313" y="218"/>
                  <a:pt x="313" y="217"/>
                </a:cubicBezTo>
                <a:cubicBezTo>
                  <a:pt x="313" y="216"/>
                  <a:pt x="313" y="216"/>
                  <a:pt x="313" y="215"/>
                </a:cubicBezTo>
                <a:cubicBezTo>
                  <a:pt x="314" y="215"/>
                  <a:pt x="314" y="214"/>
                  <a:pt x="314" y="213"/>
                </a:cubicBezTo>
                <a:cubicBezTo>
                  <a:pt x="314" y="213"/>
                  <a:pt x="314" y="212"/>
                  <a:pt x="314" y="211"/>
                </a:cubicBezTo>
                <a:cubicBezTo>
                  <a:pt x="314" y="211"/>
                  <a:pt x="314" y="210"/>
                  <a:pt x="315" y="210"/>
                </a:cubicBezTo>
                <a:cubicBezTo>
                  <a:pt x="315" y="209"/>
                  <a:pt x="315" y="208"/>
                  <a:pt x="315" y="208"/>
                </a:cubicBezTo>
                <a:cubicBezTo>
                  <a:pt x="315" y="207"/>
                  <a:pt x="315" y="207"/>
                  <a:pt x="316" y="206"/>
                </a:cubicBezTo>
                <a:cubicBezTo>
                  <a:pt x="316" y="205"/>
                  <a:pt x="316" y="205"/>
                  <a:pt x="316" y="204"/>
                </a:cubicBezTo>
                <a:cubicBezTo>
                  <a:pt x="316" y="203"/>
                  <a:pt x="317" y="203"/>
                  <a:pt x="317" y="202"/>
                </a:cubicBezTo>
                <a:cubicBezTo>
                  <a:pt x="317" y="202"/>
                  <a:pt x="317" y="201"/>
                  <a:pt x="318" y="200"/>
                </a:cubicBezTo>
                <a:cubicBezTo>
                  <a:pt x="318" y="200"/>
                  <a:pt x="318" y="199"/>
                  <a:pt x="319" y="199"/>
                </a:cubicBezTo>
                <a:cubicBezTo>
                  <a:pt x="319" y="198"/>
                  <a:pt x="319" y="197"/>
                  <a:pt x="319" y="197"/>
                </a:cubicBezTo>
                <a:cubicBezTo>
                  <a:pt x="320" y="196"/>
                  <a:pt x="320" y="195"/>
                  <a:pt x="321" y="195"/>
                </a:cubicBezTo>
                <a:cubicBezTo>
                  <a:pt x="321" y="194"/>
                  <a:pt x="321" y="194"/>
                  <a:pt x="322" y="193"/>
                </a:cubicBezTo>
                <a:cubicBezTo>
                  <a:pt x="322" y="192"/>
                  <a:pt x="323" y="192"/>
                  <a:pt x="323" y="191"/>
                </a:cubicBezTo>
                <a:cubicBezTo>
                  <a:pt x="323" y="190"/>
                  <a:pt x="324" y="190"/>
                  <a:pt x="324" y="189"/>
                </a:cubicBezTo>
                <a:cubicBezTo>
                  <a:pt x="325" y="188"/>
                  <a:pt x="326" y="187"/>
                  <a:pt x="327" y="186"/>
                </a:cubicBezTo>
                <a:cubicBezTo>
                  <a:pt x="342" y="168"/>
                  <a:pt x="360" y="162"/>
                  <a:pt x="380" y="162"/>
                </a:cubicBezTo>
                <a:cubicBezTo>
                  <a:pt x="398" y="162"/>
                  <a:pt x="416" y="169"/>
                  <a:pt x="427" y="180"/>
                </a:cubicBezTo>
                <a:cubicBezTo>
                  <a:pt x="439" y="192"/>
                  <a:pt x="447" y="210"/>
                  <a:pt x="447" y="229"/>
                </a:cubicBezTo>
                <a:cubicBezTo>
                  <a:pt x="447" y="254"/>
                  <a:pt x="447" y="254"/>
                  <a:pt x="447" y="254"/>
                </a:cubicBezTo>
                <a:cubicBezTo>
                  <a:pt x="447" y="389"/>
                  <a:pt x="447" y="389"/>
                  <a:pt x="447" y="389"/>
                </a:cubicBezTo>
                <a:cubicBezTo>
                  <a:pt x="447" y="393"/>
                  <a:pt x="449" y="395"/>
                  <a:pt x="453" y="395"/>
                </a:cubicBezTo>
                <a:cubicBezTo>
                  <a:pt x="488" y="395"/>
                  <a:pt x="488" y="395"/>
                  <a:pt x="488" y="395"/>
                </a:cubicBezTo>
                <a:cubicBezTo>
                  <a:pt x="492" y="395"/>
                  <a:pt x="493" y="393"/>
                  <a:pt x="493" y="389"/>
                </a:cubicBezTo>
                <a:cubicBezTo>
                  <a:pt x="493" y="254"/>
                  <a:pt x="493" y="254"/>
                  <a:pt x="493" y="254"/>
                </a:cubicBezTo>
                <a:cubicBezTo>
                  <a:pt x="493" y="228"/>
                  <a:pt x="493" y="228"/>
                  <a:pt x="493" y="228"/>
                </a:cubicBezTo>
                <a:cubicBezTo>
                  <a:pt x="493" y="227"/>
                  <a:pt x="493" y="227"/>
                  <a:pt x="493" y="227"/>
                </a:cubicBezTo>
                <a:close/>
                <a:moveTo>
                  <a:pt x="105" y="0"/>
                </a:moveTo>
                <a:cubicBezTo>
                  <a:pt x="84" y="0"/>
                  <a:pt x="67" y="17"/>
                  <a:pt x="67" y="38"/>
                </a:cubicBezTo>
                <a:cubicBezTo>
                  <a:pt x="67" y="58"/>
                  <a:pt x="84" y="75"/>
                  <a:pt x="105" y="75"/>
                </a:cubicBezTo>
                <a:cubicBezTo>
                  <a:pt x="125" y="75"/>
                  <a:pt x="142" y="58"/>
                  <a:pt x="142" y="38"/>
                </a:cubicBezTo>
                <a:cubicBezTo>
                  <a:pt x="142" y="17"/>
                  <a:pt x="125" y="0"/>
                  <a:pt x="105" y="0"/>
                </a:cubicBezTo>
                <a:moveTo>
                  <a:pt x="1386" y="179"/>
                </a:moveTo>
                <a:cubicBezTo>
                  <a:pt x="1390" y="177"/>
                  <a:pt x="1391" y="173"/>
                  <a:pt x="1389" y="169"/>
                </a:cubicBezTo>
                <a:cubicBezTo>
                  <a:pt x="1385" y="162"/>
                  <a:pt x="1380" y="156"/>
                  <a:pt x="1374" y="149"/>
                </a:cubicBezTo>
                <a:cubicBezTo>
                  <a:pt x="1355" y="128"/>
                  <a:pt x="1322" y="116"/>
                  <a:pt x="1292" y="116"/>
                </a:cubicBezTo>
                <a:cubicBezTo>
                  <a:pt x="1243" y="116"/>
                  <a:pt x="1223" y="150"/>
                  <a:pt x="1223" y="150"/>
                </a:cubicBezTo>
                <a:cubicBezTo>
                  <a:pt x="1223" y="126"/>
                  <a:pt x="1223" y="126"/>
                  <a:pt x="1223" y="126"/>
                </a:cubicBezTo>
                <a:cubicBezTo>
                  <a:pt x="1223" y="123"/>
                  <a:pt x="1221" y="121"/>
                  <a:pt x="1218" y="121"/>
                </a:cubicBezTo>
                <a:cubicBezTo>
                  <a:pt x="1183" y="121"/>
                  <a:pt x="1183" y="121"/>
                  <a:pt x="1183" y="121"/>
                </a:cubicBezTo>
                <a:cubicBezTo>
                  <a:pt x="1179" y="121"/>
                  <a:pt x="1177" y="122"/>
                  <a:pt x="1177" y="126"/>
                </a:cubicBezTo>
                <a:cubicBezTo>
                  <a:pt x="1177" y="231"/>
                  <a:pt x="1177" y="231"/>
                  <a:pt x="1177" y="231"/>
                </a:cubicBezTo>
                <a:cubicBezTo>
                  <a:pt x="1177" y="235"/>
                  <a:pt x="1177" y="238"/>
                  <a:pt x="1177" y="242"/>
                </a:cubicBezTo>
                <a:cubicBezTo>
                  <a:pt x="1177" y="244"/>
                  <a:pt x="1177" y="247"/>
                  <a:pt x="1177" y="250"/>
                </a:cubicBezTo>
                <a:cubicBezTo>
                  <a:pt x="1177" y="389"/>
                  <a:pt x="1177" y="389"/>
                  <a:pt x="1177" y="389"/>
                </a:cubicBezTo>
                <a:cubicBezTo>
                  <a:pt x="1177" y="393"/>
                  <a:pt x="1179" y="395"/>
                  <a:pt x="1183" y="395"/>
                </a:cubicBezTo>
                <a:cubicBezTo>
                  <a:pt x="1218" y="395"/>
                  <a:pt x="1218" y="395"/>
                  <a:pt x="1218" y="395"/>
                </a:cubicBezTo>
                <a:cubicBezTo>
                  <a:pt x="1221" y="395"/>
                  <a:pt x="1223" y="392"/>
                  <a:pt x="1223" y="389"/>
                </a:cubicBezTo>
                <a:cubicBezTo>
                  <a:pt x="1223" y="251"/>
                  <a:pt x="1223" y="251"/>
                  <a:pt x="1223" y="251"/>
                </a:cubicBezTo>
                <a:cubicBezTo>
                  <a:pt x="1223" y="250"/>
                  <a:pt x="1223" y="250"/>
                  <a:pt x="1223" y="250"/>
                </a:cubicBezTo>
                <a:cubicBezTo>
                  <a:pt x="1223" y="250"/>
                  <a:pt x="1223" y="250"/>
                  <a:pt x="1223" y="250"/>
                </a:cubicBezTo>
                <a:cubicBezTo>
                  <a:pt x="1223" y="243"/>
                  <a:pt x="1223" y="241"/>
                  <a:pt x="1223" y="236"/>
                </a:cubicBezTo>
                <a:cubicBezTo>
                  <a:pt x="1223" y="236"/>
                  <a:pt x="1223" y="235"/>
                  <a:pt x="1223" y="235"/>
                </a:cubicBezTo>
                <a:cubicBezTo>
                  <a:pt x="1223" y="234"/>
                  <a:pt x="1223" y="233"/>
                  <a:pt x="1223" y="232"/>
                </a:cubicBezTo>
                <a:cubicBezTo>
                  <a:pt x="1223" y="232"/>
                  <a:pt x="1223" y="231"/>
                  <a:pt x="1223" y="231"/>
                </a:cubicBezTo>
                <a:cubicBezTo>
                  <a:pt x="1223" y="230"/>
                  <a:pt x="1223" y="229"/>
                  <a:pt x="1224" y="228"/>
                </a:cubicBezTo>
                <a:cubicBezTo>
                  <a:pt x="1224" y="228"/>
                  <a:pt x="1224" y="224"/>
                  <a:pt x="1224" y="223"/>
                </a:cubicBezTo>
                <a:cubicBezTo>
                  <a:pt x="1224" y="222"/>
                  <a:pt x="1224" y="222"/>
                  <a:pt x="1224" y="221"/>
                </a:cubicBezTo>
                <a:cubicBezTo>
                  <a:pt x="1224" y="220"/>
                  <a:pt x="1224" y="220"/>
                  <a:pt x="1224" y="219"/>
                </a:cubicBezTo>
                <a:cubicBezTo>
                  <a:pt x="1224" y="218"/>
                  <a:pt x="1224" y="218"/>
                  <a:pt x="1224" y="217"/>
                </a:cubicBezTo>
                <a:cubicBezTo>
                  <a:pt x="1224" y="216"/>
                  <a:pt x="1224" y="216"/>
                  <a:pt x="1224" y="215"/>
                </a:cubicBezTo>
                <a:cubicBezTo>
                  <a:pt x="1225" y="215"/>
                  <a:pt x="1225" y="214"/>
                  <a:pt x="1225" y="213"/>
                </a:cubicBezTo>
                <a:cubicBezTo>
                  <a:pt x="1225" y="213"/>
                  <a:pt x="1225" y="212"/>
                  <a:pt x="1225" y="211"/>
                </a:cubicBezTo>
                <a:cubicBezTo>
                  <a:pt x="1225" y="211"/>
                  <a:pt x="1225" y="210"/>
                  <a:pt x="1226" y="210"/>
                </a:cubicBezTo>
                <a:cubicBezTo>
                  <a:pt x="1226" y="209"/>
                  <a:pt x="1226" y="208"/>
                  <a:pt x="1226" y="208"/>
                </a:cubicBezTo>
                <a:cubicBezTo>
                  <a:pt x="1226" y="207"/>
                  <a:pt x="1226" y="207"/>
                  <a:pt x="1227" y="206"/>
                </a:cubicBezTo>
                <a:cubicBezTo>
                  <a:pt x="1227" y="205"/>
                  <a:pt x="1227" y="205"/>
                  <a:pt x="1227" y="204"/>
                </a:cubicBezTo>
                <a:cubicBezTo>
                  <a:pt x="1227" y="203"/>
                  <a:pt x="1228" y="203"/>
                  <a:pt x="1228" y="202"/>
                </a:cubicBezTo>
                <a:cubicBezTo>
                  <a:pt x="1228" y="202"/>
                  <a:pt x="1228" y="201"/>
                  <a:pt x="1229" y="200"/>
                </a:cubicBezTo>
                <a:cubicBezTo>
                  <a:pt x="1229" y="200"/>
                  <a:pt x="1229" y="199"/>
                  <a:pt x="1230" y="199"/>
                </a:cubicBezTo>
                <a:cubicBezTo>
                  <a:pt x="1230" y="198"/>
                  <a:pt x="1230" y="197"/>
                  <a:pt x="1230" y="197"/>
                </a:cubicBezTo>
                <a:cubicBezTo>
                  <a:pt x="1231" y="196"/>
                  <a:pt x="1231" y="195"/>
                  <a:pt x="1232" y="195"/>
                </a:cubicBezTo>
                <a:cubicBezTo>
                  <a:pt x="1232" y="194"/>
                  <a:pt x="1232" y="194"/>
                  <a:pt x="1232" y="193"/>
                </a:cubicBezTo>
                <a:cubicBezTo>
                  <a:pt x="1233" y="192"/>
                  <a:pt x="1233" y="192"/>
                  <a:pt x="1234" y="191"/>
                </a:cubicBezTo>
                <a:cubicBezTo>
                  <a:pt x="1234" y="190"/>
                  <a:pt x="1235" y="190"/>
                  <a:pt x="1235" y="189"/>
                </a:cubicBezTo>
                <a:cubicBezTo>
                  <a:pt x="1236" y="188"/>
                  <a:pt x="1237" y="187"/>
                  <a:pt x="1238" y="186"/>
                </a:cubicBezTo>
                <a:cubicBezTo>
                  <a:pt x="1253" y="168"/>
                  <a:pt x="1271" y="162"/>
                  <a:pt x="1291" y="162"/>
                </a:cubicBezTo>
                <a:cubicBezTo>
                  <a:pt x="1308" y="162"/>
                  <a:pt x="1328" y="169"/>
                  <a:pt x="1338" y="180"/>
                </a:cubicBezTo>
                <a:cubicBezTo>
                  <a:pt x="1341" y="184"/>
                  <a:pt x="1345" y="188"/>
                  <a:pt x="1348" y="192"/>
                </a:cubicBezTo>
                <a:cubicBezTo>
                  <a:pt x="1350" y="196"/>
                  <a:pt x="1354" y="197"/>
                  <a:pt x="1357" y="195"/>
                </a:cubicBezTo>
                <a:lnTo>
                  <a:pt x="1386" y="179"/>
                </a:lnTo>
                <a:close/>
                <a:moveTo>
                  <a:pt x="1106" y="268"/>
                </a:moveTo>
                <a:cubicBezTo>
                  <a:pt x="1109" y="268"/>
                  <a:pt x="1112" y="265"/>
                  <a:pt x="1112" y="262"/>
                </a:cubicBezTo>
                <a:cubicBezTo>
                  <a:pt x="1112" y="256"/>
                  <a:pt x="1112" y="249"/>
                  <a:pt x="1112" y="246"/>
                </a:cubicBezTo>
                <a:cubicBezTo>
                  <a:pt x="1107" y="184"/>
                  <a:pt x="1065" y="133"/>
                  <a:pt x="1010" y="120"/>
                </a:cubicBezTo>
                <a:cubicBezTo>
                  <a:pt x="1006" y="119"/>
                  <a:pt x="1002" y="122"/>
                  <a:pt x="1002" y="126"/>
                </a:cubicBezTo>
                <a:cubicBezTo>
                  <a:pt x="1002" y="164"/>
                  <a:pt x="1002" y="164"/>
                  <a:pt x="1002" y="164"/>
                </a:cubicBezTo>
                <a:cubicBezTo>
                  <a:pt x="1002" y="166"/>
                  <a:pt x="1004" y="169"/>
                  <a:pt x="1006" y="170"/>
                </a:cubicBezTo>
                <a:cubicBezTo>
                  <a:pt x="1032" y="179"/>
                  <a:pt x="1053" y="201"/>
                  <a:pt x="1062" y="229"/>
                </a:cubicBezTo>
                <a:cubicBezTo>
                  <a:pt x="900" y="229"/>
                  <a:pt x="900" y="229"/>
                  <a:pt x="900" y="229"/>
                </a:cubicBezTo>
                <a:cubicBezTo>
                  <a:pt x="909" y="201"/>
                  <a:pt x="930" y="179"/>
                  <a:pt x="956" y="170"/>
                </a:cubicBezTo>
                <a:cubicBezTo>
                  <a:pt x="958" y="169"/>
                  <a:pt x="960" y="166"/>
                  <a:pt x="960" y="164"/>
                </a:cubicBezTo>
                <a:cubicBezTo>
                  <a:pt x="960" y="126"/>
                  <a:pt x="960" y="126"/>
                  <a:pt x="960" y="126"/>
                </a:cubicBezTo>
                <a:cubicBezTo>
                  <a:pt x="960" y="122"/>
                  <a:pt x="956" y="119"/>
                  <a:pt x="952" y="120"/>
                </a:cubicBezTo>
                <a:cubicBezTo>
                  <a:pt x="893" y="134"/>
                  <a:pt x="850" y="191"/>
                  <a:pt x="850" y="258"/>
                </a:cubicBezTo>
                <a:cubicBezTo>
                  <a:pt x="850" y="337"/>
                  <a:pt x="908" y="400"/>
                  <a:pt x="981" y="400"/>
                </a:cubicBezTo>
                <a:cubicBezTo>
                  <a:pt x="1032" y="400"/>
                  <a:pt x="1076" y="369"/>
                  <a:pt x="1098" y="322"/>
                </a:cubicBezTo>
                <a:cubicBezTo>
                  <a:pt x="1100" y="318"/>
                  <a:pt x="1097" y="313"/>
                  <a:pt x="1092" y="313"/>
                </a:cubicBezTo>
                <a:cubicBezTo>
                  <a:pt x="1055" y="313"/>
                  <a:pt x="1055" y="313"/>
                  <a:pt x="1055" y="313"/>
                </a:cubicBezTo>
                <a:cubicBezTo>
                  <a:pt x="1053" y="313"/>
                  <a:pt x="1051" y="314"/>
                  <a:pt x="1049" y="316"/>
                </a:cubicBezTo>
                <a:cubicBezTo>
                  <a:pt x="1034" y="339"/>
                  <a:pt x="1009" y="354"/>
                  <a:pt x="981" y="354"/>
                </a:cubicBezTo>
                <a:cubicBezTo>
                  <a:pt x="936" y="354"/>
                  <a:pt x="900" y="316"/>
                  <a:pt x="896" y="268"/>
                </a:cubicBezTo>
                <a:cubicBezTo>
                  <a:pt x="1066" y="268"/>
                  <a:pt x="1066" y="268"/>
                  <a:pt x="1066" y="268"/>
                </a:cubicBezTo>
                <a:cubicBezTo>
                  <a:pt x="1066" y="268"/>
                  <a:pt x="1066" y="268"/>
                  <a:pt x="1066" y="268"/>
                </a:cubicBezTo>
                <a:lnTo>
                  <a:pt x="1106" y="268"/>
                </a:lnTo>
                <a:close/>
                <a:moveTo>
                  <a:pt x="1692" y="232"/>
                </a:moveTo>
                <a:cubicBezTo>
                  <a:pt x="1692" y="126"/>
                  <a:pt x="1692" y="126"/>
                  <a:pt x="1692" y="126"/>
                </a:cubicBezTo>
                <a:cubicBezTo>
                  <a:pt x="1692" y="123"/>
                  <a:pt x="1690" y="121"/>
                  <a:pt x="1686" y="121"/>
                </a:cubicBezTo>
                <a:cubicBezTo>
                  <a:pt x="1651" y="121"/>
                  <a:pt x="1651" y="121"/>
                  <a:pt x="1651" y="121"/>
                </a:cubicBezTo>
                <a:cubicBezTo>
                  <a:pt x="1648" y="121"/>
                  <a:pt x="1646" y="123"/>
                  <a:pt x="1646" y="126"/>
                </a:cubicBezTo>
                <a:cubicBezTo>
                  <a:pt x="1646" y="149"/>
                  <a:pt x="1646" y="149"/>
                  <a:pt x="1646" y="149"/>
                </a:cubicBezTo>
                <a:cubicBezTo>
                  <a:pt x="1628" y="133"/>
                  <a:pt x="1607" y="121"/>
                  <a:pt x="1583" y="116"/>
                </a:cubicBezTo>
                <a:cubicBezTo>
                  <a:pt x="1580" y="115"/>
                  <a:pt x="1578" y="117"/>
                  <a:pt x="1578" y="120"/>
                </a:cubicBezTo>
                <a:cubicBezTo>
                  <a:pt x="1578" y="161"/>
                  <a:pt x="1578" y="161"/>
                  <a:pt x="1578" y="161"/>
                </a:cubicBezTo>
                <a:cubicBezTo>
                  <a:pt x="1578" y="163"/>
                  <a:pt x="1579" y="165"/>
                  <a:pt x="1581" y="165"/>
                </a:cubicBezTo>
                <a:cubicBezTo>
                  <a:pt x="1619" y="176"/>
                  <a:pt x="1648" y="213"/>
                  <a:pt x="1648" y="258"/>
                </a:cubicBezTo>
                <a:cubicBezTo>
                  <a:pt x="1648" y="311"/>
                  <a:pt x="1608" y="354"/>
                  <a:pt x="1558" y="354"/>
                </a:cubicBezTo>
                <a:cubicBezTo>
                  <a:pt x="1509" y="354"/>
                  <a:pt x="1469" y="311"/>
                  <a:pt x="1469" y="258"/>
                </a:cubicBezTo>
                <a:cubicBezTo>
                  <a:pt x="1469" y="214"/>
                  <a:pt x="1496" y="178"/>
                  <a:pt x="1533" y="166"/>
                </a:cubicBezTo>
                <a:cubicBezTo>
                  <a:pt x="1535" y="165"/>
                  <a:pt x="1536" y="164"/>
                  <a:pt x="1536" y="162"/>
                </a:cubicBezTo>
                <a:cubicBezTo>
                  <a:pt x="1536" y="120"/>
                  <a:pt x="1536" y="120"/>
                  <a:pt x="1536" y="120"/>
                </a:cubicBezTo>
                <a:cubicBezTo>
                  <a:pt x="1536" y="117"/>
                  <a:pt x="1534" y="115"/>
                  <a:pt x="1531" y="116"/>
                </a:cubicBezTo>
                <a:cubicBezTo>
                  <a:pt x="1469" y="128"/>
                  <a:pt x="1422" y="187"/>
                  <a:pt x="1422" y="257"/>
                </a:cubicBezTo>
                <a:cubicBezTo>
                  <a:pt x="1422" y="336"/>
                  <a:pt x="1482" y="400"/>
                  <a:pt x="1557" y="400"/>
                </a:cubicBezTo>
                <a:cubicBezTo>
                  <a:pt x="1591" y="400"/>
                  <a:pt x="1622" y="386"/>
                  <a:pt x="1646" y="364"/>
                </a:cubicBezTo>
                <a:cubicBezTo>
                  <a:pt x="1646" y="390"/>
                  <a:pt x="1646" y="390"/>
                  <a:pt x="1646" y="390"/>
                </a:cubicBezTo>
                <a:cubicBezTo>
                  <a:pt x="1646" y="393"/>
                  <a:pt x="1648" y="395"/>
                  <a:pt x="1651" y="395"/>
                </a:cubicBezTo>
                <a:cubicBezTo>
                  <a:pt x="1686" y="395"/>
                  <a:pt x="1686" y="395"/>
                  <a:pt x="1686" y="395"/>
                </a:cubicBezTo>
                <a:cubicBezTo>
                  <a:pt x="1690" y="395"/>
                  <a:pt x="1692" y="393"/>
                  <a:pt x="1692" y="390"/>
                </a:cubicBezTo>
                <a:cubicBezTo>
                  <a:pt x="1692" y="250"/>
                  <a:pt x="1692" y="250"/>
                  <a:pt x="1692" y="250"/>
                </a:cubicBezTo>
                <a:cubicBezTo>
                  <a:pt x="1692" y="247"/>
                  <a:pt x="1692" y="245"/>
                  <a:pt x="1692" y="242"/>
                </a:cubicBezTo>
                <a:cubicBezTo>
                  <a:pt x="1692" y="239"/>
                  <a:pt x="1692" y="235"/>
                  <a:pt x="1692" y="232"/>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99734290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ext and Image Lef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623EE699-16B4-4E6C-852E-7A2C3D133E42}"/>
              </a:ext>
            </a:extLst>
          </p:cNvPr>
          <p:cNvSpPr>
            <a:spLocks noGrp="1"/>
          </p:cNvSpPr>
          <p:nvPr>
            <p:ph type="pic" sz="quarter" idx="13"/>
          </p:nvPr>
        </p:nvSpPr>
        <p:spPr>
          <a:xfrm>
            <a:off x="3" y="-1"/>
            <a:ext cx="6095094" cy="6858000"/>
          </a:xfrm>
          <a:solidFill>
            <a:schemeClr val="bg1">
              <a:lumMod val="85000"/>
            </a:schemeClr>
          </a:solidFill>
        </p:spPr>
        <p:txBody>
          <a:bodyPr/>
          <a:lstStyle/>
          <a:p>
            <a:r>
              <a:rPr lang="en-US"/>
              <a:t>Click icon to add picture</a:t>
            </a:r>
            <a:endParaRPr lang="en-GB"/>
          </a:p>
        </p:txBody>
      </p:sp>
      <p:sp>
        <p:nvSpPr>
          <p:cNvPr id="2" name="Title 1"/>
          <p:cNvSpPr>
            <a:spLocks noGrp="1"/>
          </p:cNvSpPr>
          <p:nvPr>
            <p:ph type="title"/>
          </p:nvPr>
        </p:nvSpPr>
        <p:spPr>
          <a:xfrm>
            <a:off x="6487200" y="411083"/>
            <a:ext cx="5292000" cy="776038"/>
          </a:xfrm>
        </p:spPr>
        <p:txBody>
          <a:bodyPr/>
          <a:lstStyle/>
          <a:p>
            <a:r>
              <a:rPr lang="en-US"/>
              <a:t>Click to edit Master title style</a:t>
            </a:r>
          </a:p>
        </p:txBody>
      </p:sp>
      <p:sp>
        <p:nvSpPr>
          <p:cNvPr id="3" name="Content Placeholder 2"/>
          <p:cNvSpPr>
            <a:spLocks noGrp="1"/>
          </p:cNvSpPr>
          <p:nvPr>
            <p:ph sz="half" idx="1"/>
          </p:nvPr>
        </p:nvSpPr>
        <p:spPr>
          <a:xfrm>
            <a:off x="6487200" y="1521184"/>
            <a:ext cx="5292000" cy="44947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endParaRPr lang="en-BE"/>
          </a:p>
        </p:txBody>
      </p:sp>
      <p:sp>
        <p:nvSpPr>
          <p:cNvPr id="7" name="Slide Number Placeholder 6"/>
          <p:cNvSpPr>
            <a:spLocks noGrp="1"/>
          </p:cNvSpPr>
          <p:nvPr>
            <p:ph type="sldNum" sz="quarter" idx="12"/>
          </p:nvPr>
        </p:nvSpPr>
        <p:spPr/>
        <p:txBody>
          <a:bodyPr/>
          <a:lstStyle/>
          <a:p>
            <a:fld id="{9F5F79E4-174E-4D15-B5B9-2923F86E0116}" type="slidenum">
              <a:rPr lang="en-BE" smtClean="0"/>
              <a:t>‹#›</a:t>
            </a:fld>
            <a:endParaRPr lang="en-BE"/>
          </a:p>
        </p:txBody>
      </p:sp>
    </p:spTree>
    <p:extLst>
      <p:ext uri="{BB962C8B-B14F-4D97-AF65-F5344CB8AC3E}">
        <p14:creationId xmlns:p14="http://schemas.microsoft.com/office/powerpoint/2010/main" val="1730177985"/>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r>
              <a:rPr lang="en-GB"/>
              <a:t>Document Name</a:t>
            </a:r>
            <a:endParaRPr lang="en-US" dirty="0"/>
          </a:p>
        </p:txBody>
      </p:sp>
      <p:sp>
        <p:nvSpPr>
          <p:cNvPr id="5" name="Slide Number Placeholder 4"/>
          <p:cNvSpPr>
            <a:spLocks noGrp="1"/>
          </p:cNvSpPr>
          <p:nvPr>
            <p:ph type="sldNum" sz="quarter" idx="12"/>
          </p:nvPr>
        </p:nvSpPr>
        <p:spPr/>
        <p:txBody>
          <a:bodyPr/>
          <a:lstStyle/>
          <a:p>
            <a:fld id="{32B354EE-31EA-4FC2-9496-7B6202183237}" type="slidenum">
              <a:rPr lang="en-US" smtClean="0"/>
              <a:t>‹#›</a:t>
            </a:fld>
            <a:endParaRPr lang="en-US" dirty="0"/>
          </a:p>
        </p:txBody>
      </p:sp>
    </p:spTree>
    <p:extLst>
      <p:ext uri="{BB962C8B-B14F-4D97-AF65-F5344CB8AC3E}">
        <p14:creationId xmlns:p14="http://schemas.microsoft.com/office/powerpoint/2010/main" val="866694721"/>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r>
              <a:rPr lang="en-GB"/>
              <a:t>Document Name</a:t>
            </a:r>
            <a:endParaRPr lang="en-US" dirty="0"/>
          </a:p>
        </p:txBody>
      </p:sp>
      <p:sp>
        <p:nvSpPr>
          <p:cNvPr id="4" name="Slide Number Placeholder 3"/>
          <p:cNvSpPr>
            <a:spLocks noGrp="1"/>
          </p:cNvSpPr>
          <p:nvPr>
            <p:ph type="sldNum" sz="quarter" idx="12"/>
          </p:nvPr>
        </p:nvSpPr>
        <p:spPr/>
        <p:txBody>
          <a:bodyPr/>
          <a:lstStyle/>
          <a:p>
            <a:fld id="{32B354EE-31EA-4FC2-9496-7B6202183237}" type="slidenum">
              <a:rPr lang="en-US" smtClean="0"/>
              <a:t>‹#›</a:t>
            </a:fld>
            <a:endParaRPr lang="en-US" dirty="0"/>
          </a:p>
        </p:txBody>
      </p:sp>
    </p:spTree>
    <p:extLst>
      <p:ext uri="{BB962C8B-B14F-4D97-AF65-F5344CB8AC3E}">
        <p14:creationId xmlns:p14="http://schemas.microsoft.com/office/powerpoint/2010/main" val="2263941678"/>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806139"/>
            <a:ext cx="9144001" cy="3245724"/>
          </a:xfrm>
        </p:spPr>
        <p:txBody>
          <a:bodyPr anchor="ctr"/>
          <a:lstStyle>
            <a:lvl1pPr algn="ctr">
              <a:defRPr sz="4400">
                <a:solidFill>
                  <a:schemeClr val="tx1"/>
                </a:solidFill>
                <a:latin typeface="+mj-lt"/>
              </a:defRPr>
            </a:lvl1pPr>
          </a:lstStyle>
          <a:p>
            <a:r>
              <a:rPr lang="en-US"/>
              <a:t>Click to edit Master title style</a:t>
            </a:r>
            <a:endParaRPr lang="en-US" dirty="0"/>
          </a:p>
        </p:txBody>
      </p:sp>
      <p:sp>
        <p:nvSpPr>
          <p:cNvPr id="3" name="Subtitle 2"/>
          <p:cNvSpPr>
            <a:spLocks noGrp="1"/>
          </p:cNvSpPr>
          <p:nvPr>
            <p:ph type="subTitle" idx="1"/>
          </p:nvPr>
        </p:nvSpPr>
        <p:spPr>
          <a:xfrm>
            <a:off x="1524000" y="5714325"/>
            <a:ext cx="9144001" cy="453754"/>
          </a:xfrm>
        </p:spPr>
        <p:txBody>
          <a:bodyPr/>
          <a:lstStyle>
            <a:lvl1pPr marL="0" indent="0" algn="ctr">
              <a:buNone/>
              <a:defRPr sz="2400">
                <a:solidFill>
                  <a:schemeClr val="tx1"/>
                </a:solidFill>
              </a:defRPr>
            </a:lvl1pPr>
            <a:lvl2pPr marL="521258" indent="0" algn="ctr">
              <a:buNone/>
              <a:defRPr sz="2280"/>
            </a:lvl2pPr>
            <a:lvl3pPr marL="1042512" indent="0" algn="ctr">
              <a:buNone/>
              <a:defRPr sz="2052"/>
            </a:lvl3pPr>
            <a:lvl4pPr marL="1563773" indent="0" algn="ctr">
              <a:buNone/>
              <a:defRPr sz="1824"/>
            </a:lvl4pPr>
            <a:lvl5pPr marL="2085031" indent="0" algn="ctr">
              <a:buNone/>
              <a:defRPr sz="1824"/>
            </a:lvl5pPr>
            <a:lvl6pPr marL="2606285" indent="0" algn="ctr">
              <a:buNone/>
              <a:defRPr sz="1824"/>
            </a:lvl6pPr>
            <a:lvl7pPr marL="3127543" indent="0" algn="ctr">
              <a:buNone/>
              <a:defRPr sz="1824"/>
            </a:lvl7pPr>
            <a:lvl8pPr marL="3648803" indent="0" algn="ctr">
              <a:buNone/>
              <a:defRPr sz="1824"/>
            </a:lvl8pPr>
            <a:lvl9pPr marL="4170060" indent="0" algn="ctr">
              <a:buNone/>
              <a:defRPr sz="1824"/>
            </a:lvl9pPr>
          </a:lstStyle>
          <a:p>
            <a:r>
              <a:rPr lang="en-US"/>
              <a:t>Click to edit Master subtitle style</a:t>
            </a:r>
            <a:endParaRPr lang="en-US" dirty="0"/>
          </a:p>
        </p:txBody>
      </p:sp>
      <p:grpSp>
        <p:nvGrpSpPr>
          <p:cNvPr id="6" name="Group 4">
            <a:extLst>
              <a:ext uri="{FF2B5EF4-FFF2-40B4-BE49-F238E27FC236}">
                <a16:creationId xmlns:a16="http://schemas.microsoft.com/office/drawing/2014/main" id="{8F869F46-098E-40E7-8BBE-A2BB1CDE06F8}"/>
              </a:ext>
            </a:extLst>
          </p:cNvPr>
          <p:cNvGrpSpPr>
            <a:grpSpLocks noChangeAspect="1"/>
          </p:cNvGrpSpPr>
          <p:nvPr/>
        </p:nvGrpSpPr>
        <p:grpSpPr bwMode="auto">
          <a:xfrm>
            <a:off x="4682788" y="411163"/>
            <a:ext cx="2826424" cy="396000"/>
            <a:chOff x="0" y="1622"/>
            <a:chExt cx="7680" cy="1076"/>
          </a:xfrm>
          <a:solidFill>
            <a:schemeClr val="tx1"/>
          </a:solidFill>
        </p:grpSpPr>
        <p:sp>
          <p:nvSpPr>
            <p:cNvPr id="19" name="Freeform 5">
              <a:extLst>
                <a:ext uri="{FF2B5EF4-FFF2-40B4-BE49-F238E27FC236}">
                  <a16:creationId xmlns:a16="http://schemas.microsoft.com/office/drawing/2014/main" id="{A3EE1E7C-2EB2-4210-BB5A-9E018E234924}"/>
                </a:ext>
              </a:extLst>
            </p:cNvPr>
            <p:cNvSpPr>
              <a:spLocks/>
            </p:cNvSpPr>
            <p:nvPr/>
          </p:nvSpPr>
          <p:spPr bwMode="auto">
            <a:xfrm>
              <a:off x="1489" y="1874"/>
              <a:ext cx="479" cy="565"/>
            </a:xfrm>
            <a:custGeom>
              <a:avLst/>
              <a:gdLst>
                <a:gd name="T0" fmla="*/ 766 w 766"/>
                <a:gd name="T1" fmla="*/ 745 h 903"/>
                <a:gd name="T2" fmla="*/ 447 w 766"/>
                <a:gd name="T3" fmla="*/ 903 h 903"/>
                <a:gd name="T4" fmla="*/ 0 w 766"/>
                <a:gd name="T5" fmla="*/ 452 h 903"/>
                <a:gd name="T6" fmla="*/ 447 w 766"/>
                <a:gd name="T7" fmla="*/ 0 h 903"/>
                <a:gd name="T8" fmla="*/ 745 w 766"/>
                <a:gd name="T9" fmla="*/ 136 h 903"/>
                <a:gd name="T10" fmla="*/ 668 w 766"/>
                <a:gd name="T11" fmla="*/ 193 h 903"/>
                <a:gd name="T12" fmla="*/ 447 w 766"/>
                <a:gd name="T13" fmla="*/ 80 h 903"/>
                <a:gd name="T14" fmla="*/ 94 w 766"/>
                <a:gd name="T15" fmla="*/ 452 h 903"/>
                <a:gd name="T16" fmla="*/ 447 w 766"/>
                <a:gd name="T17" fmla="*/ 823 h 903"/>
                <a:gd name="T18" fmla="*/ 694 w 766"/>
                <a:gd name="T19" fmla="*/ 694 h 903"/>
                <a:gd name="T20" fmla="*/ 766 w 766"/>
                <a:gd name="T21" fmla="*/ 745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6" h="903">
                  <a:moveTo>
                    <a:pt x="766" y="745"/>
                  </a:moveTo>
                  <a:cubicBezTo>
                    <a:pt x="708" y="834"/>
                    <a:pt x="590" y="903"/>
                    <a:pt x="447" y="903"/>
                  </a:cubicBezTo>
                  <a:cubicBezTo>
                    <a:pt x="192" y="903"/>
                    <a:pt x="0" y="713"/>
                    <a:pt x="0" y="452"/>
                  </a:cubicBezTo>
                  <a:cubicBezTo>
                    <a:pt x="0" y="191"/>
                    <a:pt x="192" y="0"/>
                    <a:pt x="447" y="0"/>
                  </a:cubicBezTo>
                  <a:cubicBezTo>
                    <a:pt x="554" y="0"/>
                    <a:pt x="670" y="40"/>
                    <a:pt x="745" y="136"/>
                  </a:cubicBezTo>
                  <a:cubicBezTo>
                    <a:pt x="668" y="193"/>
                    <a:pt x="668" y="193"/>
                    <a:pt x="668" y="193"/>
                  </a:cubicBezTo>
                  <a:cubicBezTo>
                    <a:pt x="634" y="137"/>
                    <a:pt x="539" y="80"/>
                    <a:pt x="447" y="80"/>
                  </a:cubicBezTo>
                  <a:cubicBezTo>
                    <a:pt x="226" y="80"/>
                    <a:pt x="94" y="254"/>
                    <a:pt x="94" y="452"/>
                  </a:cubicBezTo>
                  <a:cubicBezTo>
                    <a:pt x="94" y="650"/>
                    <a:pt x="226" y="823"/>
                    <a:pt x="447" y="823"/>
                  </a:cubicBezTo>
                  <a:cubicBezTo>
                    <a:pt x="537" y="823"/>
                    <a:pt x="630" y="793"/>
                    <a:pt x="694" y="694"/>
                  </a:cubicBezTo>
                  <a:lnTo>
                    <a:pt x="766" y="7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0" name="Freeform 6">
              <a:extLst>
                <a:ext uri="{FF2B5EF4-FFF2-40B4-BE49-F238E27FC236}">
                  <a16:creationId xmlns:a16="http://schemas.microsoft.com/office/drawing/2014/main" id="{D3C16D21-72E5-46B0-8CC0-4B3CD95935E6}"/>
                </a:ext>
              </a:extLst>
            </p:cNvPr>
            <p:cNvSpPr>
              <a:spLocks noEditPoints="1"/>
            </p:cNvSpPr>
            <p:nvPr/>
          </p:nvSpPr>
          <p:spPr bwMode="auto">
            <a:xfrm>
              <a:off x="2014" y="1874"/>
              <a:ext cx="560" cy="565"/>
            </a:xfrm>
            <a:custGeom>
              <a:avLst/>
              <a:gdLst>
                <a:gd name="T0" fmla="*/ 448 w 896"/>
                <a:gd name="T1" fmla="*/ 80 h 903"/>
                <a:gd name="T2" fmla="*/ 95 w 896"/>
                <a:gd name="T3" fmla="*/ 452 h 903"/>
                <a:gd name="T4" fmla="*/ 448 w 896"/>
                <a:gd name="T5" fmla="*/ 823 h 903"/>
                <a:gd name="T6" fmla="*/ 801 w 896"/>
                <a:gd name="T7" fmla="*/ 452 h 903"/>
                <a:gd name="T8" fmla="*/ 448 w 896"/>
                <a:gd name="T9" fmla="*/ 80 h 903"/>
                <a:gd name="T10" fmla="*/ 448 w 896"/>
                <a:gd name="T11" fmla="*/ 903 h 903"/>
                <a:gd name="T12" fmla="*/ 0 w 896"/>
                <a:gd name="T13" fmla="*/ 452 h 903"/>
                <a:gd name="T14" fmla="*/ 448 w 896"/>
                <a:gd name="T15" fmla="*/ 0 h 903"/>
                <a:gd name="T16" fmla="*/ 896 w 896"/>
                <a:gd name="T17" fmla="*/ 452 h 903"/>
                <a:gd name="T18" fmla="*/ 448 w 896"/>
                <a:gd name="T19" fmla="*/ 903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6" h="903">
                  <a:moveTo>
                    <a:pt x="448" y="80"/>
                  </a:moveTo>
                  <a:cubicBezTo>
                    <a:pt x="227" y="80"/>
                    <a:pt x="95" y="254"/>
                    <a:pt x="95" y="452"/>
                  </a:cubicBezTo>
                  <a:cubicBezTo>
                    <a:pt x="95" y="649"/>
                    <a:pt x="227" y="823"/>
                    <a:pt x="448" y="823"/>
                  </a:cubicBezTo>
                  <a:cubicBezTo>
                    <a:pt x="669" y="823"/>
                    <a:pt x="801" y="649"/>
                    <a:pt x="801" y="452"/>
                  </a:cubicBezTo>
                  <a:cubicBezTo>
                    <a:pt x="801" y="254"/>
                    <a:pt x="669" y="80"/>
                    <a:pt x="448" y="80"/>
                  </a:cubicBezTo>
                  <a:moveTo>
                    <a:pt x="448" y="903"/>
                  </a:moveTo>
                  <a:cubicBezTo>
                    <a:pt x="192" y="903"/>
                    <a:pt x="0" y="712"/>
                    <a:pt x="0" y="452"/>
                  </a:cubicBezTo>
                  <a:cubicBezTo>
                    <a:pt x="0" y="191"/>
                    <a:pt x="192" y="0"/>
                    <a:pt x="448" y="0"/>
                  </a:cubicBezTo>
                  <a:cubicBezTo>
                    <a:pt x="704" y="0"/>
                    <a:pt x="896" y="191"/>
                    <a:pt x="896" y="452"/>
                  </a:cubicBezTo>
                  <a:cubicBezTo>
                    <a:pt x="896" y="712"/>
                    <a:pt x="704" y="903"/>
                    <a:pt x="448" y="90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1" name="Freeform 7">
              <a:extLst>
                <a:ext uri="{FF2B5EF4-FFF2-40B4-BE49-F238E27FC236}">
                  <a16:creationId xmlns:a16="http://schemas.microsoft.com/office/drawing/2014/main" id="{D9C247EA-B9C8-4819-BE22-2C1BAA954EDB}"/>
                </a:ext>
              </a:extLst>
            </p:cNvPr>
            <p:cNvSpPr>
              <a:spLocks/>
            </p:cNvSpPr>
            <p:nvPr/>
          </p:nvSpPr>
          <p:spPr bwMode="auto">
            <a:xfrm>
              <a:off x="2672" y="1888"/>
              <a:ext cx="305" cy="538"/>
            </a:xfrm>
            <a:custGeom>
              <a:avLst/>
              <a:gdLst>
                <a:gd name="T0" fmla="*/ 0 w 305"/>
                <a:gd name="T1" fmla="*/ 0 h 538"/>
                <a:gd name="T2" fmla="*/ 0 w 305"/>
                <a:gd name="T3" fmla="*/ 538 h 538"/>
                <a:gd name="T4" fmla="*/ 305 w 305"/>
                <a:gd name="T5" fmla="*/ 538 h 538"/>
                <a:gd name="T6" fmla="*/ 305 w 305"/>
                <a:gd name="T7" fmla="*/ 488 h 538"/>
                <a:gd name="T8" fmla="*/ 55 w 305"/>
                <a:gd name="T9" fmla="*/ 488 h 538"/>
                <a:gd name="T10" fmla="*/ 55 w 305"/>
                <a:gd name="T11" fmla="*/ 0 h 538"/>
                <a:gd name="T12" fmla="*/ 0 w 305"/>
                <a:gd name="T13" fmla="*/ 0 h 538"/>
              </a:gdLst>
              <a:ahLst/>
              <a:cxnLst>
                <a:cxn ang="0">
                  <a:pos x="T0" y="T1"/>
                </a:cxn>
                <a:cxn ang="0">
                  <a:pos x="T2" y="T3"/>
                </a:cxn>
                <a:cxn ang="0">
                  <a:pos x="T4" y="T5"/>
                </a:cxn>
                <a:cxn ang="0">
                  <a:pos x="T6" y="T7"/>
                </a:cxn>
                <a:cxn ang="0">
                  <a:pos x="T8" y="T9"/>
                </a:cxn>
                <a:cxn ang="0">
                  <a:pos x="T10" y="T11"/>
                </a:cxn>
                <a:cxn ang="0">
                  <a:pos x="T12" y="T13"/>
                </a:cxn>
              </a:cxnLst>
              <a:rect l="0" t="0" r="r" b="b"/>
              <a:pathLst>
                <a:path w="305" h="538">
                  <a:moveTo>
                    <a:pt x="0" y="0"/>
                  </a:moveTo>
                  <a:lnTo>
                    <a:pt x="0" y="538"/>
                  </a:lnTo>
                  <a:lnTo>
                    <a:pt x="305" y="538"/>
                  </a:lnTo>
                  <a:lnTo>
                    <a:pt x="305" y="488"/>
                  </a:lnTo>
                  <a:lnTo>
                    <a:pt x="55" y="488"/>
                  </a:lnTo>
                  <a:lnTo>
                    <a:pt x="55"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2" name="Freeform 8">
              <a:extLst>
                <a:ext uri="{FF2B5EF4-FFF2-40B4-BE49-F238E27FC236}">
                  <a16:creationId xmlns:a16="http://schemas.microsoft.com/office/drawing/2014/main" id="{99AEA120-CF54-48F5-BF11-5391371ECA70}"/>
                </a:ext>
              </a:extLst>
            </p:cNvPr>
            <p:cNvSpPr>
              <a:spLocks noEditPoints="1"/>
            </p:cNvSpPr>
            <p:nvPr/>
          </p:nvSpPr>
          <p:spPr bwMode="auto">
            <a:xfrm>
              <a:off x="2997" y="1874"/>
              <a:ext cx="561" cy="565"/>
            </a:xfrm>
            <a:custGeom>
              <a:avLst/>
              <a:gdLst>
                <a:gd name="T0" fmla="*/ 448 w 896"/>
                <a:gd name="T1" fmla="*/ 80 h 903"/>
                <a:gd name="T2" fmla="*/ 95 w 896"/>
                <a:gd name="T3" fmla="*/ 452 h 903"/>
                <a:gd name="T4" fmla="*/ 448 w 896"/>
                <a:gd name="T5" fmla="*/ 823 h 903"/>
                <a:gd name="T6" fmla="*/ 801 w 896"/>
                <a:gd name="T7" fmla="*/ 452 h 903"/>
                <a:gd name="T8" fmla="*/ 448 w 896"/>
                <a:gd name="T9" fmla="*/ 80 h 903"/>
                <a:gd name="T10" fmla="*/ 448 w 896"/>
                <a:gd name="T11" fmla="*/ 903 h 903"/>
                <a:gd name="T12" fmla="*/ 0 w 896"/>
                <a:gd name="T13" fmla="*/ 452 h 903"/>
                <a:gd name="T14" fmla="*/ 448 w 896"/>
                <a:gd name="T15" fmla="*/ 0 h 903"/>
                <a:gd name="T16" fmla="*/ 896 w 896"/>
                <a:gd name="T17" fmla="*/ 452 h 903"/>
                <a:gd name="T18" fmla="*/ 448 w 896"/>
                <a:gd name="T19" fmla="*/ 903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6" h="903">
                  <a:moveTo>
                    <a:pt x="448" y="80"/>
                  </a:moveTo>
                  <a:cubicBezTo>
                    <a:pt x="227" y="80"/>
                    <a:pt x="95" y="254"/>
                    <a:pt x="95" y="452"/>
                  </a:cubicBezTo>
                  <a:cubicBezTo>
                    <a:pt x="95" y="649"/>
                    <a:pt x="227" y="823"/>
                    <a:pt x="448" y="823"/>
                  </a:cubicBezTo>
                  <a:cubicBezTo>
                    <a:pt x="669" y="823"/>
                    <a:pt x="801" y="649"/>
                    <a:pt x="801" y="452"/>
                  </a:cubicBezTo>
                  <a:cubicBezTo>
                    <a:pt x="801" y="254"/>
                    <a:pt x="669" y="80"/>
                    <a:pt x="448" y="80"/>
                  </a:cubicBezTo>
                  <a:moveTo>
                    <a:pt x="448" y="903"/>
                  </a:moveTo>
                  <a:cubicBezTo>
                    <a:pt x="192" y="903"/>
                    <a:pt x="0" y="712"/>
                    <a:pt x="0" y="452"/>
                  </a:cubicBezTo>
                  <a:cubicBezTo>
                    <a:pt x="0" y="191"/>
                    <a:pt x="192" y="0"/>
                    <a:pt x="448" y="0"/>
                  </a:cubicBezTo>
                  <a:cubicBezTo>
                    <a:pt x="704" y="0"/>
                    <a:pt x="896" y="191"/>
                    <a:pt x="896" y="452"/>
                  </a:cubicBezTo>
                  <a:cubicBezTo>
                    <a:pt x="896" y="712"/>
                    <a:pt x="704" y="903"/>
                    <a:pt x="448" y="90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3" name="Freeform 9">
              <a:extLst>
                <a:ext uri="{FF2B5EF4-FFF2-40B4-BE49-F238E27FC236}">
                  <a16:creationId xmlns:a16="http://schemas.microsoft.com/office/drawing/2014/main" id="{38DF2852-0A8E-49FE-BDD2-2B742DE98460}"/>
                </a:ext>
              </a:extLst>
            </p:cNvPr>
            <p:cNvSpPr>
              <a:spLocks/>
            </p:cNvSpPr>
            <p:nvPr/>
          </p:nvSpPr>
          <p:spPr bwMode="auto">
            <a:xfrm>
              <a:off x="4182" y="1888"/>
              <a:ext cx="503" cy="538"/>
            </a:xfrm>
            <a:custGeom>
              <a:avLst/>
              <a:gdLst>
                <a:gd name="T0" fmla="*/ 0 w 503"/>
                <a:gd name="T1" fmla="*/ 0 h 538"/>
                <a:gd name="T2" fmla="*/ 119 w 503"/>
                <a:gd name="T3" fmla="*/ 0 h 538"/>
                <a:gd name="T4" fmla="*/ 119 w 503"/>
                <a:gd name="T5" fmla="*/ 243 h 538"/>
                <a:gd name="T6" fmla="*/ 327 w 503"/>
                <a:gd name="T7" fmla="*/ 0 h 538"/>
                <a:gd name="T8" fmla="*/ 482 w 503"/>
                <a:gd name="T9" fmla="*/ 0 h 538"/>
                <a:gd name="T10" fmla="*/ 243 w 503"/>
                <a:gd name="T11" fmla="*/ 270 h 538"/>
                <a:gd name="T12" fmla="*/ 503 w 503"/>
                <a:gd name="T13" fmla="*/ 538 h 538"/>
                <a:gd name="T14" fmla="*/ 337 w 503"/>
                <a:gd name="T15" fmla="*/ 538 h 538"/>
                <a:gd name="T16" fmla="*/ 119 w 503"/>
                <a:gd name="T17" fmla="*/ 302 h 538"/>
                <a:gd name="T18" fmla="*/ 119 w 503"/>
                <a:gd name="T19" fmla="*/ 538 h 538"/>
                <a:gd name="T20" fmla="*/ 0 w 503"/>
                <a:gd name="T21" fmla="*/ 538 h 538"/>
                <a:gd name="T22" fmla="*/ 0 w 503"/>
                <a:gd name="T23"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3" h="538">
                  <a:moveTo>
                    <a:pt x="0" y="0"/>
                  </a:moveTo>
                  <a:lnTo>
                    <a:pt x="119" y="0"/>
                  </a:lnTo>
                  <a:lnTo>
                    <a:pt x="119" y="243"/>
                  </a:lnTo>
                  <a:lnTo>
                    <a:pt x="327" y="0"/>
                  </a:lnTo>
                  <a:lnTo>
                    <a:pt x="482" y="0"/>
                  </a:lnTo>
                  <a:lnTo>
                    <a:pt x="243" y="270"/>
                  </a:lnTo>
                  <a:lnTo>
                    <a:pt x="503" y="538"/>
                  </a:lnTo>
                  <a:lnTo>
                    <a:pt x="337" y="538"/>
                  </a:lnTo>
                  <a:lnTo>
                    <a:pt x="119" y="302"/>
                  </a:lnTo>
                  <a:lnTo>
                    <a:pt x="119" y="538"/>
                  </a:lnTo>
                  <a:lnTo>
                    <a:pt x="0" y="53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4" name="Rectangle 10">
              <a:extLst>
                <a:ext uri="{FF2B5EF4-FFF2-40B4-BE49-F238E27FC236}">
                  <a16:creationId xmlns:a16="http://schemas.microsoft.com/office/drawing/2014/main" id="{2B752DEC-79E9-4690-A0A0-3FBBBA423250}"/>
                </a:ext>
              </a:extLst>
            </p:cNvPr>
            <p:cNvSpPr>
              <a:spLocks noChangeArrowheads="1"/>
            </p:cNvSpPr>
            <p:nvPr/>
          </p:nvSpPr>
          <p:spPr bwMode="auto">
            <a:xfrm>
              <a:off x="4743" y="1888"/>
              <a:ext cx="118" cy="5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5" name="Freeform 11">
              <a:extLst>
                <a:ext uri="{FF2B5EF4-FFF2-40B4-BE49-F238E27FC236}">
                  <a16:creationId xmlns:a16="http://schemas.microsoft.com/office/drawing/2014/main" id="{7AE7A572-E336-4C83-BDA6-9B0E52C1C02D}"/>
                </a:ext>
              </a:extLst>
            </p:cNvPr>
            <p:cNvSpPr>
              <a:spLocks/>
            </p:cNvSpPr>
            <p:nvPr/>
          </p:nvSpPr>
          <p:spPr bwMode="auto">
            <a:xfrm>
              <a:off x="4980" y="1888"/>
              <a:ext cx="509" cy="538"/>
            </a:xfrm>
            <a:custGeom>
              <a:avLst/>
              <a:gdLst>
                <a:gd name="T0" fmla="*/ 0 w 509"/>
                <a:gd name="T1" fmla="*/ 0 h 538"/>
                <a:gd name="T2" fmla="*/ 160 w 509"/>
                <a:gd name="T3" fmla="*/ 0 h 538"/>
                <a:gd name="T4" fmla="*/ 389 w 509"/>
                <a:gd name="T5" fmla="*/ 374 h 538"/>
                <a:gd name="T6" fmla="*/ 391 w 509"/>
                <a:gd name="T7" fmla="*/ 374 h 538"/>
                <a:gd name="T8" fmla="*/ 391 w 509"/>
                <a:gd name="T9" fmla="*/ 0 h 538"/>
                <a:gd name="T10" fmla="*/ 509 w 509"/>
                <a:gd name="T11" fmla="*/ 0 h 538"/>
                <a:gd name="T12" fmla="*/ 509 w 509"/>
                <a:gd name="T13" fmla="*/ 538 h 538"/>
                <a:gd name="T14" fmla="*/ 354 w 509"/>
                <a:gd name="T15" fmla="*/ 538 h 538"/>
                <a:gd name="T16" fmla="*/ 120 w 509"/>
                <a:gd name="T17" fmla="*/ 155 h 538"/>
                <a:gd name="T18" fmla="*/ 118 w 509"/>
                <a:gd name="T19" fmla="*/ 155 h 538"/>
                <a:gd name="T20" fmla="*/ 118 w 509"/>
                <a:gd name="T21" fmla="*/ 538 h 538"/>
                <a:gd name="T22" fmla="*/ 0 w 509"/>
                <a:gd name="T23" fmla="*/ 538 h 538"/>
                <a:gd name="T24" fmla="*/ 0 w 509"/>
                <a:gd name="T25"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9" h="538">
                  <a:moveTo>
                    <a:pt x="0" y="0"/>
                  </a:moveTo>
                  <a:lnTo>
                    <a:pt x="160" y="0"/>
                  </a:lnTo>
                  <a:lnTo>
                    <a:pt x="389" y="374"/>
                  </a:lnTo>
                  <a:lnTo>
                    <a:pt x="391" y="374"/>
                  </a:lnTo>
                  <a:lnTo>
                    <a:pt x="391" y="0"/>
                  </a:lnTo>
                  <a:lnTo>
                    <a:pt x="509" y="0"/>
                  </a:lnTo>
                  <a:lnTo>
                    <a:pt x="509" y="538"/>
                  </a:lnTo>
                  <a:lnTo>
                    <a:pt x="354" y="538"/>
                  </a:lnTo>
                  <a:lnTo>
                    <a:pt x="120" y="155"/>
                  </a:lnTo>
                  <a:lnTo>
                    <a:pt x="118" y="155"/>
                  </a:lnTo>
                  <a:lnTo>
                    <a:pt x="118" y="538"/>
                  </a:lnTo>
                  <a:lnTo>
                    <a:pt x="0" y="53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6" name="Freeform 12">
              <a:extLst>
                <a:ext uri="{FF2B5EF4-FFF2-40B4-BE49-F238E27FC236}">
                  <a16:creationId xmlns:a16="http://schemas.microsoft.com/office/drawing/2014/main" id="{005E76D6-C2C1-494C-9CF4-E975FD4C9CF7}"/>
                </a:ext>
              </a:extLst>
            </p:cNvPr>
            <p:cNvSpPr>
              <a:spLocks/>
            </p:cNvSpPr>
            <p:nvPr/>
          </p:nvSpPr>
          <p:spPr bwMode="auto">
            <a:xfrm>
              <a:off x="5608" y="1888"/>
              <a:ext cx="378" cy="538"/>
            </a:xfrm>
            <a:custGeom>
              <a:avLst/>
              <a:gdLst>
                <a:gd name="T0" fmla="*/ 0 w 378"/>
                <a:gd name="T1" fmla="*/ 0 h 538"/>
                <a:gd name="T2" fmla="*/ 0 w 378"/>
                <a:gd name="T3" fmla="*/ 538 h 538"/>
                <a:gd name="T4" fmla="*/ 378 w 378"/>
                <a:gd name="T5" fmla="*/ 538 h 538"/>
                <a:gd name="T6" fmla="*/ 378 w 378"/>
                <a:gd name="T7" fmla="*/ 433 h 538"/>
                <a:gd name="T8" fmla="*/ 118 w 378"/>
                <a:gd name="T9" fmla="*/ 433 h 538"/>
                <a:gd name="T10" fmla="*/ 118 w 378"/>
                <a:gd name="T11" fmla="*/ 319 h 538"/>
                <a:gd name="T12" fmla="*/ 351 w 378"/>
                <a:gd name="T13" fmla="*/ 319 h 538"/>
                <a:gd name="T14" fmla="*/ 351 w 378"/>
                <a:gd name="T15" fmla="*/ 210 h 538"/>
                <a:gd name="T16" fmla="*/ 118 w 378"/>
                <a:gd name="T17" fmla="*/ 210 h 538"/>
                <a:gd name="T18" fmla="*/ 118 w 378"/>
                <a:gd name="T19" fmla="*/ 105 h 538"/>
                <a:gd name="T20" fmla="*/ 364 w 378"/>
                <a:gd name="T21" fmla="*/ 105 h 538"/>
                <a:gd name="T22" fmla="*/ 364 w 378"/>
                <a:gd name="T23" fmla="*/ 0 h 538"/>
                <a:gd name="T24" fmla="*/ 0 w 378"/>
                <a:gd name="T25"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8" h="538">
                  <a:moveTo>
                    <a:pt x="0" y="0"/>
                  </a:moveTo>
                  <a:lnTo>
                    <a:pt x="0" y="538"/>
                  </a:lnTo>
                  <a:lnTo>
                    <a:pt x="378" y="538"/>
                  </a:lnTo>
                  <a:lnTo>
                    <a:pt x="378" y="433"/>
                  </a:lnTo>
                  <a:lnTo>
                    <a:pt x="118" y="433"/>
                  </a:lnTo>
                  <a:lnTo>
                    <a:pt x="118" y="319"/>
                  </a:lnTo>
                  <a:lnTo>
                    <a:pt x="351" y="319"/>
                  </a:lnTo>
                  <a:lnTo>
                    <a:pt x="351" y="210"/>
                  </a:lnTo>
                  <a:lnTo>
                    <a:pt x="118" y="210"/>
                  </a:lnTo>
                  <a:lnTo>
                    <a:pt x="118" y="105"/>
                  </a:lnTo>
                  <a:lnTo>
                    <a:pt x="364" y="105"/>
                  </a:lnTo>
                  <a:lnTo>
                    <a:pt x="364"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7" name="Freeform 13">
              <a:extLst>
                <a:ext uri="{FF2B5EF4-FFF2-40B4-BE49-F238E27FC236}">
                  <a16:creationId xmlns:a16="http://schemas.microsoft.com/office/drawing/2014/main" id="{B21D3D1A-E9E0-4884-884F-492A6AB4F231}"/>
                </a:ext>
              </a:extLst>
            </p:cNvPr>
            <p:cNvSpPr>
              <a:spLocks/>
            </p:cNvSpPr>
            <p:nvPr/>
          </p:nvSpPr>
          <p:spPr bwMode="auto">
            <a:xfrm>
              <a:off x="6052" y="1888"/>
              <a:ext cx="424" cy="538"/>
            </a:xfrm>
            <a:custGeom>
              <a:avLst/>
              <a:gdLst>
                <a:gd name="T0" fmla="*/ 0 w 424"/>
                <a:gd name="T1" fmla="*/ 0 h 538"/>
                <a:gd name="T2" fmla="*/ 0 w 424"/>
                <a:gd name="T3" fmla="*/ 105 h 538"/>
                <a:gd name="T4" fmla="*/ 152 w 424"/>
                <a:gd name="T5" fmla="*/ 105 h 538"/>
                <a:gd name="T6" fmla="*/ 152 w 424"/>
                <a:gd name="T7" fmla="*/ 538 h 538"/>
                <a:gd name="T8" fmla="*/ 271 w 424"/>
                <a:gd name="T9" fmla="*/ 538 h 538"/>
                <a:gd name="T10" fmla="*/ 271 w 424"/>
                <a:gd name="T11" fmla="*/ 105 h 538"/>
                <a:gd name="T12" fmla="*/ 424 w 424"/>
                <a:gd name="T13" fmla="*/ 105 h 538"/>
                <a:gd name="T14" fmla="*/ 424 w 424"/>
                <a:gd name="T15" fmla="*/ 0 h 538"/>
                <a:gd name="T16" fmla="*/ 0 w 424"/>
                <a:gd name="T17"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4" h="538">
                  <a:moveTo>
                    <a:pt x="0" y="0"/>
                  </a:moveTo>
                  <a:lnTo>
                    <a:pt x="0" y="105"/>
                  </a:lnTo>
                  <a:lnTo>
                    <a:pt x="152" y="105"/>
                  </a:lnTo>
                  <a:lnTo>
                    <a:pt x="152" y="538"/>
                  </a:lnTo>
                  <a:lnTo>
                    <a:pt x="271" y="538"/>
                  </a:lnTo>
                  <a:lnTo>
                    <a:pt x="271" y="105"/>
                  </a:lnTo>
                  <a:lnTo>
                    <a:pt x="424" y="105"/>
                  </a:lnTo>
                  <a:lnTo>
                    <a:pt x="424"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8" name="Rectangle 14">
              <a:extLst>
                <a:ext uri="{FF2B5EF4-FFF2-40B4-BE49-F238E27FC236}">
                  <a16:creationId xmlns:a16="http://schemas.microsoft.com/office/drawing/2014/main" id="{D4874F0E-D8D1-4B21-B17D-6C8BFFACB223}"/>
                </a:ext>
              </a:extLst>
            </p:cNvPr>
            <p:cNvSpPr>
              <a:spLocks noChangeArrowheads="1"/>
            </p:cNvSpPr>
            <p:nvPr/>
          </p:nvSpPr>
          <p:spPr bwMode="auto">
            <a:xfrm>
              <a:off x="6554" y="1888"/>
              <a:ext cx="119" cy="5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9" name="Freeform 15">
              <a:extLst>
                <a:ext uri="{FF2B5EF4-FFF2-40B4-BE49-F238E27FC236}">
                  <a16:creationId xmlns:a16="http://schemas.microsoft.com/office/drawing/2014/main" id="{09F13DA2-ACD8-46BB-AFA6-FB20A53BBE33}"/>
                </a:ext>
              </a:extLst>
            </p:cNvPr>
            <p:cNvSpPr>
              <a:spLocks noEditPoints="1"/>
            </p:cNvSpPr>
            <p:nvPr/>
          </p:nvSpPr>
          <p:spPr bwMode="auto">
            <a:xfrm>
              <a:off x="3658" y="1888"/>
              <a:ext cx="383" cy="538"/>
            </a:xfrm>
            <a:custGeom>
              <a:avLst/>
              <a:gdLst>
                <a:gd name="T0" fmla="*/ 87 w 613"/>
                <a:gd name="T1" fmla="*/ 376 h 859"/>
                <a:gd name="T2" fmla="*/ 278 w 613"/>
                <a:gd name="T3" fmla="*/ 376 h 859"/>
                <a:gd name="T4" fmla="*/ 462 w 613"/>
                <a:gd name="T5" fmla="*/ 228 h 859"/>
                <a:gd name="T6" fmla="*/ 278 w 613"/>
                <a:gd name="T7" fmla="*/ 82 h 859"/>
                <a:gd name="T8" fmla="*/ 87 w 613"/>
                <a:gd name="T9" fmla="*/ 82 h 859"/>
                <a:gd name="T10" fmla="*/ 87 w 613"/>
                <a:gd name="T11" fmla="*/ 376 h 859"/>
                <a:gd name="T12" fmla="*/ 497 w 613"/>
                <a:gd name="T13" fmla="*/ 859 h 859"/>
                <a:gd name="T14" fmla="*/ 87 w 613"/>
                <a:gd name="T15" fmla="*/ 428 h 859"/>
                <a:gd name="T16" fmla="*/ 87 w 613"/>
                <a:gd name="T17" fmla="*/ 859 h 859"/>
                <a:gd name="T18" fmla="*/ 0 w 613"/>
                <a:gd name="T19" fmla="*/ 859 h 859"/>
                <a:gd name="T20" fmla="*/ 0 w 613"/>
                <a:gd name="T21" fmla="*/ 0 h 859"/>
                <a:gd name="T22" fmla="*/ 270 w 613"/>
                <a:gd name="T23" fmla="*/ 0 h 859"/>
                <a:gd name="T24" fmla="*/ 555 w 613"/>
                <a:gd name="T25" fmla="*/ 228 h 859"/>
                <a:gd name="T26" fmla="*/ 270 w 613"/>
                <a:gd name="T27" fmla="*/ 453 h 859"/>
                <a:gd name="T28" fmla="*/ 222 w 613"/>
                <a:gd name="T29" fmla="*/ 453 h 859"/>
                <a:gd name="T30" fmla="*/ 613 w 613"/>
                <a:gd name="T31" fmla="*/ 859 h 859"/>
                <a:gd name="T32" fmla="*/ 497 w 613"/>
                <a:gd name="T33" fmla="*/ 859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13" h="859">
                  <a:moveTo>
                    <a:pt x="87" y="376"/>
                  </a:moveTo>
                  <a:cubicBezTo>
                    <a:pt x="278" y="376"/>
                    <a:pt x="278" y="376"/>
                    <a:pt x="278" y="376"/>
                  </a:cubicBezTo>
                  <a:cubicBezTo>
                    <a:pt x="396" y="376"/>
                    <a:pt x="462" y="328"/>
                    <a:pt x="462" y="228"/>
                  </a:cubicBezTo>
                  <a:cubicBezTo>
                    <a:pt x="462" y="129"/>
                    <a:pt x="396" y="82"/>
                    <a:pt x="278" y="82"/>
                  </a:cubicBezTo>
                  <a:cubicBezTo>
                    <a:pt x="87" y="82"/>
                    <a:pt x="87" y="82"/>
                    <a:pt x="87" y="82"/>
                  </a:cubicBezTo>
                  <a:lnTo>
                    <a:pt x="87" y="376"/>
                  </a:lnTo>
                  <a:close/>
                  <a:moveTo>
                    <a:pt x="497" y="859"/>
                  </a:moveTo>
                  <a:cubicBezTo>
                    <a:pt x="87" y="428"/>
                    <a:pt x="87" y="428"/>
                    <a:pt x="87" y="428"/>
                  </a:cubicBezTo>
                  <a:cubicBezTo>
                    <a:pt x="87" y="859"/>
                    <a:pt x="87" y="859"/>
                    <a:pt x="87" y="859"/>
                  </a:cubicBezTo>
                  <a:cubicBezTo>
                    <a:pt x="0" y="859"/>
                    <a:pt x="0" y="859"/>
                    <a:pt x="0" y="859"/>
                  </a:cubicBezTo>
                  <a:cubicBezTo>
                    <a:pt x="0" y="0"/>
                    <a:pt x="0" y="0"/>
                    <a:pt x="0" y="0"/>
                  </a:cubicBezTo>
                  <a:cubicBezTo>
                    <a:pt x="270" y="0"/>
                    <a:pt x="270" y="0"/>
                    <a:pt x="270" y="0"/>
                  </a:cubicBezTo>
                  <a:cubicBezTo>
                    <a:pt x="457" y="0"/>
                    <a:pt x="555" y="91"/>
                    <a:pt x="555" y="228"/>
                  </a:cubicBezTo>
                  <a:cubicBezTo>
                    <a:pt x="555" y="367"/>
                    <a:pt x="457" y="453"/>
                    <a:pt x="270" y="453"/>
                  </a:cubicBezTo>
                  <a:cubicBezTo>
                    <a:pt x="222" y="453"/>
                    <a:pt x="222" y="453"/>
                    <a:pt x="222" y="453"/>
                  </a:cubicBezTo>
                  <a:cubicBezTo>
                    <a:pt x="613" y="859"/>
                    <a:pt x="613" y="859"/>
                    <a:pt x="613" y="859"/>
                  </a:cubicBezTo>
                  <a:lnTo>
                    <a:pt x="497" y="8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30" name="Freeform 16">
              <a:extLst>
                <a:ext uri="{FF2B5EF4-FFF2-40B4-BE49-F238E27FC236}">
                  <a16:creationId xmlns:a16="http://schemas.microsoft.com/office/drawing/2014/main" id="{0FCE92F8-0CB6-4C7E-95FD-BEDB676C1AE9}"/>
                </a:ext>
              </a:extLst>
            </p:cNvPr>
            <p:cNvSpPr>
              <a:spLocks/>
            </p:cNvSpPr>
            <p:nvPr/>
          </p:nvSpPr>
          <p:spPr bwMode="auto">
            <a:xfrm>
              <a:off x="6752" y="1881"/>
              <a:ext cx="476" cy="558"/>
            </a:xfrm>
            <a:custGeom>
              <a:avLst/>
              <a:gdLst>
                <a:gd name="T0" fmla="*/ 0 w 761"/>
                <a:gd name="T1" fmla="*/ 447 h 893"/>
                <a:gd name="T2" fmla="*/ 417 w 761"/>
                <a:gd name="T3" fmla="*/ 0 h 893"/>
                <a:gd name="T4" fmla="*/ 747 w 761"/>
                <a:gd name="T5" fmla="*/ 181 h 893"/>
                <a:gd name="T6" fmla="*/ 614 w 761"/>
                <a:gd name="T7" fmla="*/ 285 h 893"/>
                <a:gd name="T8" fmla="*/ 421 w 761"/>
                <a:gd name="T9" fmla="*/ 178 h 893"/>
                <a:gd name="T10" fmla="*/ 197 w 761"/>
                <a:gd name="T11" fmla="*/ 447 h 893"/>
                <a:gd name="T12" fmla="*/ 427 w 761"/>
                <a:gd name="T13" fmla="*/ 715 h 893"/>
                <a:gd name="T14" fmla="*/ 623 w 761"/>
                <a:gd name="T15" fmla="*/ 608 h 893"/>
                <a:gd name="T16" fmla="*/ 761 w 761"/>
                <a:gd name="T17" fmla="*/ 715 h 893"/>
                <a:gd name="T18" fmla="*/ 423 w 761"/>
                <a:gd name="T19" fmla="*/ 893 h 893"/>
                <a:gd name="T20" fmla="*/ 0 w 761"/>
                <a:gd name="T21" fmla="*/ 447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1" h="893">
                  <a:moveTo>
                    <a:pt x="0" y="447"/>
                  </a:moveTo>
                  <a:cubicBezTo>
                    <a:pt x="0" y="177"/>
                    <a:pt x="160" y="0"/>
                    <a:pt x="417" y="0"/>
                  </a:cubicBezTo>
                  <a:cubicBezTo>
                    <a:pt x="582" y="0"/>
                    <a:pt x="698" y="79"/>
                    <a:pt x="747" y="181"/>
                  </a:cubicBezTo>
                  <a:cubicBezTo>
                    <a:pt x="614" y="285"/>
                    <a:pt x="614" y="285"/>
                    <a:pt x="614" y="285"/>
                  </a:cubicBezTo>
                  <a:cubicBezTo>
                    <a:pt x="570" y="211"/>
                    <a:pt x="493" y="178"/>
                    <a:pt x="421" y="178"/>
                  </a:cubicBezTo>
                  <a:cubicBezTo>
                    <a:pt x="295" y="178"/>
                    <a:pt x="197" y="269"/>
                    <a:pt x="197" y="447"/>
                  </a:cubicBezTo>
                  <a:cubicBezTo>
                    <a:pt x="197" y="614"/>
                    <a:pt x="300" y="715"/>
                    <a:pt x="427" y="715"/>
                  </a:cubicBezTo>
                  <a:cubicBezTo>
                    <a:pt x="500" y="715"/>
                    <a:pt x="579" y="682"/>
                    <a:pt x="623" y="608"/>
                  </a:cubicBezTo>
                  <a:cubicBezTo>
                    <a:pt x="761" y="715"/>
                    <a:pt x="761" y="715"/>
                    <a:pt x="761" y="715"/>
                  </a:cubicBezTo>
                  <a:cubicBezTo>
                    <a:pt x="699" y="819"/>
                    <a:pt x="590" y="893"/>
                    <a:pt x="423" y="893"/>
                  </a:cubicBezTo>
                  <a:cubicBezTo>
                    <a:pt x="163" y="893"/>
                    <a:pt x="0" y="716"/>
                    <a:pt x="0" y="44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31" name="Freeform 17">
              <a:extLst>
                <a:ext uri="{FF2B5EF4-FFF2-40B4-BE49-F238E27FC236}">
                  <a16:creationId xmlns:a16="http://schemas.microsoft.com/office/drawing/2014/main" id="{D191AE23-8810-45AE-BD8E-C77B7ADF0A55}"/>
                </a:ext>
              </a:extLst>
            </p:cNvPr>
            <p:cNvSpPr>
              <a:spLocks/>
            </p:cNvSpPr>
            <p:nvPr/>
          </p:nvSpPr>
          <p:spPr bwMode="auto">
            <a:xfrm>
              <a:off x="7271" y="1874"/>
              <a:ext cx="409" cy="565"/>
            </a:xfrm>
            <a:custGeom>
              <a:avLst/>
              <a:gdLst>
                <a:gd name="T0" fmla="*/ 404 w 654"/>
                <a:gd name="T1" fmla="*/ 376 h 903"/>
                <a:gd name="T2" fmla="*/ 287 w 654"/>
                <a:gd name="T3" fmla="*/ 354 h 903"/>
                <a:gd name="T4" fmla="*/ 202 w 654"/>
                <a:gd name="T5" fmla="*/ 264 h 903"/>
                <a:gd name="T6" fmla="*/ 321 w 654"/>
                <a:gd name="T7" fmla="*/ 171 h 903"/>
                <a:gd name="T8" fmla="*/ 478 w 654"/>
                <a:gd name="T9" fmla="*/ 270 h 903"/>
                <a:gd name="T10" fmla="*/ 617 w 654"/>
                <a:gd name="T11" fmla="*/ 163 h 903"/>
                <a:gd name="T12" fmla="*/ 322 w 654"/>
                <a:gd name="T13" fmla="*/ 0 h 903"/>
                <a:gd name="T14" fmla="*/ 12 w 654"/>
                <a:gd name="T15" fmla="*/ 279 h 903"/>
                <a:gd name="T16" fmla="*/ 247 w 654"/>
                <a:gd name="T17" fmla="*/ 523 h 903"/>
                <a:gd name="T18" fmla="*/ 366 w 654"/>
                <a:gd name="T19" fmla="*/ 546 h 903"/>
                <a:gd name="T20" fmla="*/ 459 w 654"/>
                <a:gd name="T21" fmla="*/ 642 h 903"/>
                <a:gd name="T22" fmla="*/ 336 w 654"/>
                <a:gd name="T23" fmla="*/ 734 h 903"/>
                <a:gd name="T24" fmla="*/ 143 w 654"/>
                <a:gd name="T25" fmla="*/ 594 h 903"/>
                <a:gd name="T26" fmla="*/ 0 w 654"/>
                <a:gd name="T27" fmla="*/ 704 h 903"/>
                <a:gd name="T28" fmla="*/ 334 w 654"/>
                <a:gd name="T29" fmla="*/ 903 h 903"/>
                <a:gd name="T30" fmla="*/ 654 w 654"/>
                <a:gd name="T31" fmla="*/ 629 h 903"/>
                <a:gd name="T32" fmla="*/ 404 w 654"/>
                <a:gd name="T33" fmla="*/ 376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4" h="903">
                  <a:moveTo>
                    <a:pt x="404" y="376"/>
                  </a:moveTo>
                  <a:cubicBezTo>
                    <a:pt x="287" y="354"/>
                    <a:pt x="287" y="354"/>
                    <a:pt x="287" y="354"/>
                  </a:cubicBezTo>
                  <a:cubicBezTo>
                    <a:pt x="228" y="344"/>
                    <a:pt x="202" y="305"/>
                    <a:pt x="202" y="264"/>
                  </a:cubicBezTo>
                  <a:cubicBezTo>
                    <a:pt x="202" y="216"/>
                    <a:pt x="249" y="171"/>
                    <a:pt x="321" y="171"/>
                  </a:cubicBezTo>
                  <a:cubicBezTo>
                    <a:pt x="403" y="171"/>
                    <a:pt x="451" y="222"/>
                    <a:pt x="478" y="270"/>
                  </a:cubicBezTo>
                  <a:cubicBezTo>
                    <a:pt x="617" y="163"/>
                    <a:pt x="617" y="163"/>
                    <a:pt x="617" y="163"/>
                  </a:cubicBezTo>
                  <a:cubicBezTo>
                    <a:pt x="578" y="79"/>
                    <a:pt x="491" y="0"/>
                    <a:pt x="322" y="0"/>
                  </a:cubicBezTo>
                  <a:cubicBezTo>
                    <a:pt x="156" y="0"/>
                    <a:pt x="12" y="115"/>
                    <a:pt x="12" y="279"/>
                  </a:cubicBezTo>
                  <a:cubicBezTo>
                    <a:pt x="12" y="407"/>
                    <a:pt x="101" y="496"/>
                    <a:pt x="247" y="523"/>
                  </a:cubicBezTo>
                  <a:cubicBezTo>
                    <a:pt x="366" y="546"/>
                    <a:pt x="366" y="546"/>
                    <a:pt x="366" y="546"/>
                  </a:cubicBezTo>
                  <a:cubicBezTo>
                    <a:pt x="423" y="557"/>
                    <a:pt x="459" y="597"/>
                    <a:pt x="459" y="642"/>
                  </a:cubicBezTo>
                  <a:cubicBezTo>
                    <a:pt x="459" y="695"/>
                    <a:pt x="413" y="734"/>
                    <a:pt x="336" y="734"/>
                  </a:cubicBezTo>
                  <a:cubicBezTo>
                    <a:pt x="219" y="734"/>
                    <a:pt x="161" y="649"/>
                    <a:pt x="143" y="594"/>
                  </a:cubicBezTo>
                  <a:cubicBezTo>
                    <a:pt x="0" y="704"/>
                    <a:pt x="0" y="704"/>
                    <a:pt x="0" y="704"/>
                  </a:cubicBezTo>
                  <a:cubicBezTo>
                    <a:pt x="41" y="806"/>
                    <a:pt x="144" y="903"/>
                    <a:pt x="334" y="903"/>
                  </a:cubicBezTo>
                  <a:cubicBezTo>
                    <a:pt x="541" y="903"/>
                    <a:pt x="654" y="765"/>
                    <a:pt x="654" y="629"/>
                  </a:cubicBezTo>
                  <a:cubicBezTo>
                    <a:pt x="654" y="506"/>
                    <a:pt x="569" y="407"/>
                    <a:pt x="404" y="37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32" name="Freeform 18">
              <a:extLst>
                <a:ext uri="{FF2B5EF4-FFF2-40B4-BE49-F238E27FC236}">
                  <a16:creationId xmlns:a16="http://schemas.microsoft.com/office/drawing/2014/main" id="{AB398A49-2CB9-4E19-A099-5B122098B9F1}"/>
                </a:ext>
              </a:extLst>
            </p:cNvPr>
            <p:cNvSpPr>
              <a:spLocks/>
            </p:cNvSpPr>
            <p:nvPr/>
          </p:nvSpPr>
          <p:spPr bwMode="auto">
            <a:xfrm>
              <a:off x="0" y="1622"/>
              <a:ext cx="857" cy="1076"/>
            </a:xfrm>
            <a:custGeom>
              <a:avLst/>
              <a:gdLst>
                <a:gd name="T0" fmla="*/ 859 w 1370"/>
                <a:gd name="T1" fmla="*/ 1020 h 1719"/>
                <a:gd name="T2" fmla="*/ 859 w 1370"/>
                <a:gd name="T3" fmla="*/ 1336 h 1719"/>
                <a:gd name="T4" fmla="*/ 383 w 1370"/>
                <a:gd name="T5" fmla="*/ 860 h 1719"/>
                <a:gd name="T6" fmla="*/ 859 w 1370"/>
                <a:gd name="T7" fmla="*/ 384 h 1719"/>
                <a:gd name="T8" fmla="*/ 859 w 1370"/>
                <a:gd name="T9" fmla="*/ 714 h 1719"/>
                <a:gd name="T10" fmla="*/ 1370 w 1370"/>
                <a:gd name="T11" fmla="*/ 169 h 1719"/>
                <a:gd name="T12" fmla="*/ 859 w 1370"/>
                <a:gd name="T13" fmla="*/ 0 h 1719"/>
                <a:gd name="T14" fmla="*/ 0 w 1370"/>
                <a:gd name="T15" fmla="*/ 860 h 1719"/>
                <a:gd name="T16" fmla="*/ 859 w 1370"/>
                <a:gd name="T17" fmla="*/ 1719 h 1719"/>
                <a:gd name="T18" fmla="*/ 1335 w 1370"/>
                <a:gd name="T19" fmla="*/ 1575 h 1719"/>
                <a:gd name="T20" fmla="*/ 859 w 1370"/>
                <a:gd name="T21" fmla="*/ 1020 h 1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70" h="1719">
                  <a:moveTo>
                    <a:pt x="859" y="1020"/>
                  </a:moveTo>
                  <a:cubicBezTo>
                    <a:pt x="859" y="1336"/>
                    <a:pt x="859" y="1336"/>
                    <a:pt x="859" y="1336"/>
                  </a:cubicBezTo>
                  <a:cubicBezTo>
                    <a:pt x="596" y="1336"/>
                    <a:pt x="383" y="1122"/>
                    <a:pt x="383" y="860"/>
                  </a:cubicBezTo>
                  <a:cubicBezTo>
                    <a:pt x="383" y="596"/>
                    <a:pt x="596" y="384"/>
                    <a:pt x="859" y="384"/>
                  </a:cubicBezTo>
                  <a:cubicBezTo>
                    <a:pt x="859" y="714"/>
                    <a:pt x="859" y="714"/>
                    <a:pt x="859" y="714"/>
                  </a:cubicBezTo>
                  <a:cubicBezTo>
                    <a:pt x="1370" y="169"/>
                    <a:pt x="1370" y="169"/>
                    <a:pt x="1370" y="169"/>
                  </a:cubicBezTo>
                  <a:cubicBezTo>
                    <a:pt x="1227" y="63"/>
                    <a:pt x="1051" y="0"/>
                    <a:pt x="859" y="0"/>
                  </a:cubicBezTo>
                  <a:cubicBezTo>
                    <a:pt x="385" y="0"/>
                    <a:pt x="0" y="385"/>
                    <a:pt x="0" y="860"/>
                  </a:cubicBezTo>
                  <a:cubicBezTo>
                    <a:pt x="0" y="1334"/>
                    <a:pt x="385" y="1719"/>
                    <a:pt x="859" y="1719"/>
                  </a:cubicBezTo>
                  <a:cubicBezTo>
                    <a:pt x="1035" y="1719"/>
                    <a:pt x="1199" y="1666"/>
                    <a:pt x="1335" y="1575"/>
                  </a:cubicBezTo>
                  <a:lnTo>
                    <a:pt x="859" y="10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33" name="Freeform 19">
              <a:extLst>
                <a:ext uri="{FF2B5EF4-FFF2-40B4-BE49-F238E27FC236}">
                  <a16:creationId xmlns:a16="http://schemas.microsoft.com/office/drawing/2014/main" id="{BE9E44D5-5494-48E0-BB90-6119119C65D4}"/>
                </a:ext>
              </a:extLst>
            </p:cNvPr>
            <p:cNvSpPr>
              <a:spLocks/>
            </p:cNvSpPr>
            <p:nvPr/>
          </p:nvSpPr>
          <p:spPr bwMode="auto">
            <a:xfrm>
              <a:off x="583" y="1854"/>
              <a:ext cx="491" cy="612"/>
            </a:xfrm>
            <a:custGeom>
              <a:avLst/>
              <a:gdLst>
                <a:gd name="T0" fmla="*/ 634 w 786"/>
                <a:gd name="T1" fmla="*/ 0 h 979"/>
                <a:gd name="T2" fmla="*/ 0 w 786"/>
                <a:gd name="T3" fmla="*/ 490 h 979"/>
                <a:gd name="T4" fmla="*/ 634 w 786"/>
                <a:gd name="T5" fmla="*/ 979 h 979"/>
                <a:gd name="T6" fmla="*/ 786 w 786"/>
                <a:gd name="T7" fmla="*/ 490 h 979"/>
                <a:gd name="T8" fmla="*/ 634 w 786"/>
                <a:gd name="T9" fmla="*/ 0 h 979"/>
              </a:gdLst>
              <a:ahLst/>
              <a:cxnLst>
                <a:cxn ang="0">
                  <a:pos x="T0" y="T1"/>
                </a:cxn>
                <a:cxn ang="0">
                  <a:pos x="T2" y="T3"/>
                </a:cxn>
                <a:cxn ang="0">
                  <a:pos x="T4" y="T5"/>
                </a:cxn>
                <a:cxn ang="0">
                  <a:pos x="T6" y="T7"/>
                </a:cxn>
                <a:cxn ang="0">
                  <a:pos x="T8" y="T9"/>
                </a:cxn>
              </a:cxnLst>
              <a:rect l="0" t="0" r="r" b="b"/>
              <a:pathLst>
                <a:path w="786" h="979">
                  <a:moveTo>
                    <a:pt x="634" y="0"/>
                  </a:moveTo>
                  <a:cubicBezTo>
                    <a:pt x="0" y="490"/>
                    <a:pt x="0" y="490"/>
                    <a:pt x="0" y="490"/>
                  </a:cubicBezTo>
                  <a:cubicBezTo>
                    <a:pt x="634" y="979"/>
                    <a:pt x="634" y="979"/>
                    <a:pt x="634" y="979"/>
                  </a:cubicBezTo>
                  <a:cubicBezTo>
                    <a:pt x="730" y="840"/>
                    <a:pt x="786" y="671"/>
                    <a:pt x="786" y="490"/>
                  </a:cubicBezTo>
                  <a:cubicBezTo>
                    <a:pt x="786" y="308"/>
                    <a:pt x="730" y="139"/>
                    <a:pt x="6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grpSp>
    </p:spTree>
    <p:extLst>
      <p:ext uri="{BB962C8B-B14F-4D97-AF65-F5344CB8AC3E}">
        <p14:creationId xmlns:p14="http://schemas.microsoft.com/office/powerpoint/2010/main" val="3945342865"/>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Agenda Slid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10880" y="1521184"/>
            <a:ext cx="7482544" cy="3817442"/>
          </a:xfrm>
        </p:spPr>
        <p:txBody>
          <a:bodyPr anchor="ctr"/>
          <a:lstStyle>
            <a:lvl1pPr marL="0" indent="0">
              <a:lnSpc>
                <a:spcPct val="100000"/>
              </a:lnSpc>
              <a:buNone/>
              <a:defRPr sz="4400" b="0">
                <a:solidFill>
                  <a:schemeClr val="tx1"/>
                </a:solidFill>
                <a:latin typeface="+mj-lt"/>
              </a:defRPr>
            </a:lvl1pPr>
            <a:lvl2pPr marL="521258" indent="0">
              <a:buNone/>
              <a:defRPr sz="2280">
                <a:solidFill>
                  <a:schemeClr val="tx1">
                    <a:tint val="75000"/>
                  </a:schemeClr>
                </a:solidFill>
              </a:defRPr>
            </a:lvl2pPr>
            <a:lvl3pPr marL="1042512" indent="0">
              <a:buNone/>
              <a:defRPr sz="2052">
                <a:solidFill>
                  <a:schemeClr val="tx1">
                    <a:tint val="75000"/>
                  </a:schemeClr>
                </a:solidFill>
              </a:defRPr>
            </a:lvl3pPr>
            <a:lvl4pPr marL="1563773" indent="0">
              <a:buNone/>
              <a:defRPr sz="1824">
                <a:solidFill>
                  <a:schemeClr val="tx1">
                    <a:tint val="75000"/>
                  </a:schemeClr>
                </a:solidFill>
              </a:defRPr>
            </a:lvl4pPr>
            <a:lvl5pPr marL="2085031" indent="0">
              <a:buNone/>
              <a:defRPr sz="1824">
                <a:solidFill>
                  <a:schemeClr val="tx1">
                    <a:tint val="75000"/>
                  </a:schemeClr>
                </a:solidFill>
              </a:defRPr>
            </a:lvl5pPr>
            <a:lvl6pPr marL="2606285" indent="0">
              <a:buNone/>
              <a:defRPr sz="1824">
                <a:solidFill>
                  <a:schemeClr val="tx1">
                    <a:tint val="75000"/>
                  </a:schemeClr>
                </a:solidFill>
              </a:defRPr>
            </a:lvl6pPr>
            <a:lvl7pPr marL="3127543" indent="0">
              <a:buNone/>
              <a:defRPr sz="1824">
                <a:solidFill>
                  <a:schemeClr val="tx1">
                    <a:tint val="75000"/>
                  </a:schemeClr>
                </a:solidFill>
              </a:defRPr>
            </a:lvl7pPr>
            <a:lvl8pPr marL="3648803" indent="0">
              <a:buNone/>
              <a:defRPr sz="1824">
                <a:solidFill>
                  <a:schemeClr val="tx1">
                    <a:tint val="75000"/>
                  </a:schemeClr>
                </a:solidFill>
              </a:defRPr>
            </a:lvl8pPr>
            <a:lvl9pPr marL="4170060" indent="0">
              <a:buNone/>
              <a:defRPr sz="1824">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p:txBody>
          <a:bodyPr/>
          <a:lstStyle/>
          <a:p>
            <a:r>
              <a:rPr lang="en-US"/>
              <a:t>Document Name</a:t>
            </a:r>
            <a:endParaRPr lang="en-US" dirty="0"/>
          </a:p>
        </p:txBody>
      </p:sp>
      <p:sp>
        <p:nvSpPr>
          <p:cNvPr id="6" name="Slide Number Placeholder 5"/>
          <p:cNvSpPr>
            <a:spLocks noGrp="1"/>
          </p:cNvSpPr>
          <p:nvPr>
            <p:ph type="sldNum" sz="quarter" idx="12"/>
          </p:nvPr>
        </p:nvSpPr>
        <p:spPr/>
        <p:txBody>
          <a:bodyPr/>
          <a:lstStyle/>
          <a:p>
            <a:fld id="{32B354EE-31EA-4FC2-9496-7B6202183237}" type="slidenum">
              <a:rPr lang="en-US" smtClean="0"/>
              <a:t>‹#›</a:t>
            </a:fld>
            <a:endParaRPr lang="en-US" dirty="0"/>
          </a:p>
        </p:txBody>
      </p:sp>
      <p:sp>
        <p:nvSpPr>
          <p:cNvPr id="19" name="Title 18">
            <a:extLst>
              <a:ext uri="{FF2B5EF4-FFF2-40B4-BE49-F238E27FC236}">
                <a16:creationId xmlns:a16="http://schemas.microsoft.com/office/drawing/2014/main" id="{B47DF7D0-E13C-497A-8A71-C5A8B4D7F67C}"/>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491243901"/>
      </p:ext>
    </p:extLst>
  </p:cSld>
  <p:clrMapOvr>
    <a:masterClrMapping/>
  </p:clrMapOvr>
  <p:transition>
    <p:fade/>
  </p:transition>
  <p:extLst>
    <p:ext uri="{DCECCB84-F9BA-43D5-87BE-67443E8EF086}">
      <p15:sldGuideLst xmlns:p15="http://schemas.microsoft.com/office/powerpoint/2012/main">
        <p15:guide id="1" pos="415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Section Header">
    <p:bg>
      <p:bgPr>
        <a:solidFill>
          <a:schemeClr val="tx1"/>
        </a:solid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lvl1pPr>
              <a:defRPr>
                <a:solidFill>
                  <a:schemeClr val="bg1"/>
                </a:solidFill>
              </a:defRPr>
            </a:lvl1pPr>
          </a:lstStyle>
          <a:p>
            <a:r>
              <a:rPr lang="en-US"/>
              <a:t>Document Name</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32B354EE-31EA-4FC2-9496-7B6202183237}" type="slidenum">
              <a:rPr lang="en-US" smtClean="0"/>
              <a:pPr/>
              <a:t>‹#›</a:t>
            </a:fld>
            <a:endParaRPr lang="en-US" dirty="0"/>
          </a:p>
        </p:txBody>
      </p:sp>
      <p:sp>
        <p:nvSpPr>
          <p:cNvPr id="7" name="Title 6">
            <a:extLst>
              <a:ext uri="{FF2B5EF4-FFF2-40B4-BE49-F238E27FC236}">
                <a16:creationId xmlns:a16="http://schemas.microsoft.com/office/drawing/2014/main" id="{EE9D7C87-D037-4797-9A6A-B999C6F026D8}"/>
              </a:ext>
            </a:extLst>
          </p:cNvPr>
          <p:cNvSpPr>
            <a:spLocks noGrp="1"/>
          </p:cNvSpPr>
          <p:nvPr>
            <p:ph type="title"/>
          </p:nvPr>
        </p:nvSpPr>
        <p:spPr>
          <a:xfrm>
            <a:off x="410879" y="1521185"/>
            <a:ext cx="11368018" cy="3815631"/>
          </a:xfrm>
        </p:spPr>
        <p:txBody>
          <a:bodyPr anchor="ctr"/>
          <a:lstStyle>
            <a:lvl1pPr algn="ctr">
              <a:defRPr sz="6600">
                <a:solidFill>
                  <a:schemeClr val="bg1"/>
                </a:solidFill>
                <a:latin typeface="+mj-lt"/>
              </a:defRPr>
            </a:lvl1pPr>
          </a:lstStyle>
          <a:p>
            <a:r>
              <a:rPr lang="en-US"/>
              <a:t>Click to edit Master title style</a:t>
            </a:r>
            <a:endParaRPr lang="en-US" dirty="0"/>
          </a:p>
        </p:txBody>
      </p:sp>
      <p:grpSp>
        <p:nvGrpSpPr>
          <p:cNvPr id="8" name="Group 4">
            <a:extLst>
              <a:ext uri="{FF2B5EF4-FFF2-40B4-BE49-F238E27FC236}">
                <a16:creationId xmlns:a16="http://schemas.microsoft.com/office/drawing/2014/main" id="{F538CC8B-F600-49B9-BACD-7C6B0F908098}"/>
              </a:ext>
            </a:extLst>
          </p:cNvPr>
          <p:cNvGrpSpPr>
            <a:grpSpLocks noChangeAspect="1"/>
          </p:cNvGrpSpPr>
          <p:nvPr/>
        </p:nvGrpSpPr>
        <p:grpSpPr bwMode="auto">
          <a:xfrm>
            <a:off x="10432850" y="6330937"/>
            <a:ext cx="1346400" cy="188639"/>
            <a:chOff x="0" y="1622"/>
            <a:chExt cx="7680" cy="1076"/>
          </a:xfrm>
          <a:solidFill>
            <a:schemeClr val="bg1"/>
          </a:solidFill>
        </p:grpSpPr>
        <p:sp>
          <p:nvSpPr>
            <p:cNvPr id="9" name="Freeform 5">
              <a:extLst>
                <a:ext uri="{FF2B5EF4-FFF2-40B4-BE49-F238E27FC236}">
                  <a16:creationId xmlns:a16="http://schemas.microsoft.com/office/drawing/2014/main" id="{8A8F06AD-208A-43F1-A692-7FB2E8859E11}"/>
                </a:ext>
              </a:extLst>
            </p:cNvPr>
            <p:cNvSpPr>
              <a:spLocks/>
            </p:cNvSpPr>
            <p:nvPr/>
          </p:nvSpPr>
          <p:spPr bwMode="auto">
            <a:xfrm>
              <a:off x="1489" y="1874"/>
              <a:ext cx="479" cy="565"/>
            </a:xfrm>
            <a:custGeom>
              <a:avLst/>
              <a:gdLst>
                <a:gd name="T0" fmla="*/ 766 w 766"/>
                <a:gd name="T1" fmla="*/ 745 h 903"/>
                <a:gd name="T2" fmla="*/ 447 w 766"/>
                <a:gd name="T3" fmla="*/ 903 h 903"/>
                <a:gd name="T4" fmla="*/ 0 w 766"/>
                <a:gd name="T5" fmla="*/ 452 h 903"/>
                <a:gd name="T6" fmla="*/ 447 w 766"/>
                <a:gd name="T7" fmla="*/ 0 h 903"/>
                <a:gd name="T8" fmla="*/ 745 w 766"/>
                <a:gd name="T9" fmla="*/ 136 h 903"/>
                <a:gd name="T10" fmla="*/ 668 w 766"/>
                <a:gd name="T11" fmla="*/ 193 h 903"/>
                <a:gd name="T12" fmla="*/ 447 w 766"/>
                <a:gd name="T13" fmla="*/ 80 h 903"/>
                <a:gd name="T14" fmla="*/ 94 w 766"/>
                <a:gd name="T15" fmla="*/ 452 h 903"/>
                <a:gd name="T16" fmla="*/ 447 w 766"/>
                <a:gd name="T17" fmla="*/ 823 h 903"/>
                <a:gd name="T18" fmla="*/ 694 w 766"/>
                <a:gd name="T19" fmla="*/ 694 h 903"/>
                <a:gd name="T20" fmla="*/ 766 w 766"/>
                <a:gd name="T21" fmla="*/ 745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6" h="903">
                  <a:moveTo>
                    <a:pt x="766" y="745"/>
                  </a:moveTo>
                  <a:cubicBezTo>
                    <a:pt x="708" y="834"/>
                    <a:pt x="590" y="903"/>
                    <a:pt x="447" y="903"/>
                  </a:cubicBezTo>
                  <a:cubicBezTo>
                    <a:pt x="192" y="903"/>
                    <a:pt x="0" y="713"/>
                    <a:pt x="0" y="452"/>
                  </a:cubicBezTo>
                  <a:cubicBezTo>
                    <a:pt x="0" y="191"/>
                    <a:pt x="192" y="0"/>
                    <a:pt x="447" y="0"/>
                  </a:cubicBezTo>
                  <a:cubicBezTo>
                    <a:pt x="554" y="0"/>
                    <a:pt x="670" y="40"/>
                    <a:pt x="745" y="136"/>
                  </a:cubicBezTo>
                  <a:cubicBezTo>
                    <a:pt x="668" y="193"/>
                    <a:pt x="668" y="193"/>
                    <a:pt x="668" y="193"/>
                  </a:cubicBezTo>
                  <a:cubicBezTo>
                    <a:pt x="634" y="137"/>
                    <a:pt x="539" y="80"/>
                    <a:pt x="447" y="80"/>
                  </a:cubicBezTo>
                  <a:cubicBezTo>
                    <a:pt x="226" y="80"/>
                    <a:pt x="94" y="254"/>
                    <a:pt x="94" y="452"/>
                  </a:cubicBezTo>
                  <a:cubicBezTo>
                    <a:pt x="94" y="650"/>
                    <a:pt x="226" y="823"/>
                    <a:pt x="447" y="823"/>
                  </a:cubicBezTo>
                  <a:cubicBezTo>
                    <a:pt x="537" y="823"/>
                    <a:pt x="630" y="793"/>
                    <a:pt x="694" y="694"/>
                  </a:cubicBezTo>
                  <a:lnTo>
                    <a:pt x="766" y="7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6">
              <a:extLst>
                <a:ext uri="{FF2B5EF4-FFF2-40B4-BE49-F238E27FC236}">
                  <a16:creationId xmlns:a16="http://schemas.microsoft.com/office/drawing/2014/main" id="{6443EC75-623B-4F49-9EA2-528791C330F7}"/>
                </a:ext>
              </a:extLst>
            </p:cNvPr>
            <p:cNvSpPr>
              <a:spLocks noEditPoints="1"/>
            </p:cNvSpPr>
            <p:nvPr/>
          </p:nvSpPr>
          <p:spPr bwMode="auto">
            <a:xfrm>
              <a:off x="2014" y="1874"/>
              <a:ext cx="560" cy="565"/>
            </a:xfrm>
            <a:custGeom>
              <a:avLst/>
              <a:gdLst>
                <a:gd name="T0" fmla="*/ 448 w 896"/>
                <a:gd name="T1" fmla="*/ 80 h 903"/>
                <a:gd name="T2" fmla="*/ 95 w 896"/>
                <a:gd name="T3" fmla="*/ 452 h 903"/>
                <a:gd name="T4" fmla="*/ 448 w 896"/>
                <a:gd name="T5" fmla="*/ 823 h 903"/>
                <a:gd name="T6" fmla="*/ 801 w 896"/>
                <a:gd name="T7" fmla="*/ 452 h 903"/>
                <a:gd name="T8" fmla="*/ 448 w 896"/>
                <a:gd name="T9" fmla="*/ 80 h 903"/>
                <a:gd name="T10" fmla="*/ 448 w 896"/>
                <a:gd name="T11" fmla="*/ 903 h 903"/>
                <a:gd name="T12" fmla="*/ 0 w 896"/>
                <a:gd name="T13" fmla="*/ 452 h 903"/>
                <a:gd name="T14" fmla="*/ 448 w 896"/>
                <a:gd name="T15" fmla="*/ 0 h 903"/>
                <a:gd name="T16" fmla="*/ 896 w 896"/>
                <a:gd name="T17" fmla="*/ 452 h 903"/>
                <a:gd name="T18" fmla="*/ 448 w 896"/>
                <a:gd name="T19" fmla="*/ 903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6" h="903">
                  <a:moveTo>
                    <a:pt x="448" y="80"/>
                  </a:moveTo>
                  <a:cubicBezTo>
                    <a:pt x="227" y="80"/>
                    <a:pt x="95" y="254"/>
                    <a:pt x="95" y="452"/>
                  </a:cubicBezTo>
                  <a:cubicBezTo>
                    <a:pt x="95" y="649"/>
                    <a:pt x="227" y="823"/>
                    <a:pt x="448" y="823"/>
                  </a:cubicBezTo>
                  <a:cubicBezTo>
                    <a:pt x="669" y="823"/>
                    <a:pt x="801" y="649"/>
                    <a:pt x="801" y="452"/>
                  </a:cubicBezTo>
                  <a:cubicBezTo>
                    <a:pt x="801" y="254"/>
                    <a:pt x="669" y="80"/>
                    <a:pt x="448" y="80"/>
                  </a:cubicBezTo>
                  <a:moveTo>
                    <a:pt x="448" y="903"/>
                  </a:moveTo>
                  <a:cubicBezTo>
                    <a:pt x="192" y="903"/>
                    <a:pt x="0" y="712"/>
                    <a:pt x="0" y="452"/>
                  </a:cubicBezTo>
                  <a:cubicBezTo>
                    <a:pt x="0" y="191"/>
                    <a:pt x="192" y="0"/>
                    <a:pt x="448" y="0"/>
                  </a:cubicBezTo>
                  <a:cubicBezTo>
                    <a:pt x="704" y="0"/>
                    <a:pt x="896" y="191"/>
                    <a:pt x="896" y="452"/>
                  </a:cubicBezTo>
                  <a:cubicBezTo>
                    <a:pt x="896" y="712"/>
                    <a:pt x="704" y="903"/>
                    <a:pt x="448" y="90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7">
              <a:extLst>
                <a:ext uri="{FF2B5EF4-FFF2-40B4-BE49-F238E27FC236}">
                  <a16:creationId xmlns:a16="http://schemas.microsoft.com/office/drawing/2014/main" id="{5165FC24-6365-4B11-8A8E-7A386F1F5E69}"/>
                </a:ext>
              </a:extLst>
            </p:cNvPr>
            <p:cNvSpPr>
              <a:spLocks/>
            </p:cNvSpPr>
            <p:nvPr/>
          </p:nvSpPr>
          <p:spPr bwMode="auto">
            <a:xfrm>
              <a:off x="2672" y="1888"/>
              <a:ext cx="305" cy="538"/>
            </a:xfrm>
            <a:custGeom>
              <a:avLst/>
              <a:gdLst>
                <a:gd name="T0" fmla="*/ 0 w 305"/>
                <a:gd name="T1" fmla="*/ 0 h 538"/>
                <a:gd name="T2" fmla="*/ 0 w 305"/>
                <a:gd name="T3" fmla="*/ 538 h 538"/>
                <a:gd name="T4" fmla="*/ 305 w 305"/>
                <a:gd name="T5" fmla="*/ 538 h 538"/>
                <a:gd name="T6" fmla="*/ 305 w 305"/>
                <a:gd name="T7" fmla="*/ 488 h 538"/>
                <a:gd name="T8" fmla="*/ 55 w 305"/>
                <a:gd name="T9" fmla="*/ 488 h 538"/>
                <a:gd name="T10" fmla="*/ 55 w 305"/>
                <a:gd name="T11" fmla="*/ 0 h 538"/>
                <a:gd name="T12" fmla="*/ 0 w 305"/>
                <a:gd name="T13" fmla="*/ 0 h 538"/>
              </a:gdLst>
              <a:ahLst/>
              <a:cxnLst>
                <a:cxn ang="0">
                  <a:pos x="T0" y="T1"/>
                </a:cxn>
                <a:cxn ang="0">
                  <a:pos x="T2" y="T3"/>
                </a:cxn>
                <a:cxn ang="0">
                  <a:pos x="T4" y="T5"/>
                </a:cxn>
                <a:cxn ang="0">
                  <a:pos x="T6" y="T7"/>
                </a:cxn>
                <a:cxn ang="0">
                  <a:pos x="T8" y="T9"/>
                </a:cxn>
                <a:cxn ang="0">
                  <a:pos x="T10" y="T11"/>
                </a:cxn>
                <a:cxn ang="0">
                  <a:pos x="T12" y="T13"/>
                </a:cxn>
              </a:cxnLst>
              <a:rect l="0" t="0" r="r" b="b"/>
              <a:pathLst>
                <a:path w="305" h="538">
                  <a:moveTo>
                    <a:pt x="0" y="0"/>
                  </a:moveTo>
                  <a:lnTo>
                    <a:pt x="0" y="538"/>
                  </a:lnTo>
                  <a:lnTo>
                    <a:pt x="305" y="538"/>
                  </a:lnTo>
                  <a:lnTo>
                    <a:pt x="305" y="488"/>
                  </a:lnTo>
                  <a:lnTo>
                    <a:pt x="55" y="488"/>
                  </a:lnTo>
                  <a:lnTo>
                    <a:pt x="55"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8">
              <a:extLst>
                <a:ext uri="{FF2B5EF4-FFF2-40B4-BE49-F238E27FC236}">
                  <a16:creationId xmlns:a16="http://schemas.microsoft.com/office/drawing/2014/main" id="{EE9E9765-C4A7-4AE7-AB5D-1A961637790B}"/>
                </a:ext>
              </a:extLst>
            </p:cNvPr>
            <p:cNvSpPr>
              <a:spLocks noEditPoints="1"/>
            </p:cNvSpPr>
            <p:nvPr/>
          </p:nvSpPr>
          <p:spPr bwMode="auto">
            <a:xfrm>
              <a:off x="2997" y="1874"/>
              <a:ext cx="561" cy="565"/>
            </a:xfrm>
            <a:custGeom>
              <a:avLst/>
              <a:gdLst>
                <a:gd name="T0" fmla="*/ 448 w 896"/>
                <a:gd name="T1" fmla="*/ 80 h 903"/>
                <a:gd name="T2" fmla="*/ 95 w 896"/>
                <a:gd name="T3" fmla="*/ 452 h 903"/>
                <a:gd name="T4" fmla="*/ 448 w 896"/>
                <a:gd name="T5" fmla="*/ 823 h 903"/>
                <a:gd name="T6" fmla="*/ 801 w 896"/>
                <a:gd name="T7" fmla="*/ 452 h 903"/>
                <a:gd name="T8" fmla="*/ 448 w 896"/>
                <a:gd name="T9" fmla="*/ 80 h 903"/>
                <a:gd name="T10" fmla="*/ 448 w 896"/>
                <a:gd name="T11" fmla="*/ 903 h 903"/>
                <a:gd name="T12" fmla="*/ 0 w 896"/>
                <a:gd name="T13" fmla="*/ 452 h 903"/>
                <a:gd name="T14" fmla="*/ 448 w 896"/>
                <a:gd name="T15" fmla="*/ 0 h 903"/>
                <a:gd name="T16" fmla="*/ 896 w 896"/>
                <a:gd name="T17" fmla="*/ 452 h 903"/>
                <a:gd name="T18" fmla="*/ 448 w 896"/>
                <a:gd name="T19" fmla="*/ 903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6" h="903">
                  <a:moveTo>
                    <a:pt x="448" y="80"/>
                  </a:moveTo>
                  <a:cubicBezTo>
                    <a:pt x="227" y="80"/>
                    <a:pt x="95" y="254"/>
                    <a:pt x="95" y="452"/>
                  </a:cubicBezTo>
                  <a:cubicBezTo>
                    <a:pt x="95" y="649"/>
                    <a:pt x="227" y="823"/>
                    <a:pt x="448" y="823"/>
                  </a:cubicBezTo>
                  <a:cubicBezTo>
                    <a:pt x="669" y="823"/>
                    <a:pt x="801" y="649"/>
                    <a:pt x="801" y="452"/>
                  </a:cubicBezTo>
                  <a:cubicBezTo>
                    <a:pt x="801" y="254"/>
                    <a:pt x="669" y="80"/>
                    <a:pt x="448" y="80"/>
                  </a:cubicBezTo>
                  <a:moveTo>
                    <a:pt x="448" y="903"/>
                  </a:moveTo>
                  <a:cubicBezTo>
                    <a:pt x="192" y="903"/>
                    <a:pt x="0" y="712"/>
                    <a:pt x="0" y="452"/>
                  </a:cubicBezTo>
                  <a:cubicBezTo>
                    <a:pt x="0" y="191"/>
                    <a:pt x="192" y="0"/>
                    <a:pt x="448" y="0"/>
                  </a:cubicBezTo>
                  <a:cubicBezTo>
                    <a:pt x="704" y="0"/>
                    <a:pt x="896" y="191"/>
                    <a:pt x="896" y="452"/>
                  </a:cubicBezTo>
                  <a:cubicBezTo>
                    <a:pt x="896" y="712"/>
                    <a:pt x="704" y="903"/>
                    <a:pt x="448" y="90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9">
              <a:extLst>
                <a:ext uri="{FF2B5EF4-FFF2-40B4-BE49-F238E27FC236}">
                  <a16:creationId xmlns:a16="http://schemas.microsoft.com/office/drawing/2014/main" id="{CD0EE75A-243D-4719-AEF0-806CC01C4D44}"/>
                </a:ext>
              </a:extLst>
            </p:cNvPr>
            <p:cNvSpPr>
              <a:spLocks/>
            </p:cNvSpPr>
            <p:nvPr/>
          </p:nvSpPr>
          <p:spPr bwMode="auto">
            <a:xfrm>
              <a:off x="4182" y="1888"/>
              <a:ext cx="503" cy="538"/>
            </a:xfrm>
            <a:custGeom>
              <a:avLst/>
              <a:gdLst>
                <a:gd name="T0" fmla="*/ 0 w 503"/>
                <a:gd name="T1" fmla="*/ 0 h 538"/>
                <a:gd name="T2" fmla="*/ 119 w 503"/>
                <a:gd name="T3" fmla="*/ 0 h 538"/>
                <a:gd name="T4" fmla="*/ 119 w 503"/>
                <a:gd name="T5" fmla="*/ 243 h 538"/>
                <a:gd name="T6" fmla="*/ 327 w 503"/>
                <a:gd name="T7" fmla="*/ 0 h 538"/>
                <a:gd name="T8" fmla="*/ 482 w 503"/>
                <a:gd name="T9" fmla="*/ 0 h 538"/>
                <a:gd name="T10" fmla="*/ 243 w 503"/>
                <a:gd name="T11" fmla="*/ 270 h 538"/>
                <a:gd name="T12" fmla="*/ 503 w 503"/>
                <a:gd name="T13" fmla="*/ 538 h 538"/>
                <a:gd name="T14" fmla="*/ 337 w 503"/>
                <a:gd name="T15" fmla="*/ 538 h 538"/>
                <a:gd name="T16" fmla="*/ 119 w 503"/>
                <a:gd name="T17" fmla="*/ 302 h 538"/>
                <a:gd name="T18" fmla="*/ 119 w 503"/>
                <a:gd name="T19" fmla="*/ 538 h 538"/>
                <a:gd name="T20" fmla="*/ 0 w 503"/>
                <a:gd name="T21" fmla="*/ 538 h 538"/>
                <a:gd name="T22" fmla="*/ 0 w 503"/>
                <a:gd name="T23"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3" h="538">
                  <a:moveTo>
                    <a:pt x="0" y="0"/>
                  </a:moveTo>
                  <a:lnTo>
                    <a:pt x="119" y="0"/>
                  </a:lnTo>
                  <a:lnTo>
                    <a:pt x="119" y="243"/>
                  </a:lnTo>
                  <a:lnTo>
                    <a:pt x="327" y="0"/>
                  </a:lnTo>
                  <a:lnTo>
                    <a:pt x="482" y="0"/>
                  </a:lnTo>
                  <a:lnTo>
                    <a:pt x="243" y="270"/>
                  </a:lnTo>
                  <a:lnTo>
                    <a:pt x="503" y="538"/>
                  </a:lnTo>
                  <a:lnTo>
                    <a:pt x="337" y="538"/>
                  </a:lnTo>
                  <a:lnTo>
                    <a:pt x="119" y="302"/>
                  </a:lnTo>
                  <a:lnTo>
                    <a:pt x="119" y="538"/>
                  </a:lnTo>
                  <a:lnTo>
                    <a:pt x="0" y="53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Rectangle 10">
              <a:extLst>
                <a:ext uri="{FF2B5EF4-FFF2-40B4-BE49-F238E27FC236}">
                  <a16:creationId xmlns:a16="http://schemas.microsoft.com/office/drawing/2014/main" id="{4B7C3482-76AC-4362-BB17-D64AE7D11A7E}"/>
                </a:ext>
              </a:extLst>
            </p:cNvPr>
            <p:cNvSpPr>
              <a:spLocks noChangeArrowheads="1"/>
            </p:cNvSpPr>
            <p:nvPr/>
          </p:nvSpPr>
          <p:spPr bwMode="auto">
            <a:xfrm>
              <a:off x="4743" y="1888"/>
              <a:ext cx="118" cy="5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11">
              <a:extLst>
                <a:ext uri="{FF2B5EF4-FFF2-40B4-BE49-F238E27FC236}">
                  <a16:creationId xmlns:a16="http://schemas.microsoft.com/office/drawing/2014/main" id="{2CBF6DDD-FC53-448D-8FE3-3874132ACC96}"/>
                </a:ext>
              </a:extLst>
            </p:cNvPr>
            <p:cNvSpPr>
              <a:spLocks/>
            </p:cNvSpPr>
            <p:nvPr/>
          </p:nvSpPr>
          <p:spPr bwMode="auto">
            <a:xfrm>
              <a:off x="4980" y="1888"/>
              <a:ext cx="509" cy="538"/>
            </a:xfrm>
            <a:custGeom>
              <a:avLst/>
              <a:gdLst>
                <a:gd name="T0" fmla="*/ 0 w 509"/>
                <a:gd name="T1" fmla="*/ 0 h 538"/>
                <a:gd name="T2" fmla="*/ 160 w 509"/>
                <a:gd name="T3" fmla="*/ 0 h 538"/>
                <a:gd name="T4" fmla="*/ 389 w 509"/>
                <a:gd name="T5" fmla="*/ 374 h 538"/>
                <a:gd name="T6" fmla="*/ 391 w 509"/>
                <a:gd name="T7" fmla="*/ 374 h 538"/>
                <a:gd name="T8" fmla="*/ 391 w 509"/>
                <a:gd name="T9" fmla="*/ 0 h 538"/>
                <a:gd name="T10" fmla="*/ 509 w 509"/>
                <a:gd name="T11" fmla="*/ 0 h 538"/>
                <a:gd name="T12" fmla="*/ 509 w 509"/>
                <a:gd name="T13" fmla="*/ 538 h 538"/>
                <a:gd name="T14" fmla="*/ 354 w 509"/>
                <a:gd name="T15" fmla="*/ 538 h 538"/>
                <a:gd name="T16" fmla="*/ 120 w 509"/>
                <a:gd name="T17" fmla="*/ 155 h 538"/>
                <a:gd name="T18" fmla="*/ 118 w 509"/>
                <a:gd name="T19" fmla="*/ 155 h 538"/>
                <a:gd name="T20" fmla="*/ 118 w 509"/>
                <a:gd name="T21" fmla="*/ 538 h 538"/>
                <a:gd name="T22" fmla="*/ 0 w 509"/>
                <a:gd name="T23" fmla="*/ 538 h 538"/>
                <a:gd name="T24" fmla="*/ 0 w 509"/>
                <a:gd name="T25"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9" h="538">
                  <a:moveTo>
                    <a:pt x="0" y="0"/>
                  </a:moveTo>
                  <a:lnTo>
                    <a:pt x="160" y="0"/>
                  </a:lnTo>
                  <a:lnTo>
                    <a:pt x="389" y="374"/>
                  </a:lnTo>
                  <a:lnTo>
                    <a:pt x="391" y="374"/>
                  </a:lnTo>
                  <a:lnTo>
                    <a:pt x="391" y="0"/>
                  </a:lnTo>
                  <a:lnTo>
                    <a:pt x="509" y="0"/>
                  </a:lnTo>
                  <a:lnTo>
                    <a:pt x="509" y="538"/>
                  </a:lnTo>
                  <a:lnTo>
                    <a:pt x="354" y="538"/>
                  </a:lnTo>
                  <a:lnTo>
                    <a:pt x="120" y="155"/>
                  </a:lnTo>
                  <a:lnTo>
                    <a:pt x="118" y="155"/>
                  </a:lnTo>
                  <a:lnTo>
                    <a:pt x="118" y="538"/>
                  </a:lnTo>
                  <a:lnTo>
                    <a:pt x="0" y="53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2">
              <a:extLst>
                <a:ext uri="{FF2B5EF4-FFF2-40B4-BE49-F238E27FC236}">
                  <a16:creationId xmlns:a16="http://schemas.microsoft.com/office/drawing/2014/main" id="{85CC6B60-4314-474F-8B72-AC2A2D1BF31B}"/>
                </a:ext>
              </a:extLst>
            </p:cNvPr>
            <p:cNvSpPr>
              <a:spLocks/>
            </p:cNvSpPr>
            <p:nvPr/>
          </p:nvSpPr>
          <p:spPr bwMode="auto">
            <a:xfrm>
              <a:off x="5608" y="1888"/>
              <a:ext cx="378" cy="538"/>
            </a:xfrm>
            <a:custGeom>
              <a:avLst/>
              <a:gdLst>
                <a:gd name="T0" fmla="*/ 0 w 378"/>
                <a:gd name="T1" fmla="*/ 0 h 538"/>
                <a:gd name="T2" fmla="*/ 0 w 378"/>
                <a:gd name="T3" fmla="*/ 538 h 538"/>
                <a:gd name="T4" fmla="*/ 378 w 378"/>
                <a:gd name="T5" fmla="*/ 538 h 538"/>
                <a:gd name="T6" fmla="*/ 378 w 378"/>
                <a:gd name="T7" fmla="*/ 433 h 538"/>
                <a:gd name="T8" fmla="*/ 118 w 378"/>
                <a:gd name="T9" fmla="*/ 433 h 538"/>
                <a:gd name="T10" fmla="*/ 118 w 378"/>
                <a:gd name="T11" fmla="*/ 319 h 538"/>
                <a:gd name="T12" fmla="*/ 351 w 378"/>
                <a:gd name="T13" fmla="*/ 319 h 538"/>
                <a:gd name="T14" fmla="*/ 351 w 378"/>
                <a:gd name="T15" fmla="*/ 210 h 538"/>
                <a:gd name="T16" fmla="*/ 118 w 378"/>
                <a:gd name="T17" fmla="*/ 210 h 538"/>
                <a:gd name="T18" fmla="*/ 118 w 378"/>
                <a:gd name="T19" fmla="*/ 105 h 538"/>
                <a:gd name="T20" fmla="*/ 364 w 378"/>
                <a:gd name="T21" fmla="*/ 105 h 538"/>
                <a:gd name="T22" fmla="*/ 364 w 378"/>
                <a:gd name="T23" fmla="*/ 0 h 538"/>
                <a:gd name="T24" fmla="*/ 0 w 378"/>
                <a:gd name="T25"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8" h="538">
                  <a:moveTo>
                    <a:pt x="0" y="0"/>
                  </a:moveTo>
                  <a:lnTo>
                    <a:pt x="0" y="538"/>
                  </a:lnTo>
                  <a:lnTo>
                    <a:pt x="378" y="538"/>
                  </a:lnTo>
                  <a:lnTo>
                    <a:pt x="378" y="433"/>
                  </a:lnTo>
                  <a:lnTo>
                    <a:pt x="118" y="433"/>
                  </a:lnTo>
                  <a:lnTo>
                    <a:pt x="118" y="319"/>
                  </a:lnTo>
                  <a:lnTo>
                    <a:pt x="351" y="319"/>
                  </a:lnTo>
                  <a:lnTo>
                    <a:pt x="351" y="210"/>
                  </a:lnTo>
                  <a:lnTo>
                    <a:pt x="118" y="210"/>
                  </a:lnTo>
                  <a:lnTo>
                    <a:pt x="118" y="105"/>
                  </a:lnTo>
                  <a:lnTo>
                    <a:pt x="364" y="105"/>
                  </a:lnTo>
                  <a:lnTo>
                    <a:pt x="364"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3">
              <a:extLst>
                <a:ext uri="{FF2B5EF4-FFF2-40B4-BE49-F238E27FC236}">
                  <a16:creationId xmlns:a16="http://schemas.microsoft.com/office/drawing/2014/main" id="{073F103A-3BAD-4949-BC8C-4D3B44CF4603}"/>
                </a:ext>
              </a:extLst>
            </p:cNvPr>
            <p:cNvSpPr>
              <a:spLocks/>
            </p:cNvSpPr>
            <p:nvPr/>
          </p:nvSpPr>
          <p:spPr bwMode="auto">
            <a:xfrm>
              <a:off x="6052" y="1888"/>
              <a:ext cx="424" cy="538"/>
            </a:xfrm>
            <a:custGeom>
              <a:avLst/>
              <a:gdLst>
                <a:gd name="T0" fmla="*/ 0 w 424"/>
                <a:gd name="T1" fmla="*/ 0 h 538"/>
                <a:gd name="T2" fmla="*/ 0 w 424"/>
                <a:gd name="T3" fmla="*/ 105 h 538"/>
                <a:gd name="T4" fmla="*/ 152 w 424"/>
                <a:gd name="T5" fmla="*/ 105 h 538"/>
                <a:gd name="T6" fmla="*/ 152 w 424"/>
                <a:gd name="T7" fmla="*/ 538 h 538"/>
                <a:gd name="T8" fmla="*/ 271 w 424"/>
                <a:gd name="T9" fmla="*/ 538 h 538"/>
                <a:gd name="T10" fmla="*/ 271 w 424"/>
                <a:gd name="T11" fmla="*/ 105 h 538"/>
                <a:gd name="T12" fmla="*/ 424 w 424"/>
                <a:gd name="T13" fmla="*/ 105 h 538"/>
                <a:gd name="T14" fmla="*/ 424 w 424"/>
                <a:gd name="T15" fmla="*/ 0 h 538"/>
                <a:gd name="T16" fmla="*/ 0 w 424"/>
                <a:gd name="T17"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4" h="538">
                  <a:moveTo>
                    <a:pt x="0" y="0"/>
                  </a:moveTo>
                  <a:lnTo>
                    <a:pt x="0" y="105"/>
                  </a:lnTo>
                  <a:lnTo>
                    <a:pt x="152" y="105"/>
                  </a:lnTo>
                  <a:lnTo>
                    <a:pt x="152" y="538"/>
                  </a:lnTo>
                  <a:lnTo>
                    <a:pt x="271" y="538"/>
                  </a:lnTo>
                  <a:lnTo>
                    <a:pt x="271" y="105"/>
                  </a:lnTo>
                  <a:lnTo>
                    <a:pt x="424" y="105"/>
                  </a:lnTo>
                  <a:lnTo>
                    <a:pt x="424"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Rectangle 14">
              <a:extLst>
                <a:ext uri="{FF2B5EF4-FFF2-40B4-BE49-F238E27FC236}">
                  <a16:creationId xmlns:a16="http://schemas.microsoft.com/office/drawing/2014/main" id="{691E8977-F608-470D-BB8D-231F71C8B93E}"/>
                </a:ext>
              </a:extLst>
            </p:cNvPr>
            <p:cNvSpPr>
              <a:spLocks noChangeArrowheads="1"/>
            </p:cNvSpPr>
            <p:nvPr/>
          </p:nvSpPr>
          <p:spPr bwMode="auto">
            <a:xfrm>
              <a:off x="6554" y="1888"/>
              <a:ext cx="119" cy="5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5">
              <a:extLst>
                <a:ext uri="{FF2B5EF4-FFF2-40B4-BE49-F238E27FC236}">
                  <a16:creationId xmlns:a16="http://schemas.microsoft.com/office/drawing/2014/main" id="{D25AF574-BBEF-4E01-9B8E-2C473DA9DD94}"/>
                </a:ext>
              </a:extLst>
            </p:cNvPr>
            <p:cNvSpPr>
              <a:spLocks noEditPoints="1"/>
            </p:cNvSpPr>
            <p:nvPr/>
          </p:nvSpPr>
          <p:spPr bwMode="auto">
            <a:xfrm>
              <a:off x="3658" y="1888"/>
              <a:ext cx="383" cy="538"/>
            </a:xfrm>
            <a:custGeom>
              <a:avLst/>
              <a:gdLst>
                <a:gd name="T0" fmla="*/ 87 w 613"/>
                <a:gd name="T1" fmla="*/ 376 h 859"/>
                <a:gd name="T2" fmla="*/ 278 w 613"/>
                <a:gd name="T3" fmla="*/ 376 h 859"/>
                <a:gd name="T4" fmla="*/ 462 w 613"/>
                <a:gd name="T5" fmla="*/ 228 h 859"/>
                <a:gd name="T6" fmla="*/ 278 w 613"/>
                <a:gd name="T7" fmla="*/ 82 h 859"/>
                <a:gd name="T8" fmla="*/ 87 w 613"/>
                <a:gd name="T9" fmla="*/ 82 h 859"/>
                <a:gd name="T10" fmla="*/ 87 w 613"/>
                <a:gd name="T11" fmla="*/ 376 h 859"/>
                <a:gd name="T12" fmla="*/ 497 w 613"/>
                <a:gd name="T13" fmla="*/ 859 h 859"/>
                <a:gd name="T14" fmla="*/ 87 w 613"/>
                <a:gd name="T15" fmla="*/ 428 h 859"/>
                <a:gd name="T16" fmla="*/ 87 w 613"/>
                <a:gd name="T17" fmla="*/ 859 h 859"/>
                <a:gd name="T18" fmla="*/ 0 w 613"/>
                <a:gd name="T19" fmla="*/ 859 h 859"/>
                <a:gd name="T20" fmla="*/ 0 w 613"/>
                <a:gd name="T21" fmla="*/ 0 h 859"/>
                <a:gd name="T22" fmla="*/ 270 w 613"/>
                <a:gd name="T23" fmla="*/ 0 h 859"/>
                <a:gd name="T24" fmla="*/ 555 w 613"/>
                <a:gd name="T25" fmla="*/ 228 h 859"/>
                <a:gd name="T26" fmla="*/ 270 w 613"/>
                <a:gd name="T27" fmla="*/ 453 h 859"/>
                <a:gd name="T28" fmla="*/ 222 w 613"/>
                <a:gd name="T29" fmla="*/ 453 h 859"/>
                <a:gd name="T30" fmla="*/ 613 w 613"/>
                <a:gd name="T31" fmla="*/ 859 h 859"/>
                <a:gd name="T32" fmla="*/ 497 w 613"/>
                <a:gd name="T33" fmla="*/ 859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13" h="859">
                  <a:moveTo>
                    <a:pt x="87" y="376"/>
                  </a:moveTo>
                  <a:cubicBezTo>
                    <a:pt x="278" y="376"/>
                    <a:pt x="278" y="376"/>
                    <a:pt x="278" y="376"/>
                  </a:cubicBezTo>
                  <a:cubicBezTo>
                    <a:pt x="396" y="376"/>
                    <a:pt x="462" y="328"/>
                    <a:pt x="462" y="228"/>
                  </a:cubicBezTo>
                  <a:cubicBezTo>
                    <a:pt x="462" y="129"/>
                    <a:pt x="396" y="82"/>
                    <a:pt x="278" y="82"/>
                  </a:cubicBezTo>
                  <a:cubicBezTo>
                    <a:pt x="87" y="82"/>
                    <a:pt x="87" y="82"/>
                    <a:pt x="87" y="82"/>
                  </a:cubicBezTo>
                  <a:lnTo>
                    <a:pt x="87" y="376"/>
                  </a:lnTo>
                  <a:close/>
                  <a:moveTo>
                    <a:pt x="497" y="859"/>
                  </a:moveTo>
                  <a:cubicBezTo>
                    <a:pt x="87" y="428"/>
                    <a:pt x="87" y="428"/>
                    <a:pt x="87" y="428"/>
                  </a:cubicBezTo>
                  <a:cubicBezTo>
                    <a:pt x="87" y="859"/>
                    <a:pt x="87" y="859"/>
                    <a:pt x="87" y="859"/>
                  </a:cubicBezTo>
                  <a:cubicBezTo>
                    <a:pt x="0" y="859"/>
                    <a:pt x="0" y="859"/>
                    <a:pt x="0" y="859"/>
                  </a:cubicBezTo>
                  <a:cubicBezTo>
                    <a:pt x="0" y="0"/>
                    <a:pt x="0" y="0"/>
                    <a:pt x="0" y="0"/>
                  </a:cubicBezTo>
                  <a:cubicBezTo>
                    <a:pt x="270" y="0"/>
                    <a:pt x="270" y="0"/>
                    <a:pt x="270" y="0"/>
                  </a:cubicBezTo>
                  <a:cubicBezTo>
                    <a:pt x="457" y="0"/>
                    <a:pt x="555" y="91"/>
                    <a:pt x="555" y="228"/>
                  </a:cubicBezTo>
                  <a:cubicBezTo>
                    <a:pt x="555" y="367"/>
                    <a:pt x="457" y="453"/>
                    <a:pt x="270" y="453"/>
                  </a:cubicBezTo>
                  <a:cubicBezTo>
                    <a:pt x="222" y="453"/>
                    <a:pt x="222" y="453"/>
                    <a:pt x="222" y="453"/>
                  </a:cubicBezTo>
                  <a:cubicBezTo>
                    <a:pt x="613" y="859"/>
                    <a:pt x="613" y="859"/>
                    <a:pt x="613" y="859"/>
                  </a:cubicBezTo>
                  <a:lnTo>
                    <a:pt x="497" y="8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16">
              <a:extLst>
                <a:ext uri="{FF2B5EF4-FFF2-40B4-BE49-F238E27FC236}">
                  <a16:creationId xmlns:a16="http://schemas.microsoft.com/office/drawing/2014/main" id="{1C09DDCC-EB70-4769-B64E-DD48AEFF3596}"/>
                </a:ext>
              </a:extLst>
            </p:cNvPr>
            <p:cNvSpPr>
              <a:spLocks/>
            </p:cNvSpPr>
            <p:nvPr/>
          </p:nvSpPr>
          <p:spPr bwMode="auto">
            <a:xfrm>
              <a:off x="6752" y="1881"/>
              <a:ext cx="476" cy="558"/>
            </a:xfrm>
            <a:custGeom>
              <a:avLst/>
              <a:gdLst>
                <a:gd name="T0" fmla="*/ 0 w 761"/>
                <a:gd name="T1" fmla="*/ 447 h 893"/>
                <a:gd name="T2" fmla="*/ 417 w 761"/>
                <a:gd name="T3" fmla="*/ 0 h 893"/>
                <a:gd name="T4" fmla="*/ 747 w 761"/>
                <a:gd name="T5" fmla="*/ 181 h 893"/>
                <a:gd name="T6" fmla="*/ 614 w 761"/>
                <a:gd name="T7" fmla="*/ 285 h 893"/>
                <a:gd name="T8" fmla="*/ 421 w 761"/>
                <a:gd name="T9" fmla="*/ 178 h 893"/>
                <a:gd name="T10" fmla="*/ 197 w 761"/>
                <a:gd name="T11" fmla="*/ 447 h 893"/>
                <a:gd name="T12" fmla="*/ 427 w 761"/>
                <a:gd name="T13" fmla="*/ 715 h 893"/>
                <a:gd name="T14" fmla="*/ 623 w 761"/>
                <a:gd name="T15" fmla="*/ 608 h 893"/>
                <a:gd name="T16" fmla="*/ 761 w 761"/>
                <a:gd name="T17" fmla="*/ 715 h 893"/>
                <a:gd name="T18" fmla="*/ 423 w 761"/>
                <a:gd name="T19" fmla="*/ 893 h 893"/>
                <a:gd name="T20" fmla="*/ 0 w 761"/>
                <a:gd name="T21" fmla="*/ 447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1" h="893">
                  <a:moveTo>
                    <a:pt x="0" y="447"/>
                  </a:moveTo>
                  <a:cubicBezTo>
                    <a:pt x="0" y="177"/>
                    <a:pt x="160" y="0"/>
                    <a:pt x="417" y="0"/>
                  </a:cubicBezTo>
                  <a:cubicBezTo>
                    <a:pt x="582" y="0"/>
                    <a:pt x="698" y="79"/>
                    <a:pt x="747" y="181"/>
                  </a:cubicBezTo>
                  <a:cubicBezTo>
                    <a:pt x="614" y="285"/>
                    <a:pt x="614" y="285"/>
                    <a:pt x="614" y="285"/>
                  </a:cubicBezTo>
                  <a:cubicBezTo>
                    <a:pt x="570" y="211"/>
                    <a:pt x="493" y="178"/>
                    <a:pt x="421" y="178"/>
                  </a:cubicBezTo>
                  <a:cubicBezTo>
                    <a:pt x="295" y="178"/>
                    <a:pt x="197" y="269"/>
                    <a:pt x="197" y="447"/>
                  </a:cubicBezTo>
                  <a:cubicBezTo>
                    <a:pt x="197" y="614"/>
                    <a:pt x="300" y="715"/>
                    <a:pt x="427" y="715"/>
                  </a:cubicBezTo>
                  <a:cubicBezTo>
                    <a:pt x="500" y="715"/>
                    <a:pt x="579" y="682"/>
                    <a:pt x="623" y="608"/>
                  </a:cubicBezTo>
                  <a:cubicBezTo>
                    <a:pt x="761" y="715"/>
                    <a:pt x="761" y="715"/>
                    <a:pt x="761" y="715"/>
                  </a:cubicBezTo>
                  <a:cubicBezTo>
                    <a:pt x="699" y="819"/>
                    <a:pt x="590" y="893"/>
                    <a:pt x="423" y="893"/>
                  </a:cubicBezTo>
                  <a:cubicBezTo>
                    <a:pt x="163" y="893"/>
                    <a:pt x="0" y="716"/>
                    <a:pt x="0" y="44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17">
              <a:extLst>
                <a:ext uri="{FF2B5EF4-FFF2-40B4-BE49-F238E27FC236}">
                  <a16:creationId xmlns:a16="http://schemas.microsoft.com/office/drawing/2014/main" id="{7DF73D43-5DF0-442D-9B4D-9D2A4E809584}"/>
                </a:ext>
              </a:extLst>
            </p:cNvPr>
            <p:cNvSpPr>
              <a:spLocks/>
            </p:cNvSpPr>
            <p:nvPr/>
          </p:nvSpPr>
          <p:spPr bwMode="auto">
            <a:xfrm>
              <a:off x="7271" y="1874"/>
              <a:ext cx="409" cy="565"/>
            </a:xfrm>
            <a:custGeom>
              <a:avLst/>
              <a:gdLst>
                <a:gd name="T0" fmla="*/ 404 w 654"/>
                <a:gd name="T1" fmla="*/ 376 h 903"/>
                <a:gd name="T2" fmla="*/ 287 w 654"/>
                <a:gd name="T3" fmla="*/ 354 h 903"/>
                <a:gd name="T4" fmla="*/ 202 w 654"/>
                <a:gd name="T5" fmla="*/ 264 h 903"/>
                <a:gd name="T6" fmla="*/ 321 w 654"/>
                <a:gd name="T7" fmla="*/ 171 h 903"/>
                <a:gd name="T8" fmla="*/ 478 w 654"/>
                <a:gd name="T9" fmla="*/ 270 h 903"/>
                <a:gd name="T10" fmla="*/ 617 w 654"/>
                <a:gd name="T11" fmla="*/ 163 h 903"/>
                <a:gd name="T12" fmla="*/ 322 w 654"/>
                <a:gd name="T13" fmla="*/ 0 h 903"/>
                <a:gd name="T14" fmla="*/ 12 w 654"/>
                <a:gd name="T15" fmla="*/ 279 h 903"/>
                <a:gd name="T16" fmla="*/ 247 w 654"/>
                <a:gd name="T17" fmla="*/ 523 h 903"/>
                <a:gd name="T18" fmla="*/ 366 w 654"/>
                <a:gd name="T19" fmla="*/ 546 h 903"/>
                <a:gd name="T20" fmla="*/ 459 w 654"/>
                <a:gd name="T21" fmla="*/ 642 h 903"/>
                <a:gd name="T22" fmla="*/ 336 w 654"/>
                <a:gd name="T23" fmla="*/ 734 h 903"/>
                <a:gd name="T24" fmla="*/ 143 w 654"/>
                <a:gd name="T25" fmla="*/ 594 h 903"/>
                <a:gd name="T26" fmla="*/ 0 w 654"/>
                <a:gd name="T27" fmla="*/ 704 h 903"/>
                <a:gd name="T28" fmla="*/ 334 w 654"/>
                <a:gd name="T29" fmla="*/ 903 h 903"/>
                <a:gd name="T30" fmla="*/ 654 w 654"/>
                <a:gd name="T31" fmla="*/ 629 h 903"/>
                <a:gd name="T32" fmla="*/ 404 w 654"/>
                <a:gd name="T33" fmla="*/ 376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4" h="903">
                  <a:moveTo>
                    <a:pt x="404" y="376"/>
                  </a:moveTo>
                  <a:cubicBezTo>
                    <a:pt x="287" y="354"/>
                    <a:pt x="287" y="354"/>
                    <a:pt x="287" y="354"/>
                  </a:cubicBezTo>
                  <a:cubicBezTo>
                    <a:pt x="228" y="344"/>
                    <a:pt x="202" y="305"/>
                    <a:pt x="202" y="264"/>
                  </a:cubicBezTo>
                  <a:cubicBezTo>
                    <a:pt x="202" y="216"/>
                    <a:pt x="249" y="171"/>
                    <a:pt x="321" y="171"/>
                  </a:cubicBezTo>
                  <a:cubicBezTo>
                    <a:pt x="403" y="171"/>
                    <a:pt x="451" y="222"/>
                    <a:pt x="478" y="270"/>
                  </a:cubicBezTo>
                  <a:cubicBezTo>
                    <a:pt x="617" y="163"/>
                    <a:pt x="617" y="163"/>
                    <a:pt x="617" y="163"/>
                  </a:cubicBezTo>
                  <a:cubicBezTo>
                    <a:pt x="578" y="79"/>
                    <a:pt x="491" y="0"/>
                    <a:pt x="322" y="0"/>
                  </a:cubicBezTo>
                  <a:cubicBezTo>
                    <a:pt x="156" y="0"/>
                    <a:pt x="12" y="115"/>
                    <a:pt x="12" y="279"/>
                  </a:cubicBezTo>
                  <a:cubicBezTo>
                    <a:pt x="12" y="407"/>
                    <a:pt x="101" y="496"/>
                    <a:pt x="247" y="523"/>
                  </a:cubicBezTo>
                  <a:cubicBezTo>
                    <a:pt x="366" y="546"/>
                    <a:pt x="366" y="546"/>
                    <a:pt x="366" y="546"/>
                  </a:cubicBezTo>
                  <a:cubicBezTo>
                    <a:pt x="423" y="557"/>
                    <a:pt x="459" y="597"/>
                    <a:pt x="459" y="642"/>
                  </a:cubicBezTo>
                  <a:cubicBezTo>
                    <a:pt x="459" y="695"/>
                    <a:pt x="413" y="734"/>
                    <a:pt x="336" y="734"/>
                  </a:cubicBezTo>
                  <a:cubicBezTo>
                    <a:pt x="219" y="734"/>
                    <a:pt x="161" y="649"/>
                    <a:pt x="143" y="594"/>
                  </a:cubicBezTo>
                  <a:cubicBezTo>
                    <a:pt x="0" y="704"/>
                    <a:pt x="0" y="704"/>
                    <a:pt x="0" y="704"/>
                  </a:cubicBezTo>
                  <a:cubicBezTo>
                    <a:pt x="41" y="806"/>
                    <a:pt x="144" y="903"/>
                    <a:pt x="334" y="903"/>
                  </a:cubicBezTo>
                  <a:cubicBezTo>
                    <a:pt x="541" y="903"/>
                    <a:pt x="654" y="765"/>
                    <a:pt x="654" y="629"/>
                  </a:cubicBezTo>
                  <a:cubicBezTo>
                    <a:pt x="654" y="506"/>
                    <a:pt x="569" y="407"/>
                    <a:pt x="404" y="37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18">
              <a:extLst>
                <a:ext uri="{FF2B5EF4-FFF2-40B4-BE49-F238E27FC236}">
                  <a16:creationId xmlns:a16="http://schemas.microsoft.com/office/drawing/2014/main" id="{B9651F69-F468-4413-9453-0A0A211492DB}"/>
                </a:ext>
              </a:extLst>
            </p:cNvPr>
            <p:cNvSpPr>
              <a:spLocks/>
            </p:cNvSpPr>
            <p:nvPr/>
          </p:nvSpPr>
          <p:spPr bwMode="auto">
            <a:xfrm>
              <a:off x="0" y="1622"/>
              <a:ext cx="857" cy="1076"/>
            </a:xfrm>
            <a:custGeom>
              <a:avLst/>
              <a:gdLst>
                <a:gd name="T0" fmla="*/ 859 w 1370"/>
                <a:gd name="T1" fmla="*/ 1020 h 1719"/>
                <a:gd name="T2" fmla="*/ 859 w 1370"/>
                <a:gd name="T3" fmla="*/ 1336 h 1719"/>
                <a:gd name="T4" fmla="*/ 383 w 1370"/>
                <a:gd name="T5" fmla="*/ 860 h 1719"/>
                <a:gd name="T6" fmla="*/ 859 w 1370"/>
                <a:gd name="T7" fmla="*/ 384 h 1719"/>
                <a:gd name="T8" fmla="*/ 859 w 1370"/>
                <a:gd name="T9" fmla="*/ 714 h 1719"/>
                <a:gd name="T10" fmla="*/ 1370 w 1370"/>
                <a:gd name="T11" fmla="*/ 169 h 1719"/>
                <a:gd name="T12" fmla="*/ 859 w 1370"/>
                <a:gd name="T13" fmla="*/ 0 h 1719"/>
                <a:gd name="T14" fmla="*/ 0 w 1370"/>
                <a:gd name="T15" fmla="*/ 860 h 1719"/>
                <a:gd name="T16" fmla="*/ 859 w 1370"/>
                <a:gd name="T17" fmla="*/ 1719 h 1719"/>
                <a:gd name="T18" fmla="*/ 1335 w 1370"/>
                <a:gd name="T19" fmla="*/ 1575 h 1719"/>
                <a:gd name="T20" fmla="*/ 859 w 1370"/>
                <a:gd name="T21" fmla="*/ 1020 h 1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70" h="1719">
                  <a:moveTo>
                    <a:pt x="859" y="1020"/>
                  </a:moveTo>
                  <a:cubicBezTo>
                    <a:pt x="859" y="1336"/>
                    <a:pt x="859" y="1336"/>
                    <a:pt x="859" y="1336"/>
                  </a:cubicBezTo>
                  <a:cubicBezTo>
                    <a:pt x="596" y="1336"/>
                    <a:pt x="383" y="1122"/>
                    <a:pt x="383" y="860"/>
                  </a:cubicBezTo>
                  <a:cubicBezTo>
                    <a:pt x="383" y="596"/>
                    <a:pt x="596" y="384"/>
                    <a:pt x="859" y="384"/>
                  </a:cubicBezTo>
                  <a:cubicBezTo>
                    <a:pt x="859" y="714"/>
                    <a:pt x="859" y="714"/>
                    <a:pt x="859" y="714"/>
                  </a:cubicBezTo>
                  <a:cubicBezTo>
                    <a:pt x="1370" y="169"/>
                    <a:pt x="1370" y="169"/>
                    <a:pt x="1370" y="169"/>
                  </a:cubicBezTo>
                  <a:cubicBezTo>
                    <a:pt x="1227" y="63"/>
                    <a:pt x="1051" y="0"/>
                    <a:pt x="859" y="0"/>
                  </a:cubicBezTo>
                  <a:cubicBezTo>
                    <a:pt x="385" y="0"/>
                    <a:pt x="0" y="385"/>
                    <a:pt x="0" y="860"/>
                  </a:cubicBezTo>
                  <a:cubicBezTo>
                    <a:pt x="0" y="1334"/>
                    <a:pt x="385" y="1719"/>
                    <a:pt x="859" y="1719"/>
                  </a:cubicBezTo>
                  <a:cubicBezTo>
                    <a:pt x="1035" y="1719"/>
                    <a:pt x="1199" y="1666"/>
                    <a:pt x="1335" y="1575"/>
                  </a:cubicBezTo>
                  <a:lnTo>
                    <a:pt x="859" y="10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19">
              <a:extLst>
                <a:ext uri="{FF2B5EF4-FFF2-40B4-BE49-F238E27FC236}">
                  <a16:creationId xmlns:a16="http://schemas.microsoft.com/office/drawing/2014/main" id="{7FAC0AC2-6A7D-4FE9-999C-DEC5EA07D1A4}"/>
                </a:ext>
              </a:extLst>
            </p:cNvPr>
            <p:cNvSpPr>
              <a:spLocks/>
            </p:cNvSpPr>
            <p:nvPr/>
          </p:nvSpPr>
          <p:spPr bwMode="auto">
            <a:xfrm>
              <a:off x="583" y="1854"/>
              <a:ext cx="491" cy="612"/>
            </a:xfrm>
            <a:custGeom>
              <a:avLst/>
              <a:gdLst>
                <a:gd name="T0" fmla="*/ 634 w 786"/>
                <a:gd name="T1" fmla="*/ 0 h 979"/>
                <a:gd name="T2" fmla="*/ 0 w 786"/>
                <a:gd name="T3" fmla="*/ 490 h 979"/>
                <a:gd name="T4" fmla="*/ 634 w 786"/>
                <a:gd name="T5" fmla="*/ 979 h 979"/>
                <a:gd name="T6" fmla="*/ 786 w 786"/>
                <a:gd name="T7" fmla="*/ 490 h 979"/>
                <a:gd name="T8" fmla="*/ 634 w 786"/>
                <a:gd name="T9" fmla="*/ 0 h 979"/>
              </a:gdLst>
              <a:ahLst/>
              <a:cxnLst>
                <a:cxn ang="0">
                  <a:pos x="T0" y="T1"/>
                </a:cxn>
                <a:cxn ang="0">
                  <a:pos x="T2" y="T3"/>
                </a:cxn>
                <a:cxn ang="0">
                  <a:pos x="T4" y="T5"/>
                </a:cxn>
                <a:cxn ang="0">
                  <a:pos x="T6" y="T7"/>
                </a:cxn>
                <a:cxn ang="0">
                  <a:pos x="T8" y="T9"/>
                </a:cxn>
              </a:cxnLst>
              <a:rect l="0" t="0" r="r" b="b"/>
              <a:pathLst>
                <a:path w="786" h="979">
                  <a:moveTo>
                    <a:pt x="634" y="0"/>
                  </a:moveTo>
                  <a:cubicBezTo>
                    <a:pt x="0" y="490"/>
                    <a:pt x="0" y="490"/>
                    <a:pt x="0" y="490"/>
                  </a:cubicBezTo>
                  <a:cubicBezTo>
                    <a:pt x="634" y="979"/>
                    <a:pt x="634" y="979"/>
                    <a:pt x="634" y="979"/>
                  </a:cubicBezTo>
                  <a:cubicBezTo>
                    <a:pt x="730" y="840"/>
                    <a:pt x="786" y="671"/>
                    <a:pt x="786" y="490"/>
                  </a:cubicBezTo>
                  <a:cubicBezTo>
                    <a:pt x="786" y="308"/>
                    <a:pt x="730" y="139"/>
                    <a:pt x="6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080123443"/>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Section Header Image">
    <p:bg>
      <p:bgPr>
        <a:solidFill>
          <a:schemeClr val="bg1">
            <a:lumMod val="85000"/>
          </a:schemeClr>
        </a:solid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lvl1pPr>
              <a:defRPr>
                <a:solidFill>
                  <a:schemeClr val="bg1"/>
                </a:solidFill>
              </a:defRPr>
            </a:lvl1pPr>
          </a:lstStyle>
          <a:p>
            <a:r>
              <a:rPr lang="en-US"/>
              <a:t>Document Name</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32B354EE-31EA-4FC2-9496-7B6202183237}" type="slidenum">
              <a:rPr lang="en-US" smtClean="0"/>
              <a:pPr/>
              <a:t>‹#›</a:t>
            </a:fld>
            <a:endParaRPr lang="en-US" dirty="0"/>
          </a:p>
        </p:txBody>
      </p:sp>
      <p:sp>
        <p:nvSpPr>
          <p:cNvPr id="19" name="Title 18">
            <a:extLst>
              <a:ext uri="{FF2B5EF4-FFF2-40B4-BE49-F238E27FC236}">
                <a16:creationId xmlns:a16="http://schemas.microsoft.com/office/drawing/2014/main" id="{B47DF7D0-E13C-497A-8A71-C5A8B4D7F67C}"/>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grpSp>
        <p:nvGrpSpPr>
          <p:cNvPr id="41" name="Group 4">
            <a:extLst>
              <a:ext uri="{FF2B5EF4-FFF2-40B4-BE49-F238E27FC236}">
                <a16:creationId xmlns:a16="http://schemas.microsoft.com/office/drawing/2014/main" id="{F531DBA6-9C21-4EFC-9D99-C142DD7BC522}"/>
              </a:ext>
            </a:extLst>
          </p:cNvPr>
          <p:cNvGrpSpPr>
            <a:grpSpLocks noChangeAspect="1"/>
          </p:cNvGrpSpPr>
          <p:nvPr/>
        </p:nvGrpSpPr>
        <p:grpSpPr bwMode="auto">
          <a:xfrm>
            <a:off x="10432850" y="6330937"/>
            <a:ext cx="1346400" cy="188639"/>
            <a:chOff x="0" y="1622"/>
            <a:chExt cx="7680" cy="1076"/>
          </a:xfrm>
          <a:solidFill>
            <a:schemeClr val="bg1"/>
          </a:solidFill>
        </p:grpSpPr>
        <p:sp>
          <p:nvSpPr>
            <p:cNvPr id="42" name="Freeform 5">
              <a:extLst>
                <a:ext uri="{FF2B5EF4-FFF2-40B4-BE49-F238E27FC236}">
                  <a16:creationId xmlns:a16="http://schemas.microsoft.com/office/drawing/2014/main" id="{E3A63CBD-692C-478F-BACD-8B0D1849FFA9}"/>
                </a:ext>
              </a:extLst>
            </p:cNvPr>
            <p:cNvSpPr>
              <a:spLocks/>
            </p:cNvSpPr>
            <p:nvPr/>
          </p:nvSpPr>
          <p:spPr bwMode="auto">
            <a:xfrm>
              <a:off x="1489" y="1874"/>
              <a:ext cx="479" cy="565"/>
            </a:xfrm>
            <a:custGeom>
              <a:avLst/>
              <a:gdLst>
                <a:gd name="T0" fmla="*/ 766 w 766"/>
                <a:gd name="T1" fmla="*/ 745 h 903"/>
                <a:gd name="T2" fmla="*/ 447 w 766"/>
                <a:gd name="T3" fmla="*/ 903 h 903"/>
                <a:gd name="T4" fmla="*/ 0 w 766"/>
                <a:gd name="T5" fmla="*/ 452 h 903"/>
                <a:gd name="T6" fmla="*/ 447 w 766"/>
                <a:gd name="T7" fmla="*/ 0 h 903"/>
                <a:gd name="T8" fmla="*/ 745 w 766"/>
                <a:gd name="T9" fmla="*/ 136 h 903"/>
                <a:gd name="T10" fmla="*/ 668 w 766"/>
                <a:gd name="T11" fmla="*/ 193 h 903"/>
                <a:gd name="T12" fmla="*/ 447 w 766"/>
                <a:gd name="T13" fmla="*/ 80 h 903"/>
                <a:gd name="T14" fmla="*/ 94 w 766"/>
                <a:gd name="T15" fmla="*/ 452 h 903"/>
                <a:gd name="T16" fmla="*/ 447 w 766"/>
                <a:gd name="T17" fmla="*/ 823 h 903"/>
                <a:gd name="T18" fmla="*/ 694 w 766"/>
                <a:gd name="T19" fmla="*/ 694 h 903"/>
                <a:gd name="T20" fmla="*/ 766 w 766"/>
                <a:gd name="T21" fmla="*/ 745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6" h="903">
                  <a:moveTo>
                    <a:pt x="766" y="745"/>
                  </a:moveTo>
                  <a:cubicBezTo>
                    <a:pt x="708" y="834"/>
                    <a:pt x="590" y="903"/>
                    <a:pt x="447" y="903"/>
                  </a:cubicBezTo>
                  <a:cubicBezTo>
                    <a:pt x="192" y="903"/>
                    <a:pt x="0" y="713"/>
                    <a:pt x="0" y="452"/>
                  </a:cubicBezTo>
                  <a:cubicBezTo>
                    <a:pt x="0" y="191"/>
                    <a:pt x="192" y="0"/>
                    <a:pt x="447" y="0"/>
                  </a:cubicBezTo>
                  <a:cubicBezTo>
                    <a:pt x="554" y="0"/>
                    <a:pt x="670" y="40"/>
                    <a:pt x="745" y="136"/>
                  </a:cubicBezTo>
                  <a:cubicBezTo>
                    <a:pt x="668" y="193"/>
                    <a:pt x="668" y="193"/>
                    <a:pt x="668" y="193"/>
                  </a:cubicBezTo>
                  <a:cubicBezTo>
                    <a:pt x="634" y="137"/>
                    <a:pt x="539" y="80"/>
                    <a:pt x="447" y="80"/>
                  </a:cubicBezTo>
                  <a:cubicBezTo>
                    <a:pt x="226" y="80"/>
                    <a:pt x="94" y="254"/>
                    <a:pt x="94" y="452"/>
                  </a:cubicBezTo>
                  <a:cubicBezTo>
                    <a:pt x="94" y="650"/>
                    <a:pt x="226" y="823"/>
                    <a:pt x="447" y="823"/>
                  </a:cubicBezTo>
                  <a:cubicBezTo>
                    <a:pt x="537" y="823"/>
                    <a:pt x="630" y="793"/>
                    <a:pt x="694" y="694"/>
                  </a:cubicBezTo>
                  <a:lnTo>
                    <a:pt x="766" y="7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6">
              <a:extLst>
                <a:ext uri="{FF2B5EF4-FFF2-40B4-BE49-F238E27FC236}">
                  <a16:creationId xmlns:a16="http://schemas.microsoft.com/office/drawing/2014/main" id="{963E2CA8-1F02-4F96-B4D4-FEFB6C22707E}"/>
                </a:ext>
              </a:extLst>
            </p:cNvPr>
            <p:cNvSpPr>
              <a:spLocks noEditPoints="1"/>
            </p:cNvSpPr>
            <p:nvPr/>
          </p:nvSpPr>
          <p:spPr bwMode="auto">
            <a:xfrm>
              <a:off x="2014" y="1874"/>
              <a:ext cx="560" cy="565"/>
            </a:xfrm>
            <a:custGeom>
              <a:avLst/>
              <a:gdLst>
                <a:gd name="T0" fmla="*/ 448 w 896"/>
                <a:gd name="T1" fmla="*/ 80 h 903"/>
                <a:gd name="T2" fmla="*/ 95 w 896"/>
                <a:gd name="T3" fmla="*/ 452 h 903"/>
                <a:gd name="T4" fmla="*/ 448 w 896"/>
                <a:gd name="T5" fmla="*/ 823 h 903"/>
                <a:gd name="T6" fmla="*/ 801 w 896"/>
                <a:gd name="T7" fmla="*/ 452 h 903"/>
                <a:gd name="T8" fmla="*/ 448 w 896"/>
                <a:gd name="T9" fmla="*/ 80 h 903"/>
                <a:gd name="T10" fmla="*/ 448 w 896"/>
                <a:gd name="T11" fmla="*/ 903 h 903"/>
                <a:gd name="T12" fmla="*/ 0 w 896"/>
                <a:gd name="T13" fmla="*/ 452 h 903"/>
                <a:gd name="T14" fmla="*/ 448 w 896"/>
                <a:gd name="T15" fmla="*/ 0 h 903"/>
                <a:gd name="T16" fmla="*/ 896 w 896"/>
                <a:gd name="T17" fmla="*/ 452 h 903"/>
                <a:gd name="T18" fmla="*/ 448 w 896"/>
                <a:gd name="T19" fmla="*/ 903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6" h="903">
                  <a:moveTo>
                    <a:pt x="448" y="80"/>
                  </a:moveTo>
                  <a:cubicBezTo>
                    <a:pt x="227" y="80"/>
                    <a:pt x="95" y="254"/>
                    <a:pt x="95" y="452"/>
                  </a:cubicBezTo>
                  <a:cubicBezTo>
                    <a:pt x="95" y="649"/>
                    <a:pt x="227" y="823"/>
                    <a:pt x="448" y="823"/>
                  </a:cubicBezTo>
                  <a:cubicBezTo>
                    <a:pt x="669" y="823"/>
                    <a:pt x="801" y="649"/>
                    <a:pt x="801" y="452"/>
                  </a:cubicBezTo>
                  <a:cubicBezTo>
                    <a:pt x="801" y="254"/>
                    <a:pt x="669" y="80"/>
                    <a:pt x="448" y="80"/>
                  </a:cubicBezTo>
                  <a:moveTo>
                    <a:pt x="448" y="903"/>
                  </a:moveTo>
                  <a:cubicBezTo>
                    <a:pt x="192" y="903"/>
                    <a:pt x="0" y="712"/>
                    <a:pt x="0" y="452"/>
                  </a:cubicBezTo>
                  <a:cubicBezTo>
                    <a:pt x="0" y="191"/>
                    <a:pt x="192" y="0"/>
                    <a:pt x="448" y="0"/>
                  </a:cubicBezTo>
                  <a:cubicBezTo>
                    <a:pt x="704" y="0"/>
                    <a:pt x="896" y="191"/>
                    <a:pt x="896" y="452"/>
                  </a:cubicBezTo>
                  <a:cubicBezTo>
                    <a:pt x="896" y="712"/>
                    <a:pt x="704" y="903"/>
                    <a:pt x="448" y="90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7">
              <a:extLst>
                <a:ext uri="{FF2B5EF4-FFF2-40B4-BE49-F238E27FC236}">
                  <a16:creationId xmlns:a16="http://schemas.microsoft.com/office/drawing/2014/main" id="{38B204D6-D354-45FB-B6FD-62A4072CEF1C}"/>
                </a:ext>
              </a:extLst>
            </p:cNvPr>
            <p:cNvSpPr>
              <a:spLocks/>
            </p:cNvSpPr>
            <p:nvPr/>
          </p:nvSpPr>
          <p:spPr bwMode="auto">
            <a:xfrm>
              <a:off x="2672" y="1888"/>
              <a:ext cx="305" cy="538"/>
            </a:xfrm>
            <a:custGeom>
              <a:avLst/>
              <a:gdLst>
                <a:gd name="T0" fmla="*/ 0 w 305"/>
                <a:gd name="T1" fmla="*/ 0 h 538"/>
                <a:gd name="T2" fmla="*/ 0 w 305"/>
                <a:gd name="T3" fmla="*/ 538 h 538"/>
                <a:gd name="T4" fmla="*/ 305 w 305"/>
                <a:gd name="T5" fmla="*/ 538 h 538"/>
                <a:gd name="T6" fmla="*/ 305 w 305"/>
                <a:gd name="T7" fmla="*/ 488 h 538"/>
                <a:gd name="T8" fmla="*/ 55 w 305"/>
                <a:gd name="T9" fmla="*/ 488 h 538"/>
                <a:gd name="T10" fmla="*/ 55 w 305"/>
                <a:gd name="T11" fmla="*/ 0 h 538"/>
                <a:gd name="T12" fmla="*/ 0 w 305"/>
                <a:gd name="T13" fmla="*/ 0 h 538"/>
              </a:gdLst>
              <a:ahLst/>
              <a:cxnLst>
                <a:cxn ang="0">
                  <a:pos x="T0" y="T1"/>
                </a:cxn>
                <a:cxn ang="0">
                  <a:pos x="T2" y="T3"/>
                </a:cxn>
                <a:cxn ang="0">
                  <a:pos x="T4" y="T5"/>
                </a:cxn>
                <a:cxn ang="0">
                  <a:pos x="T6" y="T7"/>
                </a:cxn>
                <a:cxn ang="0">
                  <a:pos x="T8" y="T9"/>
                </a:cxn>
                <a:cxn ang="0">
                  <a:pos x="T10" y="T11"/>
                </a:cxn>
                <a:cxn ang="0">
                  <a:pos x="T12" y="T13"/>
                </a:cxn>
              </a:cxnLst>
              <a:rect l="0" t="0" r="r" b="b"/>
              <a:pathLst>
                <a:path w="305" h="538">
                  <a:moveTo>
                    <a:pt x="0" y="0"/>
                  </a:moveTo>
                  <a:lnTo>
                    <a:pt x="0" y="538"/>
                  </a:lnTo>
                  <a:lnTo>
                    <a:pt x="305" y="538"/>
                  </a:lnTo>
                  <a:lnTo>
                    <a:pt x="305" y="488"/>
                  </a:lnTo>
                  <a:lnTo>
                    <a:pt x="55" y="488"/>
                  </a:lnTo>
                  <a:lnTo>
                    <a:pt x="55"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8">
              <a:extLst>
                <a:ext uri="{FF2B5EF4-FFF2-40B4-BE49-F238E27FC236}">
                  <a16:creationId xmlns:a16="http://schemas.microsoft.com/office/drawing/2014/main" id="{6C351C69-0634-4E8F-88D1-FF6F43009C23}"/>
                </a:ext>
              </a:extLst>
            </p:cNvPr>
            <p:cNvSpPr>
              <a:spLocks noEditPoints="1"/>
            </p:cNvSpPr>
            <p:nvPr/>
          </p:nvSpPr>
          <p:spPr bwMode="auto">
            <a:xfrm>
              <a:off x="2997" y="1874"/>
              <a:ext cx="561" cy="565"/>
            </a:xfrm>
            <a:custGeom>
              <a:avLst/>
              <a:gdLst>
                <a:gd name="T0" fmla="*/ 448 w 896"/>
                <a:gd name="T1" fmla="*/ 80 h 903"/>
                <a:gd name="T2" fmla="*/ 95 w 896"/>
                <a:gd name="T3" fmla="*/ 452 h 903"/>
                <a:gd name="T4" fmla="*/ 448 w 896"/>
                <a:gd name="T5" fmla="*/ 823 h 903"/>
                <a:gd name="T6" fmla="*/ 801 w 896"/>
                <a:gd name="T7" fmla="*/ 452 h 903"/>
                <a:gd name="T8" fmla="*/ 448 w 896"/>
                <a:gd name="T9" fmla="*/ 80 h 903"/>
                <a:gd name="T10" fmla="*/ 448 w 896"/>
                <a:gd name="T11" fmla="*/ 903 h 903"/>
                <a:gd name="T12" fmla="*/ 0 w 896"/>
                <a:gd name="T13" fmla="*/ 452 h 903"/>
                <a:gd name="T14" fmla="*/ 448 w 896"/>
                <a:gd name="T15" fmla="*/ 0 h 903"/>
                <a:gd name="T16" fmla="*/ 896 w 896"/>
                <a:gd name="T17" fmla="*/ 452 h 903"/>
                <a:gd name="T18" fmla="*/ 448 w 896"/>
                <a:gd name="T19" fmla="*/ 903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6" h="903">
                  <a:moveTo>
                    <a:pt x="448" y="80"/>
                  </a:moveTo>
                  <a:cubicBezTo>
                    <a:pt x="227" y="80"/>
                    <a:pt x="95" y="254"/>
                    <a:pt x="95" y="452"/>
                  </a:cubicBezTo>
                  <a:cubicBezTo>
                    <a:pt x="95" y="649"/>
                    <a:pt x="227" y="823"/>
                    <a:pt x="448" y="823"/>
                  </a:cubicBezTo>
                  <a:cubicBezTo>
                    <a:pt x="669" y="823"/>
                    <a:pt x="801" y="649"/>
                    <a:pt x="801" y="452"/>
                  </a:cubicBezTo>
                  <a:cubicBezTo>
                    <a:pt x="801" y="254"/>
                    <a:pt x="669" y="80"/>
                    <a:pt x="448" y="80"/>
                  </a:cubicBezTo>
                  <a:moveTo>
                    <a:pt x="448" y="903"/>
                  </a:moveTo>
                  <a:cubicBezTo>
                    <a:pt x="192" y="903"/>
                    <a:pt x="0" y="712"/>
                    <a:pt x="0" y="452"/>
                  </a:cubicBezTo>
                  <a:cubicBezTo>
                    <a:pt x="0" y="191"/>
                    <a:pt x="192" y="0"/>
                    <a:pt x="448" y="0"/>
                  </a:cubicBezTo>
                  <a:cubicBezTo>
                    <a:pt x="704" y="0"/>
                    <a:pt x="896" y="191"/>
                    <a:pt x="896" y="452"/>
                  </a:cubicBezTo>
                  <a:cubicBezTo>
                    <a:pt x="896" y="712"/>
                    <a:pt x="704" y="903"/>
                    <a:pt x="448" y="90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9">
              <a:extLst>
                <a:ext uri="{FF2B5EF4-FFF2-40B4-BE49-F238E27FC236}">
                  <a16:creationId xmlns:a16="http://schemas.microsoft.com/office/drawing/2014/main" id="{E57E84E7-25CC-4AB4-BF6D-BA6223B0CA5D}"/>
                </a:ext>
              </a:extLst>
            </p:cNvPr>
            <p:cNvSpPr>
              <a:spLocks/>
            </p:cNvSpPr>
            <p:nvPr/>
          </p:nvSpPr>
          <p:spPr bwMode="auto">
            <a:xfrm>
              <a:off x="4182" y="1888"/>
              <a:ext cx="503" cy="538"/>
            </a:xfrm>
            <a:custGeom>
              <a:avLst/>
              <a:gdLst>
                <a:gd name="T0" fmla="*/ 0 w 503"/>
                <a:gd name="T1" fmla="*/ 0 h 538"/>
                <a:gd name="T2" fmla="*/ 119 w 503"/>
                <a:gd name="T3" fmla="*/ 0 h 538"/>
                <a:gd name="T4" fmla="*/ 119 w 503"/>
                <a:gd name="T5" fmla="*/ 243 h 538"/>
                <a:gd name="T6" fmla="*/ 327 w 503"/>
                <a:gd name="T7" fmla="*/ 0 h 538"/>
                <a:gd name="T8" fmla="*/ 482 w 503"/>
                <a:gd name="T9" fmla="*/ 0 h 538"/>
                <a:gd name="T10" fmla="*/ 243 w 503"/>
                <a:gd name="T11" fmla="*/ 270 h 538"/>
                <a:gd name="T12" fmla="*/ 503 w 503"/>
                <a:gd name="T13" fmla="*/ 538 h 538"/>
                <a:gd name="T14" fmla="*/ 337 w 503"/>
                <a:gd name="T15" fmla="*/ 538 h 538"/>
                <a:gd name="T16" fmla="*/ 119 w 503"/>
                <a:gd name="T17" fmla="*/ 302 h 538"/>
                <a:gd name="T18" fmla="*/ 119 w 503"/>
                <a:gd name="T19" fmla="*/ 538 h 538"/>
                <a:gd name="T20" fmla="*/ 0 w 503"/>
                <a:gd name="T21" fmla="*/ 538 h 538"/>
                <a:gd name="T22" fmla="*/ 0 w 503"/>
                <a:gd name="T23"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3" h="538">
                  <a:moveTo>
                    <a:pt x="0" y="0"/>
                  </a:moveTo>
                  <a:lnTo>
                    <a:pt x="119" y="0"/>
                  </a:lnTo>
                  <a:lnTo>
                    <a:pt x="119" y="243"/>
                  </a:lnTo>
                  <a:lnTo>
                    <a:pt x="327" y="0"/>
                  </a:lnTo>
                  <a:lnTo>
                    <a:pt x="482" y="0"/>
                  </a:lnTo>
                  <a:lnTo>
                    <a:pt x="243" y="270"/>
                  </a:lnTo>
                  <a:lnTo>
                    <a:pt x="503" y="538"/>
                  </a:lnTo>
                  <a:lnTo>
                    <a:pt x="337" y="538"/>
                  </a:lnTo>
                  <a:lnTo>
                    <a:pt x="119" y="302"/>
                  </a:lnTo>
                  <a:lnTo>
                    <a:pt x="119" y="538"/>
                  </a:lnTo>
                  <a:lnTo>
                    <a:pt x="0" y="53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Rectangle 10">
              <a:extLst>
                <a:ext uri="{FF2B5EF4-FFF2-40B4-BE49-F238E27FC236}">
                  <a16:creationId xmlns:a16="http://schemas.microsoft.com/office/drawing/2014/main" id="{05DA7E05-A706-46A5-9865-2DF81E625FB5}"/>
                </a:ext>
              </a:extLst>
            </p:cNvPr>
            <p:cNvSpPr>
              <a:spLocks noChangeArrowheads="1"/>
            </p:cNvSpPr>
            <p:nvPr/>
          </p:nvSpPr>
          <p:spPr bwMode="auto">
            <a:xfrm>
              <a:off x="4743" y="1888"/>
              <a:ext cx="118" cy="5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11">
              <a:extLst>
                <a:ext uri="{FF2B5EF4-FFF2-40B4-BE49-F238E27FC236}">
                  <a16:creationId xmlns:a16="http://schemas.microsoft.com/office/drawing/2014/main" id="{2734E26B-D7B5-47AB-93E8-409B6614B4E7}"/>
                </a:ext>
              </a:extLst>
            </p:cNvPr>
            <p:cNvSpPr>
              <a:spLocks/>
            </p:cNvSpPr>
            <p:nvPr/>
          </p:nvSpPr>
          <p:spPr bwMode="auto">
            <a:xfrm>
              <a:off x="4980" y="1888"/>
              <a:ext cx="509" cy="538"/>
            </a:xfrm>
            <a:custGeom>
              <a:avLst/>
              <a:gdLst>
                <a:gd name="T0" fmla="*/ 0 w 509"/>
                <a:gd name="T1" fmla="*/ 0 h 538"/>
                <a:gd name="T2" fmla="*/ 160 w 509"/>
                <a:gd name="T3" fmla="*/ 0 h 538"/>
                <a:gd name="T4" fmla="*/ 389 w 509"/>
                <a:gd name="T5" fmla="*/ 374 h 538"/>
                <a:gd name="T6" fmla="*/ 391 w 509"/>
                <a:gd name="T7" fmla="*/ 374 h 538"/>
                <a:gd name="T8" fmla="*/ 391 w 509"/>
                <a:gd name="T9" fmla="*/ 0 h 538"/>
                <a:gd name="T10" fmla="*/ 509 w 509"/>
                <a:gd name="T11" fmla="*/ 0 h 538"/>
                <a:gd name="T12" fmla="*/ 509 w 509"/>
                <a:gd name="T13" fmla="*/ 538 h 538"/>
                <a:gd name="T14" fmla="*/ 354 w 509"/>
                <a:gd name="T15" fmla="*/ 538 h 538"/>
                <a:gd name="T16" fmla="*/ 120 w 509"/>
                <a:gd name="T17" fmla="*/ 155 h 538"/>
                <a:gd name="T18" fmla="*/ 118 w 509"/>
                <a:gd name="T19" fmla="*/ 155 h 538"/>
                <a:gd name="T20" fmla="*/ 118 w 509"/>
                <a:gd name="T21" fmla="*/ 538 h 538"/>
                <a:gd name="T22" fmla="*/ 0 w 509"/>
                <a:gd name="T23" fmla="*/ 538 h 538"/>
                <a:gd name="T24" fmla="*/ 0 w 509"/>
                <a:gd name="T25"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9" h="538">
                  <a:moveTo>
                    <a:pt x="0" y="0"/>
                  </a:moveTo>
                  <a:lnTo>
                    <a:pt x="160" y="0"/>
                  </a:lnTo>
                  <a:lnTo>
                    <a:pt x="389" y="374"/>
                  </a:lnTo>
                  <a:lnTo>
                    <a:pt x="391" y="374"/>
                  </a:lnTo>
                  <a:lnTo>
                    <a:pt x="391" y="0"/>
                  </a:lnTo>
                  <a:lnTo>
                    <a:pt x="509" y="0"/>
                  </a:lnTo>
                  <a:lnTo>
                    <a:pt x="509" y="538"/>
                  </a:lnTo>
                  <a:lnTo>
                    <a:pt x="354" y="538"/>
                  </a:lnTo>
                  <a:lnTo>
                    <a:pt x="120" y="155"/>
                  </a:lnTo>
                  <a:lnTo>
                    <a:pt x="118" y="155"/>
                  </a:lnTo>
                  <a:lnTo>
                    <a:pt x="118" y="538"/>
                  </a:lnTo>
                  <a:lnTo>
                    <a:pt x="0" y="53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12">
              <a:extLst>
                <a:ext uri="{FF2B5EF4-FFF2-40B4-BE49-F238E27FC236}">
                  <a16:creationId xmlns:a16="http://schemas.microsoft.com/office/drawing/2014/main" id="{7E1B3A85-079F-4992-80B2-3352761788A2}"/>
                </a:ext>
              </a:extLst>
            </p:cNvPr>
            <p:cNvSpPr>
              <a:spLocks/>
            </p:cNvSpPr>
            <p:nvPr/>
          </p:nvSpPr>
          <p:spPr bwMode="auto">
            <a:xfrm>
              <a:off x="5608" y="1888"/>
              <a:ext cx="378" cy="538"/>
            </a:xfrm>
            <a:custGeom>
              <a:avLst/>
              <a:gdLst>
                <a:gd name="T0" fmla="*/ 0 w 378"/>
                <a:gd name="T1" fmla="*/ 0 h 538"/>
                <a:gd name="T2" fmla="*/ 0 w 378"/>
                <a:gd name="T3" fmla="*/ 538 h 538"/>
                <a:gd name="T4" fmla="*/ 378 w 378"/>
                <a:gd name="T5" fmla="*/ 538 h 538"/>
                <a:gd name="T6" fmla="*/ 378 w 378"/>
                <a:gd name="T7" fmla="*/ 433 h 538"/>
                <a:gd name="T8" fmla="*/ 118 w 378"/>
                <a:gd name="T9" fmla="*/ 433 h 538"/>
                <a:gd name="T10" fmla="*/ 118 w 378"/>
                <a:gd name="T11" fmla="*/ 319 h 538"/>
                <a:gd name="T12" fmla="*/ 351 w 378"/>
                <a:gd name="T13" fmla="*/ 319 h 538"/>
                <a:gd name="T14" fmla="*/ 351 w 378"/>
                <a:gd name="T15" fmla="*/ 210 h 538"/>
                <a:gd name="T16" fmla="*/ 118 w 378"/>
                <a:gd name="T17" fmla="*/ 210 h 538"/>
                <a:gd name="T18" fmla="*/ 118 w 378"/>
                <a:gd name="T19" fmla="*/ 105 h 538"/>
                <a:gd name="T20" fmla="*/ 364 w 378"/>
                <a:gd name="T21" fmla="*/ 105 h 538"/>
                <a:gd name="T22" fmla="*/ 364 w 378"/>
                <a:gd name="T23" fmla="*/ 0 h 538"/>
                <a:gd name="T24" fmla="*/ 0 w 378"/>
                <a:gd name="T25"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8" h="538">
                  <a:moveTo>
                    <a:pt x="0" y="0"/>
                  </a:moveTo>
                  <a:lnTo>
                    <a:pt x="0" y="538"/>
                  </a:lnTo>
                  <a:lnTo>
                    <a:pt x="378" y="538"/>
                  </a:lnTo>
                  <a:lnTo>
                    <a:pt x="378" y="433"/>
                  </a:lnTo>
                  <a:lnTo>
                    <a:pt x="118" y="433"/>
                  </a:lnTo>
                  <a:lnTo>
                    <a:pt x="118" y="319"/>
                  </a:lnTo>
                  <a:lnTo>
                    <a:pt x="351" y="319"/>
                  </a:lnTo>
                  <a:lnTo>
                    <a:pt x="351" y="210"/>
                  </a:lnTo>
                  <a:lnTo>
                    <a:pt x="118" y="210"/>
                  </a:lnTo>
                  <a:lnTo>
                    <a:pt x="118" y="105"/>
                  </a:lnTo>
                  <a:lnTo>
                    <a:pt x="364" y="105"/>
                  </a:lnTo>
                  <a:lnTo>
                    <a:pt x="364"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13">
              <a:extLst>
                <a:ext uri="{FF2B5EF4-FFF2-40B4-BE49-F238E27FC236}">
                  <a16:creationId xmlns:a16="http://schemas.microsoft.com/office/drawing/2014/main" id="{64C3D14E-A4C2-4F48-B397-FE3811D6FF6B}"/>
                </a:ext>
              </a:extLst>
            </p:cNvPr>
            <p:cNvSpPr>
              <a:spLocks/>
            </p:cNvSpPr>
            <p:nvPr/>
          </p:nvSpPr>
          <p:spPr bwMode="auto">
            <a:xfrm>
              <a:off x="6052" y="1888"/>
              <a:ext cx="424" cy="538"/>
            </a:xfrm>
            <a:custGeom>
              <a:avLst/>
              <a:gdLst>
                <a:gd name="T0" fmla="*/ 0 w 424"/>
                <a:gd name="T1" fmla="*/ 0 h 538"/>
                <a:gd name="T2" fmla="*/ 0 w 424"/>
                <a:gd name="T3" fmla="*/ 105 h 538"/>
                <a:gd name="T4" fmla="*/ 152 w 424"/>
                <a:gd name="T5" fmla="*/ 105 h 538"/>
                <a:gd name="T6" fmla="*/ 152 w 424"/>
                <a:gd name="T7" fmla="*/ 538 h 538"/>
                <a:gd name="T8" fmla="*/ 271 w 424"/>
                <a:gd name="T9" fmla="*/ 538 h 538"/>
                <a:gd name="T10" fmla="*/ 271 w 424"/>
                <a:gd name="T11" fmla="*/ 105 h 538"/>
                <a:gd name="T12" fmla="*/ 424 w 424"/>
                <a:gd name="T13" fmla="*/ 105 h 538"/>
                <a:gd name="T14" fmla="*/ 424 w 424"/>
                <a:gd name="T15" fmla="*/ 0 h 538"/>
                <a:gd name="T16" fmla="*/ 0 w 424"/>
                <a:gd name="T17"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4" h="538">
                  <a:moveTo>
                    <a:pt x="0" y="0"/>
                  </a:moveTo>
                  <a:lnTo>
                    <a:pt x="0" y="105"/>
                  </a:lnTo>
                  <a:lnTo>
                    <a:pt x="152" y="105"/>
                  </a:lnTo>
                  <a:lnTo>
                    <a:pt x="152" y="538"/>
                  </a:lnTo>
                  <a:lnTo>
                    <a:pt x="271" y="538"/>
                  </a:lnTo>
                  <a:lnTo>
                    <a:pt x="271" y="105"/>
                  </a:lnTo>
                  <a:lnTo>
                    <a:pt x="424" y="105"/>
                  </a:lnTo>
                  <a:lnTo>
                    <a:pt x="424"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Rectangle 14">
              <a:extLst>
                <a:ext uri="{FF2B5EF4-FFF2-40B4-BE49-F238E27FC236}">
                  <a16:creationId xmlns:a16="http://schemas.microsoft.com/office/drawing/2014/main" id="{BCC64368-444D-4BC9-AACD-4234858F6F20}"/>
                </a:ext>
              </a:extLst>
            </p:cNvPr>
            <p:cNvSpPr>
              <a:spLocks noChangeArrowheads="1"/>
            </p:cNvSpPr>
            <p:nvPr/>
          </p:nvSpPr>
          <p:spPr bwMode="auto">
            <a:xfrm>
              <a:off x="6554" y="1888"/>
              <a:ext cx="119" cy="5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15">
              <a:extLst>
                <a:ext uri="{FF2B5EF4-FFF2-40B4-BE49-F238E27FC236}">
                  <a16:creationId xmlns:a16="http://schemas.microsoft.com/office/drawing/2014/main" id="{4B2867E3-DDA3-41E2-91A4-645678CC42F6}"/>
                </a:ext>
              </a:extLst>
            </p:cNvPr>
            <p:cNvSpPr>
              <a:spLocks noEditPoints="1"/>
            </p:cNvSpPr>
            <p:nvPr/>
          </p:nvSpPr>
          <p:spPr bwMode="auto">
            <a:xfrm>
              <a:off x="3658" y="1888"/>
              <a:ext cx="383" cy="538"/>
            </a:xfrm>
            <a:custGeom>
              <a:avLst/>
              <a:gdLst>
                <a:gd name="T0" fmla="*/ 87 w 613"/>
                <a:gd name="T1" fmla="*/ 376 h 859"/>
                <a:gd name="T2" fmla="*/ 278 w 613"/>
                <a:gd name="T3" fmla="*/ 376 h 859"/>
                <a:gd name="T4" fmla="*/ 462 w 613"/>
                <a:gd name="T5" fmla="*/ 228 h 859"/>
                <a:gd name="T6" fmla="*/ 278 w 613"/>
                <a:gd name="T7" fmla="*/ 82 h 859"/>
                <a:gd name="T8" fmla="*/ 87 w 613"/>
                <a:gd name="T9" fmla="*/ 82 h 859"/>
                <a:gd name="T10" fmla="*/ 87 w 613"/>
                <a:gd name="T11" fmla="*/ 376 h 859"/>
                <a:gd name="T12" fmla="*/ 497 w 613"/>
                <a:gd name="T13" fmla="*/ 859 h 859"/>
                <a:gd name="T14" fmla="*/ 87 w 613"/>
                <a:gd name="T15" fmla="*/ 428 h 859"/>
                <a:gd name="T16" fmla="*/ 87 w 613"/>
                <a:gd name="T17" fmla="*/ 859 h 859"/>
                <a:gd name="T18" fmla="*/ 0 w 613"/>
                <a:gd name="T19" fmla="*/ 859 h 859"/>
                <a:gd name="T20" fmla="*/ 0 w 613"/>
                <a:gd name="T21" fmla="*/ 0 h 859"/>
                <a:gd name="T22" fmla="*/ 270 w 613"/>
                <a:gd name="T23" fmla="*/ 0 h 859"/>
                <a:gd name="T24" fmla="*/ 555 w 613"/>
                <a:gd name="T25" fmla="*/ 228 h 859"/>
                <a:gd name="T26" fmla="*/ 270 w 613"/>
                <a:gd name="T27" fmla="*/ 453 h 859"/>
                <a:gd name="T28" fmla="*/ 222 w 613"/>
                <a:gd name="T29" fmla="*/ 453 h 859"/>
                <a:gd name="T30" fmla="*/ 613 w 613"/>
                <a:gd name="T31" fmla="*/ 859 h 859"/>
                <a:gd name="T32" fmla="*/ 497 w 613"/>
                <a:gd name="T33" fmla="*/ 859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13" h="859">
                  <a:moveTo>
                    <a:pt x="87" y="376"/>
                  </a:moveTo>
                  <a:cubicBezTo>
                    <a:pt x="278" y="376"/>
                    <a:pt x="278" y="376"/>
                    <a:pt x="278" y="376"/>
                  </a:cubicBezTo>
                  <a:cubicBezTo>
                    <a:pt x="396" y="376"/>
                    <a:pt x="462" y="328"/>
                    <a:pt x="462" y="228"/>
                  </a:cubicBezTo>
                  <a:cubicBezTo>
                    <a:pt x="462" y="129"/>
                    <a:pt x="396" y="82"/>
                    <a:pt x="278" y="82"/>
                  </a:cubicBezTo>
                  <a:cubicBezTo>
                    <a:pt x="87" y="82"/>
                    <a:pt x="87" y="82"/>
                    <a:pt x="87" y="82"/>
                  </a:cubicBezTo>
                  <a:lnTo>
                    <a:pt x="87" y="376"/>
                  </a:lnTo>
                  <a:close/>
                  <a:moveTo>
                    <a:pt x="497" y="859"/>
                  </a:moveTo>
                  <a:cubicBezTo>
                    <a:pt x="87" y="428"/>
                    <a:pt x="87" y="428"/>
                    <a:pt x="87" y="428"/>
                  </a:cubicBezTo>
                  <a:cubicBezTo>
                    <a:pt x="87" y="859"/>
                    <a:pt x="87" y="859"/>
                    <a:pt x="87" y="859"/>
                  </a:cubicBezTo>
                  <a:cubicBezTo>
                    <a:pt x="0" y="859"/>
                    <a:pt x="0" y="859"/>
                    <a:pt x="0" y="859"/>
                  </a:cubicBezTo>
                  <a:cubicBezTo>
                    <a:pt x="0" y="0"/>
                    <a:pt x="0" y="0"/>
                    <a:pt x="0" y="0"/>
                  </a:cubicBezTo>
                  <a:cubicBezTo>
                    <a:pt x="270" y="0"/>
                    <a:pt x="270" y="0"/>
                    <a:pt x="270" y="0"/>
                  </a:cubicBezTo>
                  <a:cubicBezTo>
                    <a:pt x="457" y="0"/>
                    <a:pt x="555" y="91"/>
                    <a:pt x="555" y="228"/>
                  </a:cubicBezTo>
                  <a:cubicBezTo>
                    <a:pt x="555" y="367"/>
                    <a:pt x="457" y="453"/>
                    <a:pt x="270" y="453"/>
                  </a:cubicBezTo>
                  <a:cubicBezTo>
                    <a:pt x="222" y="453"/>
                    <a:pt x="222" y="453"/>
                    <a:pt x="222" y="453"/>
                  </a:cubicBezTo>
                  <a:cubicBezTo>
                    <a:pt x="613" y="859"/>
                    <a:pt x="613" y="859"/>
                    <a:pt x="613" y="859"/>
                  </a:cubicBezTo>
                  <a:lnTo>
                    <a:pt x="497" y="8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16">
              <a:extLst>
                <a:ext uri="{FF2B5EF4-FFF2-40B4-BE49-F238E27FC236}">
                  <a16:creationId xmlns:a16="http://schemas.microsoft.com/office/drawing/2014/main" id="{EC222D36-7AF5-4738-9655-15F5992F1BAA}"/>
                </a:ext>
              </a:extLst>
            </p:cNvPr>
            <p:cNvSpPr>
              <a:spLocks/>
            </p:cNvSpPr>
            <p:nvPr/>
          </p:nvSpPr>
          <p:spPr bwMode="auto">
            <a:xfrm>
              <a:off x="6752" y="1881"/>
              <a:ext cx="476" cy="558"/>
            </a:xfrm>
            <a:custGeom>
              <a:avLst/>
              <a:gdLst>
                <a:gd name="T0" fmla="*/ 0 w 761"/>
                <a:gd name="T1" fmla="*/ 447 h 893"/>
                <a:gd name="T2" fmla="*/ 417 w 761"/>
                <a:gd name="T3" fmla="*/ 0 h 893"/>
                <a:gd name="T4" fmla="*/ 747 w 761"/>
                <a:gd name="T5" fmla="*/ 181 h 893"/>
                <a:gd name="T6" fmla="*/ 614 w 761"/>
                <a:gd name="T7" fmla="*/ 285 h 893"/>
                <a:gd name="T8" fmla="*/ 421 w 761"/>
                <a:gd name="T9" fmla="*/ 178 h 893"/>
                <a:gd name="T10" fmla="*/ 197 w 761"/>
                <a:gd name="T11" fmla="*/ 447 h 893"/>
                <a:gd name="T12" fmla="*/ 427 w 761"/>
                <a:gd name="T13" fmla="*/ 715 h 893"/>
                <a:gd name="T14" fmla="*/ 623 w 761"/>
                <a:gd name="T15" fmla="*/ 608 h 893"/>
                <a:gd name="T16" fmla="*/ 761 w 761"/>
                <a:gd name="T17" fmla="*/ 715 h 893"/>
                <a:gd name="T18" fmla="*/ 423 w 761"/>
                <a:gd name="T19" fmla="*/ 893 h 893"/>
                <a:gd name="T20" fmla="*/ 0 w 761"/>
                <a:gd name="T21" fmla="*/ 447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1" h="893">
                  <a:moveTo>
                    <a:pt x="0" y="447"/>
                  </a:moveTo>
                  <a:cubicBezTo>
                    <a:pt x="0" y="177"/>
                    <a:pt x="160" y="0"/>
                    <a:pt x="417" y="0"/>
                  </a:cubicBezTo>
                  <a:cubicBezTo>
                    <a:pt x="582" y="0"/>
                    <a:pt x="698" y="79"/>
                    <a:pt x="747" y="181"/>
                  </a:cubicBezTo>
                  <a:cubicBezTo>
                    <a:pt x="614" y="285"/>
                    <a:pt x="614" y="285"/>
                    <a:pt x="614" y="285"/>
                  </a:cubicBezTo>
                  <a:cubicBezTo>
                    <a:pt x="570" y="211"/>
                    <a:pt x="493" y="178"/>
                    <a:pt x="421" y="178"/>
                  </a:cubicBezTo>
                  <a:cubicBezTo>
                    <a:pt x="295" y="178"/>
                    <a:pt x="197" y="269"/>
                    <a:pt x="197" y="447"/>
                  </a:cubicBezTo>
                  <a:cubicBezTo>
                    <a:pt x="197" y="614"/>
                    <a:pt x="300" y="715"/>
                    <a:pt x="427" y="715"/>
                  </a:cubicBezTo>
                  <a:cubicBezTo>
                    <a:pt x="500" y="715"/>
                    <a:pt x="579" y="682"/>
                    <a:pt x="623" y="608"/>
                  </a:cubicBezTo>
                  <a:cubicBezTo>
                    <a:pt x="761" y="715"/>
                    <a:pt x="761" y="715"/>
                    <a:pt x="761" y="715"/>
                  </a:cubicBezTo>
                  <a:cubicBezTo>
                    <a:pt x="699" y="819"/>
                    <a:pt x="590" y="893"/>
                    <a:pt x="423" y="893"/>
                  </a:cubicBezTo>
                  <a:cubicBezTo>
                    <a:pt x="163" y="893"/>
                    <a:pt x="0" y="716"/>
                    <a:pt x="0" y="44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17">
              <a:extLst>
                <a:ext uri="{FF2B5EF4-FFF2-40B4-BE49-F238E27FC236}">
                  <a16:creationId xmlns:a16="http://schemas.microsoft.com/office/drawing/2014/main" id="{4C0D53D0-6590-47EA-A163-46D76FB8291B}"/>
                </a:ext>
              </a:extLst>
            </p:cNvPr>
            <p:cNvSpPr>
              <a:spLocks/>
            </p:cNvSpPr>
            <p:nvPr/>
          </p:nvSpPr>
          <p:spPr bwMode="auto">
            <a:xfrm>
              <a:off x="7271" y="1874"/>
              <a:ext cx="409" cy="565"/>
            </a:xfrm>
            <a:custGeom>
              <a:avLst/>
              <a:gdLst>
                <a:gd name="T0" fmla="*/ 404 w 654"/>
                <a:gd name="T1" fmla="*/ 376 h 903"/>
                <a:gd name="T2" fmla="*/ 287 w 654"/>
                <a:gd name="T3" fmla="*/ 354 h 903"/>
                <a:gd name="T4" fmla="*/ 202 w 654"/>
                <a:gd name="T5" fmla="*/ 264 h 903"/>
                <a:gd name="T6" fmla="*/ 321 w 654"/>
                <a:gd name="T7" fmla="*/ 171 h 903"/>
                <a:gd name="T8" fmla="*/ 478 w 654"/>
                <a:gd name="T9" fmla="*/ 270 h 903"/>
                <a:gd name="T10" fmla="*/ 617 w 654"/>
                <a:gd name="T11" fmla="*/ 163 h 903"/>
                <a:gd name="T12" fmla="*/ 322 w 654"/>
                <a:gd name="T13" fmla="*/ 0 h 903"/>
                <a:gd name="T14" fmla="*/ 12 w 654"/>
                <a:gd name="T15" fmla="*/ 279 h 903"/>
                <a:gd name="T16" fmla="*/ 247 w 654"/>
                <a:gd name="T17" fmla="*/ 523 h 903"/>
                <a:gd name="T18" fmla="*/ 366 w 654"/>
                <a:gd name="T19" fmla="*/ 546 h 903"/>
                <a:gd name="T20" fmla="*/ 459 w 654"/>
                <a:gd name="T21" fmla="*/ 642 h 903"/>
                <a:gd name="T22" fmla="*/ 336 w 654"/>
                <a:gd name="T23" fmla="*/ 734 h 903"/>
                <a:gd name="T24" fmla="*/ 143 w 654"/>
                <a:gd name="T25" fmla="*/ 594 h 903"/>
                <a:gd name="T26" fmla="*/ 0 w 654"/>
                <a:gd name="T27" fmla="*/ 704 h 903"/>
                <a:gd name="T28" fmla="*/ 334 w 654"/>
                <a:gd name="T29" fmla="*/ 903 h 903"/>
                <a:gd name="T30" fmla="*/ 654 w 654"/>
                <a:gd name="T31" fmla="*/ 629 h 903"/>
                <a:gd name="T32" fmla="*/ 404 w 654"/>
                <a:gd name="T33" fmla="*/ 376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4" h="903">
                  <a:moveTo>
                    <a:pt x="404" y="376"/>
                  </a:moveTo>
                  <a:cubicBezTo>
                    <a:pt x="287" y="354"/>
                    <a:pt x="287" y="354"/>
                    <a:pt x="287" y="354"/>
                  </a:cubicBezTo>
                  <a:cubicBezTo>
                    <a:pt x="228" y="344"/>
                    <a:pt x="202" y="305"/>
                    <a:pt x="202" y="264"/>
                  </a:cubicBezTo>
                  <a:cubicBezTo>
                    <a:pt x="202" y="216"/>
                    <a:pt x="249" y="171"/>
                    <a:pt x="321" y="171"/>
                  </a:cubicBezTo>
                  <a:cubicBezTo>
                    <a:pt x="403" y="171"/>
                    <a:pt x="451" y="222"/>
                    <a:pt x="478" y="270"/>
                  </a:cubicBezTo>
                  <a:cubicBezTo>
                    <a:pt x="617" y="163"/>
                    <a:pt x="617" y="163"/>
                    <a:pt x="617" y="163"/>
                  </a:cubicBezTo>
                  <a:cubicBezTo>
                    <a:pt x="578" y="79"/>
                    <a:pt x="491" y="0"/>
                    <a:pt x="322" y="0"/>
                  </a:cubicBezTo>
                  <a:cubicBezTo>
                    <a:pt x="156" y="0"/>
                    <a:pt x="12" y="115"/>
                    <a:pt x="12" y="279"/>
                  </a:cubicBezTo>
                  <a:cubicBezTo>
                    <a:pt x="12" y="407"/>
                    <a:pt x="101" y="496"/>
                    <a:pt x="247" y="523"/>
                  </a:cubicBezTo>
                  <a:cubicBezTo>
                    <a:pt x="366" y="546"/>
                    <a:pt x="366" y="546"/>
                    <a:pt x="366" y="546"/>
                  </a:cubicBezTo>
                  <a:cubicBezTo>
                    <a:pt x="423" y="557"/>
                    <a:pt x="459" y="597"/>
                    <a:pt x="459" y="642"/>
                  </a:cubicBezTo>
                  <a:cubicBezTo>
                    <a:pt x="459" y="695"/>
                    <a:pt x="413" y="734"/>
                    <a:pt x="336" y="734"/>
                  </a:cubicBezTo>
                  <a:cubicBezTo>
                    <a:pt x="219" y="734"/>
                    <a:pt x="161" y="649"/>
                    <a:pt x="143" y="594"/>
                  </a:cubicBezTo>
                  <a:cubicBezTo>
                    <a:pt x="0" y="704"/>
                    <a:pt x="0" y="704"/>
                    <a:pt x="0" y="704"/>
                  </a:cubicBezTo>
                  <a:cubicBezTo>
                    <a:pt x="41" y="806"/>
                    <a:pt x="144" y="903"/>
                    <a:pt x="334" y="903"/>
                  </a:cubicBezTo>
                  <a:cubicBezTo>
                    <a:pt x="541" y="903"/>
                    <a:pt x="654" y="765"/>
                    <a:pt x="654" y="629"/>
                  </a:cubicBezTo>
                  <a:cubicBezTo>
                    <a:pt x="654" y="506"/>
                    <a:pt x="569" y="407"/>
                    <a:pt x="404" y="37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18">
              <a:extLst>
                <a:ext uri="{FF2B5EF4-FFF2-40B4-BE49-F238E27FC236}">
                  <a16:creationId xmlns:a16="http://schemas.microsoft.com/office/drawing/2014/main" id="{428C190E-86C4-4F98-84B4-89A96F5F7EA4}"/>
                </a:ext>
              </a:extLst>
            </p:cNvPr>
            <p:cNvSpPr>
              <a:spLocks/>
            </p:cNvSpPr>
            <p:nvPr/>
          </p:nvSpPr>
          <p:spPr bwMode="auto">
            <a:xfrm>
              <a:off x="0" y="1622"/>
              <a:ext cx="857" cy="1076"/>
            </a:xfrm>
            <a:custGeom>
              <a:avLst/>
              <a:gdLst>
                <a:gd name="T0" fmla="*/ 859 w 1370"/>
                <a:gd name="T1" fmla="*/ 1020 h 1719"/>
                <a:gd name="T2" fmla="*/ 859 w 1370"/>
                <a:gd name="T3" fmla="*/ 1336 h 1719"/>
                <a:gd name="T4" fmla="*/ 383 w 1370"/>
                <a:gd name="T5" fmla="*/ 860 h 1719"/>
                <a:gd name="T6" fmla="*/ 859 w 1370"/>
                <a:gd name="T7" fmla="*/ 384 h 1719"/>
                <a:gd name="T8" fmla="*/ 859 w 1370"/>
                <a:gd name="T9" fmla="*/ 714 h 1719"/>
                <a:gd name="T10" fmla="*/ 1370 w 1370"/>
                <a:gd name="T11" fmla="*/ 169 h 1719"/>
                <a:gd name="T12" fmla="*/ 859 w 1370"/>
                <a:gd name="T13" fmla="*/ 0 h 1719"/>
                <a:gd name="T14" fmla="*/ 0 w 1370"/>
                <a:gd name="T15" fmla="*/ 860 h 1719"/>
                <a:gd name="T16" fmla="*/ 859 w 1370"/>
                <a:gd name="T17" fmla="*/ 1719 h 1719"/>
                <a:gd name="T18" fmla="*/ 1335 w 1370"/>
                <a:gd name="T19" fmla="*/ 1575 h 1719"/>
                <a:gd name="T20" fmla="*/ 859 w 1370"/>
                <a:gd name="T21" fmla="*/ 1020 h 1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70" h="1719">
                  <a:moveTo>
                    <a:pt x="859" y="1020"/>
                  </a:moveTo>
                  <a:cubicBezTo>
                    <a:pt x="859" y="1336"/>
                    <a:pt x="859" y="1336"/>
                    <a:pt x="859" y="1336"/>
                  </a:cubicBezTo>
                  <a:cubicBezTo>
                    <a:pt x="596" y="1336"/>
                    <a:pt x="383" y="1122"/>
                    <a:pt x="383" y="860"/>
                  </a:cubicBezTo>
                  <a:cubicBezTo>
                    <a:pt x="383" y="596"/>
                    <a:pt x="596" y="384"/>
                    <a:pt x="859" y="384"/>
                  </a:cubicBezTo>
                  <a:cubicBezTo>
                    <a:pt x="859" y="714"/>
                    <a:pt x="859" y="714"/>
                    <a:pt x="859" y="714"/>
                  </a:cubicBezTo>
                  <a:cubicBezTo>
                    <a:pt x="1370" y="169"/>
                    <a:pt x="1370" y="169"/>
                    <a:pt x="1370" y="169"/>
                  </a:cubicBezTo>
                  <a:cubicBezTo>
                    <a:pt x="1227" y="63"/>
                    <a:pt x="1051" y="0"/>
                    <a:pt x="859" y="0"/>
                  </a:cubicBezTo>
                  <a:cubicBezTo>
                    <a:pt x="385" y="0"/>
                    <a:pt x="0" y="385"/>
                    <a:pt x="0" y="860"/>
                  </a:cubicBezTo>
                  <a:cubicBezTo>
                    <a:pt x="0" y="1334"/>
                    <a:pt x="385" y="1719"/>
                    <a:pt x="859" y="1719"/>
                  </a:cubicBezTo>
                  <a:cubicBezTo>
                    <a:pt x="1035" y="1719"/>
                    <a:pt x="1199" y="1666"/>
                    <a:pt x="1335" y="1575"/>
                  </a:cubicBezTo>
                  <a:lnTo>
                    <a:pt x="859" y="10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19">
              <a:extLst>
                <a:ext uri="{FF2B5EF4-FFF2-40B4-BE49-F238E27FC236}">
                  <a16:creationId xmlns:a16="http://schemas.microsoft.com/office/drawing/2014/main" id="{DD2C009D-DFCA-4C9E-A006-65C1ED9A8953}"/>
                </a:ext>
              </a:extLst>
            </p:cNvPr>
            <p:cNvSpPr>
              <a:spLocks/>
            </p:cNvSpPr>
            <p:nvPr/>
          </p:nvSpPr>
          <p:spPr bwMode="auto">
            <a:xfrm>
              <a:off x="583" y="1854"/>
              <a:ext cx="491" cy="612"/>
            </a:xfrm>
            <a:custGeom>
              <a:avLst/>
              <a:gdLst>
                <a:gd name="T0" fmla="*/ 634 w 786"/>
                <a:gd name="T1" fmla="*/ 0 h 979"/>
                <a:gd name="T2" fmla="*/ 0 w 786"/>
                <a:gd name="T3" fmla="*/ 490 h 979"/>
                <a:gd name="T4" fmla="*/ 634 w 786"/>
                <a:gd name="T5" fmla="*/ 979 h 979"/>
                <a:gd name="T6" fmla="*/ 786 w 786"/>
                <a:gd name="T7" fmla="*/ 490 h 979"/>
                <a:gd name="T8" fmla="*/ 634 w 786"/>
                <a:gd name="T9" fmla="*/ 0 h 979"/>
              </a:gdLst>
              <a:ahLst/>
              <a:cxnLst>
                <a:cxn ang="0">
                  <a:pos x="T0" y="T1"/>
                </a:cxn>
                <a:cxn ang="0">
                  <a:pos x="T2" y="T3"/>
                </a:cxn>
                <a:cxn ang="0">
                  <a:pos x="T4" y="T5"/>
                </a:cxn>
                <a:cxn ang="0">
                  <a:pos x="T6" y="T7"/>
                </a:cxn>
                <a:cxn ang="0">
                  <a:pos x="T8" y="T9"/>
                </a:cxn>
              </a:cxnLst>
              <a:rect l="0" t="0" r="r" b="b"/>
              <a:pathLst>
                <a:path w="786" h="979">
                  <a:moveTo>
                    <a:pt x="634" y="0"/>
                  </a:moveTo>
                  <a:cubicBezTo>
                    <a:pt x="0" y="490"/>
                    <a:pt x="0" y="490"/>
                    <a:pt x="0" y="490"/>
                  </a:cubicBezTo>
                  <a:cubicBezTo>
                    <a:pt x="634" y="979"/>
                    <a:pt x="634" y="979"/>
                    <a:pt x="634" y="979"/>
                  </a:cubicBezTo>
                  <a:cubicBezTo>
                    <a:pt x="730" y="840"/>
                    <a:pt x="786" y="671"/>
                    <a:pt x="786" y="490"/>
                  </a:cubicBezTo>
                  <a:cubicBezTo>
                    <a:pt x="786" y="308"/>
                    <a:pt x="730" y="139"/>
                    <a:pt x="6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 name="Text Placeholder 2"/>
          <p:cNvSpPr>
            <a:spLocks noGrp="1"/>
          </p:cNvSpPr>
          <p:nvPr>
            <p:ph type="body" idx="1"/>
          </p:nvPr>
        </p:nvSpPr>
        <p:spPr>
          <a:xfrm>
            <a:off x="413105" y="1521184"/>
            <a:ext cx="6176627" cy="3817442"/>
          </a:xfrm>
        </p:spPr>
        <p:txBody>
          <a:bodyPr anchor="ctr"/>
          <a:lstStyle>
            <a:lvl1pPr marL="0" indent="0">
              <a:lnSpc>
                <a:spcPct val="100000"/>
              </a:lnSpc>
              <a:spcAft>
                <a:spcPts val="0"/>
              </a:spcAft>
              <a:buNone/>
              <a:defRPr sz="4400" b="0">
                <a:solidFill>
                  <a:schemeClr val="bg1"/>
                </a:solidFill>
                <a:latin typeface="+mj-lt"/>
              </a:defRPr>
            </a:lvl1pPr>
            <a:lvl2pPr marL="521258" indent="0">
              <a:buNone/>
              <a:defRPr sz="2280">
                <a:solidFill>
                  <a:schemeClr val="tx1">
                    <a:tint val="75000"/>
                  </a:schemeClr>
                </a:solidFill>
              </a:defRPr>
            </a:lvl2pPr>
            <a:lvl3pPr marL="1042512" indent="0">
              <a:buNone/>
              <a:defRPr sz="2052">
                <a:solidFill>
                  <a:schemeClr val="tx1">
                    <a:tint val="75000"/>
                  </a:schemeClr>
                </a:solidFill>
              </a:defRPr>
            </a:lvl3pPr>
            <a:lvl4pPr marL="1563773" indent="0">
              <a:buNone/>
              <a:defRPr sz="1824">
                <a:solidFill>
                  <a:schemeClr val="tx1">
                    <a:tint val="75000"/>
                  </a:schemeClr>
                </a:solidFill>
              </a:defRPr>
            </a:lvl4pPr>
            <a:lvl5pPr marL="2085031" indent="0">
              <a:buNone/>
              <a:defRPr sz="1824">
                <a:solidFill>
                  <a:schemeClr val="tx1">
                    <a:tint val="75000"/>
                  </a:schemeClr>
                </a:solidFill>
              </a:defRPr>
            </a:lvl5pPr>
            <a:lvl6pPr marL="2606285" indent="0">
              <a:buNone/>
              <a:defRPr sz="1824">
                <a:solidFill>
                  <a:schemeClr val="tx1">
                    <a:tint val="75000"/>
                  </a:schemeClr>
                </a:solidFill>
              </a:defRPr>
            </a:lvl6pPr>
            <a:lvl7pPr marL="3127543" indent="0">
              <a:buNone/>
              <a:defRPr sz="1824">
                <a:solidFill>
                  <a:schemeClr val="tx1">
                    <a:tint val="75000"/>
                  </a:schemeClr>
                </a:solidFill>
              </a:defRPr>
            </a:lvl7pPr>
            <a:lvl8pPr marL="3648803" indent="0">
              <a:buNone/>
              <a:defRPr sz="1824">
                <a:solidFill>
                  <a:schemeClr val="tx1">
                    <a:tint val="75000"/>
                  </a:schemeClr>
                </a:solidFill>
              </a:defRPr>
            </a:lvl8pPr>
            <a:lvl9pPr marL="4170060" indent="0">
              <a:buNone/>
              <a:defRPr sz="1824">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882178633"/>
      </p:ext>
    </p:extLst>
  </p:cSld>
  <p:clrMapOvr>
    <a:masterClrMapping/>
  </p:clrMapOvr>
  <p:transition>
    <p:fade/>
  </p:transition>
  <p:extLst>
    <p:ext uri="{DCECCB84-F9BA-43D5-87BE-67443E8EF086}">
      <p15:sldGuideLst xmlns:p15="http://schemas.microsoft.com/office/powerpoint/2012/main">
        <p15:guide id="1" pos="415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US"/>
              <a:t>Document Name</a:t>
            </a:r>
            <a:endParaRPr lang="en-US" dirty="0"/>
          </a:p>
        </p:txBody>
      </p:sp>
      <p:sp>
        <p:nvSpPr>
          <p:cNvPr id="6" name="Slide Number Placeholder 5"/>
          <p:cNvSpPr>
            <a:spLocks noGrp="1"/>
          </p:cNvSpPr>
          <p:nvPr>
            <p:ph type="sldNum" sz="quarter" idx="12"/>
          </p:nvPr>
        </p:nvSpPr>
        <p:spPr/>
        <p:txBody>
          <a:bodyPr/>
          <a:lstStyle/>
          <a:p>
            <a:fld id="{32B354EE-31EA-4FC2-9496-7B6202183237}" type="slidenum">
              <a:rPr lang="en-US" smtClean="0"/>
              <a:t>‹#›</a:t>
            </a:fld>
            <a:endParaRPr lang="en-US" dirty="0"/>
          </a:p>
        </p:txBody>
      </p:sp>
      <p:sp>
        <p:nvSpPr>
          <p:cNvPr id="9" name="Content Placeholder 8">
            <a:extLst>
              <a:ext uri="{FF2B5EF4-FFF2-40B4-BE49-F238E27FC236}">
                <a16:creationId xmlns:a16="http://schemas.microsoft.com/office/drawing/2014/main" id="{AD5FF552-6074-447D-AD5E-8C1C43CCBFB0}"/>
              </a:ext>
            </a:extLst>
          </p:cNvPr>
          <p:cNvSpPr>
            <a:spLocks noGrp="1"/>
          </p:cNvSpPr>
          <p:nvPr>
            <p:ph sz="quarter" idx="13"/>
          </p:nvPr>
        </p:nvSpPr>
        <p:spPr>
          <a:xfrm>
            <a:off x="412919" y="1521184"/>
            <a:ext cx="7699205" cy="4494733"/>
          </a:xfrm>
        </p:spPr>
        <p:txBody>
          <a:bodyPr/>
          <a:lstStyle>
            <a:lvl1pPr>
              <a:defRPr sz="2400"/>
            </a:lvl1pPr>
            <a:lvl2pPr>
              <a:defRPr sz="2400"/>
            </a:lvl2pPr>
            <a:lvl3pPr>
              <a:defRPr sz="2400"/>
            </a:lvl3pPr>
            <a:lvl4pPr>
              <a:defRPr sz="2200"/>
            </a:lvl4pPr>
            <a:lvl5pP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9">
            <a:extLst>
              <a:ext uri="{FF2B5EF4-FFF2-40B4-BE49-F238E27FC236}">
                <a16:creationId xmlns:a16="http://schemas.microsoft.com/office/drawing/2014/main" id="{977F6106-20AC-4F4E-811D-6D4EBFC2BE1B}"/>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659566164"/>
      </p:ext>
    </p:extLst>
  </p:cSld>
  <p:clrMapOvr>
    <a:masterClrMapping/>
  </p:clrMapOvr>
  <p:transition>
    <p:fade/>
  </p:transition>
  <p:extLst>
    <p:ext uri="{DCECCB84-F9BA-43D5-87BE-67443E8EF086}">
      <p15:sldGuideLst xmlns:p15="http://schemas.microsoft.com/office/powerpoint/2012/main">
        <p15:guide id="1" pos="511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p:cSld name="Title and Content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10881" y="411083"/>
            <a:ext cx="11368018" cy="776038"/>
          </a:xfrm>
        </p:spPr>
        <p:txBody>
          <a:bodyPr/>
          <a:lstStyle>
            <a:lvl1pPr>
              <a:defRPr>
                <a:solidFill>
                  <a:schemeClr val="bg1"/>
                </a:solidFill>
              </a:defRPr>
            </a:lvl1pPr>
          </a:lstStyle>
          <a:p>
            <a:r>
              <a:rPr lang="en-US"/>
              <a:t>Click to edit Master title style</a:t>
            </a:r>
            <a:endParaRPr lang="en-US"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Document Name</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32B354EE-31EA-4FC2-9496-7B6202183237}" type="slidenum">
              <a:rPr lang="en-US" smtClean="0"/>
              <a:pPr/>
              <a:t>‹#›</a:t>
            </a:fld>
            <a:endParaRPr lang="en-US" dirty="0"/>
          </a:p>
        </p:txBody>
      </p:sp>
      <p:sp>
        <p:nvSpPr>
          <p:cNvPr id="7" name="Content Placeholder 8">
            <a:extLst>
              <a:ext uri="{FF2B5EF4-FFF2-40B4-BE49-F238E27FC236}">
                <a16:creationId xmlns:a16="http://schemas.microsoft.com/office/drawing/2014/main" id="{8E40116B-71CA-472D-8400-6F4605D9D057}"/>
              </a:ext>
            </a:extLst>
          </p:cNvPr>
          <p:cNvSpPr>
            <a:spLocks noGrp="1"/>
          </p:cNvSpPr>
          <p:nvPr>
            <p:ph sz="quarter" idx="13"/>
          </p:nvPr>
        </p:nvSpPr>
        <p:spPr>
          <a:xfrm>
            <a:off x="412919" y="1521184"/>
            <a:ext cx="7699205" cy="4494733"/>
          </a:xfrm>
        </p:spPr>
        <p:txBody>
          <a:bodyPr/>
          <a:lstStyle>
            <a:lvl1pPr>
              <a:defRPr sz="2400">
                <a:solidFill>
                  <a:schemeClr val="bg1"/>
                </a:solidFill>
              </a:defRPr>
            </a:lvl1pPr>
            <a:lvl2pPr>
              <a:defRPr sz="2400">
                <a:solidFill>
                  <a:schemeClr val="bg1"/>
                </a:solidFill>
              </a:defRPr>
            </a:lvl2pPr>
            <a:lvl3pPr>
              <a:defRPr sz="2400">
                <a:solidFill>
                  <a:schemeClr val="bg1"/>
                </a:solidFill>
              </a:defRPr>
            </a:lvl3pPr>
            <a:lvl4pPr>
              <a:buClr>
                <a:schemeClr val="bg1"/>
              </a:buClr>
              <a:defRPr sz="2200">
                <a:solidFill>
                  <a:schemeClr val="bg1"/>
                </a:solidFill>
              </a:defRPr>
            </a:lvl4pPr>
            <a:lvl5pPr>
              <a:buClr>
                <a:schemeClr val="bg1"/>
              </a:buClr>
              <a:defRPr sz="2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24" name="Group 4">
            <a:extLst>
              <a:ext uri="{FF2B5EF4-FFF2-40B4-BE49-F238E27FC236}">
                <a16:creationId xmlns:a16="http://schemas.microsoft.com/office/drawing/2014/main" id="{29DCF2F7-ED91-4CF8-BCD4-D0C068C38576}"/>
              </a:ext>
            </a:extLst>
          </p:cNvPr>
          <p:cNvGrpSpPr>
            <a:grpSpLocks noChangeAspect="1"/>
          </p:cNvGrpSpPr>
          <p:nvPr/>
        </p:nvGrpSpPr>
        <p:grpSpPr bwMode="auto">
          <a:xfrm>
            <a:off x="10432850" y="6330937"/>
            <a:ext cx="1346400" cy="188639"/>
            <a:chOff x="0" y="1622"/>
            <a:chExt cx="7680" cy="1076"/>
          </a:xfrm>
          <a:solidFill>
            <a:schemeClr val="bg1"/>
          </a:solidFill>
        </p:grpSpPr>
        <p:sp>
          <p:nvSpPr>
            <p:cNvPr id="25" name="Freeform 5">
              <a:extLst>
                <a:ext uri="{FF2B5EF4-FFF2-40B4-BE49-F238E27FC236}">
                  <a16:creationId xmlns:a16="http://schemas.microsoft.com/office/drawing/2014/main" id="{5CFBDCF1-BBDE-4470-B02B-1B517340AE7F}"/>
                </a:ext>
              </a:extLst>
            </p:cNvPr>
            <p:cNvSpPr>
              <a:spLocks/>
            </p:cNvSpPr>
            <p:nvPr/>
          </p:nvSpPr>
          <p:spPr bwMode="auto">
            <a:xfrm>
              <a:off x="1489" y="1874"/>
              <a:ext cx="479" cy="565"/>
            </a:xfrm>
            <a:custGeom>
              <a:avLst/>
              <a:gdLst>
                <a:gd name="T0" fmla="*/ 766 w 766"/>
                <a:gd name="T1" fmla="*/ 745 h 903"/>
                <a:gd name="T2" fmla="*/ 447 w 766"/>
                <a:gd name="T3" fmla="*/ 903 h 903"/>
                <a:gd name="T4" fmla="*/ 0 w 766"/>
                <a:gd name="T5" fmla="*/ 452 h 903"/>
                <a:gd name="T6" fmla="*/ 447 w 766"/>
                <a:gd name="T7" fmla="*/ 0 h 903"/>
                <a:gd name="T8" fmla="*/ 745 w 766"/>
                <a:gd name="T9" fmla="*/ 136 h 903"/>
                <a:gd name="T10" fmla="*/ 668 w 766"/>
                <a:gd name="T11" fmla="*/ 193 h 903"/>
                <a:gd name="T12" fmla="*/ 447 w 766"/>
                <a:gd name="T13" fmla="*/ 80 h 903"/>
                <a:gd name="T14" fmla="*/ 94 w 766"/>
                <a:gd name="T15" fmla="*/ 452 h 903"/>
                <a:gd name="T16" fmla="*/ 447 w 766"/>
                <a:gd name="T17" fmla="*/ 823 h 903"/>
                <a:gd name="T18" fmla="*/ 694 w 766"/>
                <a:gd name="T19" fmla="*/ 694 h 903"/>
                <a:gd name="T20" fmla="*/ 766 w 766"/>
                <a:gd name="T21" fmla="*/ 745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6" h="903">
                  <a:moveTo>
                    <a:pt x="766" y="745"/>
                  </a:moveTo>
                  <a:cubicBezTo>
                    <a:pt x="708" y="834"/>
                    <a:pt x="590" y="903"/>
                    <a:pt x="447" y="903"/>
                  </a:cubicBezTo>
                  <a:cubicBezTo>
                    <a:pt x="192" y="903"/>
                    <a:pt x="0" y="713"/>
                    <a:pt x="0" y="452"/>
                  </a:cubicBezTo>
                  <a:cubicBezTo>
                    <a:pt x="0" y="191"/>
                    <a:pt x="192" y="0"/>
                    <a:pt x="447" y="0"/>
                  </a:cubicBezTo>
                  <a:cubicBezTo>
                    <a:pt x="554" y="0"/>
                    <a:pt x="670" y="40"/>
                    <a:pt x="745" y="136"/>
                  </a:cubicBezTo>
                  <a:cubicBezTo>
                    <a:pt x="668" y="193"/>
                    <a:pt x="668" y="193"/>
                    <a:pt x="668" y="193"/>
                  </a:cubicBezTo>
                  <a:cubicBezTo>
                    <a:pt x="634" y="137"/>
                    <a:pt x="539" y="80"/>
                    <a:pt x="447" y="80"/>
                  </a:cubicBezTo>
                  <a:cubicBezTo>
                    <a:pt x="226" y="80"/>
                    <a:pt x="94" y="254"/>
                    <a:pt x="94" y="452"/>
                  </a:cubicBezTo>
                  <a:cubicBezTo>
                    <a:pt x="94" y="650"/>
                    <a:pt x="226" y="823"/>
                    <a:pt x="447" y="823"/>
                  </a:cubicBezTo>
                  <a:cubicBezTo>
                    <a:pt x="537" y="823"/>
                    <a:pt x="630" y="793"/>
                    <a:pt x="694" y="694"/>
                  </a:cubicBezTo>
                  <a:lnTo>
                    <a:pt x="766" y="7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6">
              <a:extLst>
                <a:ext uri="{FF2B5EF4-FFF2-40B4-BE49-F238E27FC236}">
                  <a16:creationId xmlns:a16="http://schemas.microsoft.com/office/drawing/2014/main" id="{0FD44A24-E293-46BE-B4EC-95369CEA9320}"/>
                </a:ext>
              </a:extLst>
            </p:cNvPr>
            <p:cNvSpPr>
              <a:spLocks noEditPoints="1"/>
            </p:cNvSpPr>
            <p:nvPr/>
          </p:nvSpPr>
          <p:spPr bwMode="auto">
            <a:xfrm>
              <a:off x="2014" y="1874"/>
              <a:ext cx="560" cy="565"/>
            </a:xfrm>
            <a:custGeom>
              <a:avLst/>
              <a:gdLst>
                <a:gd name="T0" fmla="*/ 448 w 896"/>
                <a:gd name="T1" fmla="*/ 80 h 903"/>
                <a:gd name="T2" fmla="*/ 95 w 896"/>
                <a:gd name="T3" fmla="*/ 452 h 903"/>
                <a:gd name="T4" fmla="*/ 448 w 896"/>
                <a:gd name="T5" fmla="*/ 823 h 903"/>
                <a:gd name="T6" fmla="*/ 801 w 896"/>
                <a:gd name="T7" fmla="*/ 452 h 903"/>
                <a:gd name="T8" fmla="*/ 448 w 896"/>
                <a:gd name="T9" fmla="*/ 80 h 903"/>
                <a:gd name="T10" fmla="*/ 448 w 896"/>
                <a:gd name="T11" fmla="*/ 903 h 903"/>
                <a:gd name="T12" fmla="*/ 0 w 896"/>
                <a:gd name="T13" fmla="*/ 452 h 903"/>
                <a:gd name="T14" fmla="*/ 448 w 896"/>
                <a:gd name="T15" fmla="*/ 0 h 903"/>
                <a:gd name="T16" fmla="*/ 896 w 896"/>
                <a:gd name="T17" fmla="*/ 452 h 903"/>
                <a:gd name="T18" fmla="*/ 448 w 896"/>
                <a:gd name="T19" fmla="*/ 903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6" h="903">
                  <a:moveTo>
                    <a:pt x="448" y="80"/>
                  </a:moveTo>
                  <a:cubicBezTo>
                    <a:pt x="227" y="80"/>
                    <a:pt x="95" y="254"/>
                    <a:pt x="95" y="452"/>
                  </a:cubicBezTo>
                  <a:cubicBezTo>
                    <a:pt x="95" y="649"/>
                    <a:pt x="227" y="823"/>
                    <a:pt x="448" y="823"/>
                  </a:cubicBezTo>
                  <a:cubicBezTo>
                    <a:pt x="669" y="823"/>
                    <a:pt x="801" y="649"/>
                    <a:pt x="801" y="452"/>
                  </a:cubicBezTo>
                  <a:cubicBezTo>
                    <a:pt x="801" y="254"/>
                    <a:pt x="669" y="80"/>
                    <a:pt x="448" y="80"/>
                  </a:cubicBezTo>
                  <a:moveTo>
                    <a:pt x="448" y="903"/>
                  </a:moveTo>
                  <a:cubicBezTo>
                    <a:pt x="192" y="903"/>
                    <a:pt x="0" y="712"/>
                    <a:pt x="0" y="452"/>
                  </a:cubicBezTo>
                  <a:cubicBezTo>
                    <a:pt x="0" y="191"/>
                    <a:pt x="192" y="0"/>
                    <a:pt x="448" y="0"/>
                  </a:cubicBezTo>
                  <a:cubicBezTo>
                    <a:pt x="704" y="0"/>
                    <a:pt x="896" y="191"/>
                    <a:pt x="896" y="452"/>
                  </a:cubicBezTo>
                  <a:cubicBezTo>
                    <a:pt x="896" y="712"/>
                    <a:pt x="704" y="903"/>
                    <a:pt x="448" y="90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7">
              <a:extLst>
                <a:ext uri="{FF2B5EF4-FFF2-40B4-BE49-F238E27FC236}">
                  <a16:creationId xmlns:a16="http://schemas.microsoft.com/office/drawing/2014/main" id="{DB94DBE4-95DD-4C25-BC05-00983FE00E45}"/>
                </a:ext>
              </a:extLst>
            </p:cNvPr>
            <p:cNvSpPr>
              <a:spLocks/>
            </p:cNvSpPr>
            <p:nvPr/>
          </p:nvSpPr>
          <p:spPr bwMode="auto">
            <a:xfrm>
              <a:off x="2672" y="1888"/>
              <a:ext cx="305" cy="538"/>
            </a:xfrm>
            <a:custGeom>
              <a:avLst/>
              <a:gdLst>
                <a:gd name="T0" fmla="*/ 0 w 305"/>
                <a:gd name="T1" fmla="*/ 0 h 538"/>
                <a:gd name="T2" fmla="*/ 0 w 305"/>
                <a:gd name="T3" fmla="*/ 538 h 538"/>
                <a:gd name="T4" fmla="*/ 305 w 305"/>
                <a:gd name="T5" fmla="*/ 538 h 538"/>
                <a:gd name="T6" fmla="*/ 305 w 305"/>
                <a:gd name="T7" fmla="*/ 488 h 538"/>
                <a:gd name="T8" fmla="*/ 55 w 305"/>
                <a:gd name="T9" fmla="*/ 488 h 538"/>
                <a:gd name="T10" fmla="*/ 55 w 305"/>
                <a:gd name="T11" fmla="*/ 0 h 538"/>
                <a:gd name="T12" fmla="*/ 0 w 305"/>
                <a:gd name="T13" fmla="*/ 0 h 538"/>
              </a:gdLst>
              <a:ahLst/>
              <a:cxnLst>
                <a:cxn ang="0">
                  <a:pos x="T0" y="T1"/>
                </a:cxn>
                <a:cxn ang="0">
                  <a:pos x="T2" y="T3"/>
                </a:cxn>
                <a:cxn ang="0">
                  <a:pos x="T4" y="T5"/>
                </a:cxn>
                <a:cxn ang="0">
                  <a:pos x="T6" y="T7"/>
                </a:cxn>
                <a:cxn ang="0">
                  <a:pos x="T8" y="T9"/>
                </a:cxn>
                <a:cxn ang="0">
                  <a:pos x="T10" y="T11"/>
                </a:cxn>
                <a:cxn ang="0">
                  <a:pos x="T12" y="T13"/>
                </a:cxn>
              </a:cxnLst>
              <a:rect l="0" t="0" r="r" b="b"/>
              <a:pathLst>
                <a:path w="305" h="538">
                  <a:moveTo>
                    <a:pt x="0" y="0"/>
                  </a:moveTo>
                  <a:lnTo>
                    <a:pt x="0" y="538"/>
                  </a:lnTo>
                  <a:lnTo>
                    <a:pt x="305" y="538"/>
                  </a:lnTo>
                  <a:lnTo>
                    <a:pt x="305" y="488"/>
                  </a:lnTo>
                  <a:lnTo>
                    <a:pt x="55" y="488"/>
                  </a:lnTo>
                  <a:lnTo>
                    <a:pt x="55"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8">
              <a:extLst>
                <a:ext uri="{FF2B5EF4-FFF2-40B4-BE49-F238E27FC236}">
                  <a16:creationId xmlns:a16="http://schemas.microsoft.com/office/drawing/2014/main" id="{5D69084C-8A2C-4F56-840C-854C059404AA}"/>
                </a:ext>
              </a:extLst>
            </p:cNvPr>
            <p:cNvSpPr>
              <a:spLocks noEditPoints="1"/>
            </p:cNvSpPr>
            <p:nvPr/>
          </p:nvSpPr>
          <p:spPr bwMode="auto">
            <a:xfrm>
              <a:off x="2997" y="1874"/>
              <a:ext cx="561" cy="565"/>
            </a:xfrm>
            <a:custGeom>
              <a:avLst/>
              <a:gdLst>
                <a:gd name="T0" fmla="*/ 448 w 896"/>
                <a:gd name="T1" fmla="*/ 80 h 903"/>
                <a:gd name="T2" fmla="*/ 95 w 896"/>
                <a:gd name="T3" fmla="*/ 452 h 903"/>
                <a:gd name="T4" fmla="*/ 448 w 896"/>
                <a:gd name="T5" fmla="*/ 823 h 903"/>
                <a:gd name="T6" fmla="*/ 801 w 896"/>
                <a:gd name="T7" fmla="*/ 452 h 903"/>
                <a:gd name="T8" fmla="*/ 448 w 896"/>
                <a:gd name="T9" fmla="*/ 80 h 903"/>
                <a:gd name="T10" fmla="*/ 448 w 896"/>
                <a:gd name="T11" fmla="*/ 903 h 903"/>
                <a:gd name="T12" fmla="*/ 0 w 896"/>
                <a:gd name="T13" fmla="*/ 452 h 903"/>
                <a:gd name="T14" fmla="*/ 448 w 896"/>
                <a:gd name="T15" fmla="*/ 0 h 903"/>
                <a:gd name="T16" fmla="*/ 896 w 896"/>
                <a:gd name="T17" fmla="*/ 452 h 903"/>
                <a:gd name="T18" fmla="*/ 448 w 896"/>
                <a:gd name="T19" fmla="*/ 903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6" h="903">
                  <a:moveTo>
                    <a:pt x="448" y="80"/>
                  </a:moveTo>
                  <a:cubicBezTo>
                    <a:pt x="227" y="80"/>
                    <a:pt x="95" y="254"/>
                    <a:pt x="95" y="452"/>
                  </a:cubicBezTo>
                  <a:cubicBezTo>
                    <a:pt x="95" y="649"/>
                    <a:pt x="227" y="823"/>
                    <a:pt x="448" y="823"/>
                  </a:cubicBezTo>
                  <a:cubicBezTo>
                    <a:pt x="669" y="823"/>
                    <a:pt x="801" y="649"/>
                    <a:pt x="801" y="452"/>
                  </a:cubicBezTo>
                  <a:cubicBezTo>
                    <a:pt x="801" y="254"/>
                    <a:pt x="669" y="80"/>
                    <a:pt x="448" y="80"/>
                  </a:cubicBezTo>
                  <a:moveTo>
                    <a:pt x="448" y="903"/>
                  </a:moveTo>
                  <a:cubicBezTo>
                    <a:pt x="192" y="903"/>
                    <a:pt x="0" y="712"/>
                    <a:pt x="0" y="452"/>
                  </a:cubicBezTo>
                  <a:cubicBezTo>
                    <a:pt x="0" y="191"/>
                    <a:pt x="192" y="0"/>
                    <a:pt x="448" y="0"/>
                  </a:cubicBezTo>
                  <a:cubicBezTo>
                    <a:pt x="704" y="0"/>
                    <a:pt x="896" y="191"/>
                    <a:pt x="896" y="452"/>
                  </a:cubicBezTo>
                  <a:cubicBezTo>
                    <a:pt x="896" y="712"/>
                    <a:pt x="704" y="903"/>
                    <a:pt x="448" y="90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9">
              <a:extLst>
                <a:ext uri="{FF2B5EF4-FFF2-40B4-BE49-F238E27FC236}">
                  <a16:creationId xmlns:a16="http://schemas.microsoft.com/office/drawing/2014/main" id="{A8335D12-BE1F-47FC-B1B1-D38E41B65B65}"/>
                </a:ext>
              </a:extLst>
            </p:cNvPr>
            <p:cNvSpPr>
              <a:spLocks/>
            </p:cNvSpPr>
            <p:nvPr/>
          </p:nvSpPr>
          <p:spPr bwMode="auto">
            <a:xfrm>
              <a:off x="4182" y="1888"/>
              <a:ext cx="503" cy="538"/>
            </a:xfrm>
            <a:custGeom>
              <a:avLst/>
              <a:gdLst>
                <a:gd name="T0" fmla="*/ 0 w 503"/>
                <a:gd name="T1" fmla="*/ 0 h 538"/>
                <a:gd name="T2" fmla="*/ 119 w 503"/>
                <a:gd name="T3" fmla="*/ 0 h 538"/>
                <a:gd name="T4" fmla="*/ 119 w 503"/>
                <a:gd name="T5" fmla="*/ 243 h 538"/>
                <a:gd name="T6" fmla="*/ 327 w 503"/>
                <a:gd name="T7" fmla="*/ 0 h 538"/>
                <a:gd name="T8" fmla="*/ 482 w 503"/>
                <a:gd name="T9" fmla="*/ 0 h 538"/>
                <a:gd name="T10" fmla="*/ 243 w 503"/>
                <a:gd name="T11" fmla="*/ 270 h 538"/>
                <a:gd name="T12" fmla="*/ 503 w 503"/>
                <a:gd name="T13" fmla="*/ 538 h 538"/>
                <a:gd name="T14" fmla="*/ 337 w 503"/>
                <a:gd name="T15" fmla="*/ 538 h 538"/>
                <a:gd name="T16" fmla="*/ 119 w 503"/>
                <a:gd name="T17" fmla="*/ 302 h 538"/>
                <a:gd name="T18" fmla="*/ 119 w 503"/>
                <a:gd name="T19" fmla="*/ 538 h 538"/>
                <a:gd name="T20" fmla="*/ 0 w 503"/>
                <a:gd name="T21" fmla="*/ 538 h 538"/>
                <a:gd name="T22" fmla="*/ 0 w 503"/>
                <a:gd name="T23"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3" h="538">
                  <a:moveTo>
                    <a:pt x="0" y="0"/>
                  </a:moveTo>
                  <a:lnTo>
                    <a:pt x="119" y="0"/>
                  </a:lnTo>
                  <a:lnTo>
                    <a:pt x="119" y="243"/>
                  </a:lnTo>
                  <a:lnTo>
                    <a:pt x="327" y="0"/>
                  </a:lnTo>
                  <a:lnTo>
                    <a:pt x="482" y="0"/>
                  </a:lnTo>
                  <a:lnTo>
                    <a:pt x="243" y="270"/>
                  </a:lnTo>
                  <a:lnTo>
                    <a:pt x="503" y="538"/>
                  </a:lnTo>
                  <a:lnTo>
                    <a:pt x="337" y="538"/>
                  </a:lnTo>
                  <a:lnTo>
                    <a:pt x="119" y="302"/>
                  </a:lnTo>
                  <a:lnTo>
                    <a:pt x="119" y="538"/>
                  </a:lnTo>
                  <a:lnTo>
                    <a:pt x="0" y="53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Rectangle 10">
              <a:extLst>
                <a:ext uri="{FF2B5EF4-FFF2-40B4-BE49-F238E27FC236}">
                  <a16:creationId xmlns:a16="http://schemas.microsoft.com/office/drawing/2014/main" id="{6AFD345D-B4DD-470E-B648-6430D05E93B2}"/>
                </a:ext>
              </a:extLst>
            </p:cNvPr>
            <p:cNvSpPr>
              <a:spLocks noChangeArrowheads="1"/>
            </p:cNvSpPr>
            <p:nvPr/>
          </p:nvSpPr>
          <p:spPr bwMode="auto">
            <a:xfrm>
              <a:off x="4743" y="1888"/>
              <a:ext cx="118" cy="5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1">
              <a:extLst>
                <a:ext uri="{FF2B5EF4-FFF2-40B4-BE49-F238E27FC236}">
                  <a16:creationId xmlns:a16="http://schemas.microsoft.com/office/drawing/2014/main" id="{0B0B3A75-1A0A-49AC-9816-77E1B29B648D}"/>
                </a:ext>
              </a:extLst>
            </p:cNvPr>
            <p:cNvSpPr>
              <a:spLocks/>
            </p:cNvSpPr>
            <p:nvPr/>
          </p:nvSpPr>
          <p:spPr bwMode="auto">
            <a:xfrm>
              <a:off x="4980" y="1888"/>
              <a:ext cx="509" cy="538"/>
            </a:xfrm>
            <a:custGeom>
              <a:avLst/>
              <a:gdLst>
                <a:gd name="T0" fmla="*/ 0 w 509"/>
                <a:gd name="T1" fmla="*/ 0 h 538"/>
                <a:gd name="T2" fmla="*/ 160 w 509"/>
                <a:gd name="T3" fmla="*/ 0 h 538"/>
                <a:gd name="T4" fmla="*/ 389 w 509"/>
                <a:gd name="T5" fmla="*/ 374 h 538"/>
                <a:gd name="T6" fmla="*/ 391 w 509"/>
                <a:gd name="T7" fmla="*/ 374 h 538"/>
                <a:gd name="T8" fmla="*/ 391 w 509"/>
                <a:gd name="T9" fmla="*/ 0 h 538"/>
                <a:gd name="T10" fmla="*/ 509 w 509"/>
                <a:gd name="T11" fmla="*/ 0 h 538"/>
                <a:gd name="T12" fmla="*/ 509 w 509"/>
                <a:gd name="T13" fmla="*/ 538 h 538"/>
                <a:gd name="T14" fmla="*/ 354 w 509"/>
                <a:gd name="T15" fmla="*/ 538 h 538"/>
                <a:gd name="T16" fmla="*/ 120 w 509"/>
                <a:gd name="T17" fmla="*/ 155 h 538"/>
                <a:gd name="T18" fmla="*/ 118 w 509"/>
                <a:gd name="T19" fmla="*/ 155 h 538"/>
                <a:gd name="T20" fmla="*/ 118 w 509"/>
                <a:gd name="T21" fmla="*/ 538 h 538"/>
                <a:gd name="T22" fmla="*/ 0 w 509"/>
                <a:gd name="T23" fmla="*/ 538 h 538"/>
                <a:gd name="T24" fmla="*/ 0 w 509"/>
                <a:gd name="T25"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9" h="538">
                  <a:moveTo>
                    <a:pt x="0" y="0"/>
                  </a:moveTo>
                  <a:lnTo>
                    <a:pt x="160" y="0"/>
                  </a:lnTo>
                  <a:lnTo>
                    <a:pt x="389" y="374"/>
                  </a:lnTo>
                  <a:lnTo>
                    <a:pt x="391" y="374"/>
                  </a:lnTo>
                  <a:lnTo>
                    <a:pt x="391" y="0"/>
                  </a:lnTo>
                  <a:lnTo>
                    <a:pt x="509" y="0"/>
                  </a:lnTo>
                  <a:lnTo>
                    <a:pt x="509" y="538"/>
                  </a:lnTo>
                  <a:lnTo>
                    <a:pt x="354" y="538"/>
                  </a:lnTo>
                  <a:lnTo>
                    <a:pt x="120" y="155"/>
                  </a:lnTo>
                  <a:lnTo>
                    <a:pt x="118" y="155"/>
                  </a:lnTo>
                  <a:lnTo>
                    <a:pt x="118" y="538"/>
                  </a:lnTo>
                  <a:lnTo>
                    <a:pt x="0" y="53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12">
              <a:extLst>
                <a:ext uri="{FF2B5EF4-FFF2-40B4-BE49-F238E27FC236}">
                  <a16:creationId xmlns:a16="http://schemas.microsoft.com/office/drawing/2014/main" id="{837B2D43-A683-41AF-A149-31D567B81178}"/>
                </a:ext>
              </a:extLst>
            </p:cNvPr>
            <p:cNvSpPr>
              <a:spLocks/>
            </p:cNvSpPr>
            <p:nvPr/>
          </p:nvSpPr>
          <p:spPr bwMode="auto">
            <a:xfrm>
              <a:off x="5608" y="1888"/>
              <a:ext cx="378" cy="538"/>
            </a:xfrm>
            <a:custGeom>
              <a:avLst/>
              <a:gdLst>
                <a:gd name="T0" fmla="*/ 0 w 378"/>
                <a:gd name="T1" fmla="*/ 0 h 538"/>
                <a:gd name="T2" fmla="*/ 0 w 378"/>
                <a:gd name="T3" fmla="*/ 538 h 538"/>
                <a:gd name="T4" fmla="*/ 378 w 378"/>
                <a:gd name="T5" fmla="*/ 538 h 538"/>
                <a:gd name="T6" fmla="*/ 378 w 378"/>
                <a:gd name="T7" fmla="*/ 433 h 538"/>
                <a:gd name="T8" fmla="*/ 118 w 378"/>
                <a:gd name="T9" fmla="*/ 433 h 538"/>
                <a:gd name="T10" fmla="*/ 118 w 378"/>
                <a:gd name="T11" fmla="*/ 319 h 538"/>
                <a:gd name="T12" fmla="*/ 351 w 378"/>
                <a:gd name="T13" fmla="*/ 319 h 538"/>
                <a:gd name="T14" fmla="*/ 351 w 378"/>
                <a:gd name="T15" fmla="*/ 210 h 538"/>
                <a:gd name="T16" fmla="*/ 118 w 378"/>
                <a:gd name="T17" fmla="*/ 210 h 538"/>
                <a:gd name="T18" fmla="*/ 118 w 378"/>
                <a:gd name="T19" fmla="*/ 105 h 538"/>
                <a:gd name="T20" fmla="*/ 364 w 378"/>
                <a:gd name="T21" fmla="*/ 105 h 538"/>
                <a:gd name="T22" fmla="*/ 364 w 378"/>
                <a:gd name="T23" fmla="*/ 0 h 538"/>
                <a:gd name="T24" fmla="*/ 0 w 378"/>
                <a:gd name="T25"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8" h="538">
                  <a:moveTo>
                    <a:pt x="0" y="0"/>
                  </a:moveTo>
                  <a:lnTo>
                    <a:pt x="0" y="538"/>
                  </a:lnTo>
                  <a:lnTo>
                    <a:pt x="378" y="538"/>
                  </a:lnTo>
                  <a:lnTo>
                    <a:pt x="378" y="433"/>
                  </a:lnTo>
                  <a:lnTo>
                    <a:pt x="118" y="433"/>
                  </a:lnTo>
                  <a:lnTo>
                    <a:pt x="118" y="319"/>
                  </a:lnTo>
                  <a:lnTo>
                    <a:pt x="351" y="319"/>
                  </a:lnTo>
                  <a:lnTo>
                    <a:pt x="351" y="210"/>
                  </a:lnTo>
                  <a:lnTo>
                    <a:pt x="118" y="210"/>
                  </a:lnTo>
                  <a:lnTo>
                    <a:pt x="118" y="105"/>
                  </a:lnTo>
                  <a:lnTo>
                    <a:pt x="364" y="105"/>
                  </a:lnTo>
                  <a:lnTo>
                    <a:pt x="364"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13">
              <a:extLst>
                <a:ext uri="{FF2B5EF4-FFF2-40B4-BE49-F238E27FC236}">
                  <a16:creationId xmlns:a16="http://schemas.microsoft.com/office/drawing/2014/main" id="{36D3F44B-8A34-4F65-B4C2-45A83E2610D8}"/>
                </a:ext>
              </a:extLst>
            </p:cNvPr>
            <p:cNvSpPr>
              <a:spLocks/>
            </p:cNvSpPr>
            <p:nvPr/>
          </p:nvSpPr>
          <p:spPr bwMode="auto">
            <a:xfrm>
              <a:off x="6052" y="1888"/>
              <a:ext cx="424" cy="538"/>
            </a:xfrm>
            <a:custGeom>
              <a:avLst/>
              <a:gdLst>
                <a:gd name="T0" fmla="*/ 0 w 424"/>
                <a:gd name="T1" fmla="*/ 0 h 538"/>
                <a:gd name="T2" fmla="*/ 0 w 424"/>
                <a:gd name="T3" fmla="*/ 105 h 538"/>
                <a:gd name="T4" fmla="*/ 152 w 424"/>
                <a:gd name="T5" fmla="*/ 105 h 538"/>
                <a:gd name="T6" fmla="*/ 152 w 424"/>
                <a:gd name="T7" fmla="*/ 538 h 538"/>
                <a:gd name="T8" fmla="*/ 271 w 424"/>
                <a:gd name="T9" fmla="*/ 538 h 538"/>
                <a:gd name="T10" fmla="*/ 271 w 424"/>
                <a:gd name="T11" fmla="*/ 105 h 538"/>
                <a:gd name="T12" fmla="*/ 424 w 424"/>
                <a:gd name="T13" fmla="*/ 105 h 538"/>
                <a:gd name="T14" fmla="*/ 424 w 424"/>
                <a:gd name="T15" fmla="*/ 0 h 538"/>
                <a:gd name="T16" fmla="*/ 0 w 424"/>
                <a:gd name="T17"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4" h="538">
                  <a:moveTo>
                    <a:pt x="0" y="0"/>
                  </a:moveTo>
                  <a:lnTo>
                    <a:pt x="0" y="105"/>
                  </a:lnTo>
                  <a:lnTo>
                    <a:pt x="152" y="105"/>
                  </a:lnTo>
                  <a:lnTo>
                    <a:pt x="152" y="538"/>
                  </a:lnTo>
                  <a:lnTo>
                    <a:pt x="271" y="538"/>
                  </a:lnTo>
                  <a:lnTo>
                    <a:pt x="271" y="105"/>
                  </a:lnTo>
                  <a:lnTo>
                    <a:pt x="424" y="105"/>
                  </a:lnTo>
                  <a:lnTo>
                    <a:pt x="424"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Rectangle 14">
              <a:extLst>
                <a:ext uri="{FF2B5EF4-FFF2-40B4-BE49-F238E27FC236}">
                  <a16:creationId xmlns:a16="http://schemas.microsoft.com/office/drawing/2014/main" id="{5813B57B-8CF6-4EEC-9651-47D6CF8CC7CA}"/>
                </a:ext>
              </a:extLst>
            </p:cNvPr>
            <p:cNvSpPr>
              <a:spLocks noChangeArrowheads="1"/>
            </p:cNvSpPr>
            <p:nvPr/>
          </p:nvSpPr>
          <p:spPr bwMode="auto">
            <a:xfrm>
              <a:off x="6554" y="1888"/>
              <a:ext cx="119" cy="5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5">
              <a:extLst>
                <a:ext uri="{FF2B5EF4-FFF2-40B4-BE49-F238E27FC236}">
                  <a16:creationId xmlns:a16="http://schemas.microsoft.com/office/drawing/2014/main" id="{34A7EF8C-46FC-41E4-90DA-42120BB10F65}"/>
                </a:ext>
              </a:extLst>
            </p:cNvPr>
            <p:cNvSpPr>
              <a:spLocks noEditPoints="1"/>
            </p:cNvSpPr>
            <p:nvPr/>
          </p:nvSpPr>
          <p:spPr bwMode="auto">
            <a:xfrm>
              <a:off x="3658" y="1888"/>
              <a:ext cx="383" cy="538"/>
            </a:xfrm>
            <a:custGeom>
              <a:avLst/>
              <a:gdLst>
                <a:gd name="T0" fmla="*/ 87 w 613"/>
                <a:gd name="T1" fmla="*/ 376 h 859"/>
                <a:gd name="T2" fmla="*/ 278 w 613"/>
                <a:gd name="T3" fmla="*/ 376 h 859"/>
                <a:gd name="T4" fmla="*/ 462 w 613"/>
                <a:gd name="T5" fmla="*/ 228 h 859"/>
                <a:gd name="T6" fmla="*/ 278 w 613"/>
                <a:gd name="T7" fmla="*/ 82 h 859"/>
                <a:gd name="T8" fmla="*/ 87 w 613"/>
                <a:gd name="T9" fmla="*/ 82 h 859"/>
                <a:gd name="T10" fmla="*/ 87 w 613"/>
                <a:gd name="T11" fmla="*/ 376 h 859"/>
                <a:gd name="T12" fmla="*/ 497 w 613"/>
                <a:gd name="T13" fmla="*/ 859 h 859"/>
                <a:gd name="T14" fmla="*/ 87 w 613"/>
                <a:gd name="T15" fmla="*/ 428 h 859"/>
                <a:gd name="T16" fmla="*/ 87 w 613"/>
                <a:gd name="T17" fmla="*/ 859 h 859"/>
                <a:gd name="T18" fmla="*/ 0 w 613"/>
                <a:gd name="T19" fmla="*/ 859 h 859"/>
                <a:gd name="T20" fmla="*/ 0 w 613"/>
                <a:gd name="T21" fmla="*/ 0 h 859"/>
                <a:gd name="T22" fmla="*/ 270 w 613"/>
                <a:gd name="T23" fmla="*/ 0 h 859"/>
                <a:gd name="T24" fmla="*/ 555 w 613"/>
                <a:gd name="T25" fmla="*/ 228 h 859"/>
                <a:gd name="T26" fmla="*/ 270 w 613"/>
                <a:gd name="T27" fmla="*/ 453 h 859"/>
                <a:gd name="T28" fmla="*/ 222 w 613"/>
                <a:gd name="T29" fmla="*/ 453 h 859"/>
                <a:gd name="T30" fmla="*/ 613 w 613"/>
                <a:gd name="T31" fmla="*/ 859 h 859"/>
                <a:gd name="T32" fmla="*/ 497 w 613"/>
                <a:gd name="T33" fmla="*/ 859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13" h="859">
                  <a:moveTo>
                    <a:pt x="87" y="376"/>
                  </a:moveTo>
                  <a:cubicBezTo>
                    <a:pt x="278" y="376"/>
                    <a:pt x="278" y="376"/>
                    <a:pt x="278" y="376"/>
                  </a:cubicBezTo>
                  <a:cubicBezTo>
                    <a:pt x="396" y="376"/>
                    <a:pt x="462" y="328"/>
                    <a:pt x="462" y="228"/>
                  </a:cubicBezTo>
                  <a:cubicBezTo>
                    <a:pt x="462" y="129"/>
                    <a:pt x="396" y="82"/>
                    <a:pt x="278" y="82"/>
                  </a:cubicBezTo>
                  <a:cubicBezTo>
                    <a:pt x="87" y="82"/>
                    <a:pt x="87" y="82"/>
                    <a:pt x="87" y="82"/>
                  </a:cubicBezTo>
                  <a:lnTo>
                    <a:pt x="87" y="376"/>
                  </a:lnTo>
                  <a:close/>
                  <a:moveTo>
                    <a:pt x="497" y="859"/>
                  </a:moveTo>
                  <a:cubicBezTo>
                    <a:pt x="87" y="428"/>
                    <a:pt x="87" y="428"/>
                    <a:pt x="87" y="428"/>
                  </a:cubicBezTo>
                  <a:cubicBezTo>
                    <a:pt x="87" y="859"/>
                    <a:pt x="87" y="859"/>
                    <a:pt x="87" y="859"/>
                  </a:cubicBezTo>
                  <a:cubicBezTo>
                    <a:pt x="0" y="859"/>
                    <a:pt x="0" y="859"/>
                    <a:pt x="0" y="859"/>
                  </a:cubicBezTo>
                  <a:cubicBezTo>
                    <a:pt x="0" y="0"/>
                    <a:pt x="0" y="0"/>
                    <a:pt x="0" y="0"/>
                  </a:cubicBezTo>
                  <a:cubicBezTo>
                    <a:pt x="270" y="0"/>
                    <a:pt x="270" y="0"/>
                    <a:pt x="270" y="0"/>
                  </a:cubicBezTo>
                  <a:cubicBezTo>
                    <a:pt x="457" y="0"/>
                    <a:pt x="555" y="91"/>
                    <a:pt x="555" y="228"/>
                  </a:cubicBezTo>
                  <a:cubicBezTo>
                    <a:pt x="555" y="367"/>
                    <a:pt x="457" y="453"/>
                    <a:pt x="270" y="453"/>
                  </a:cubicBezTo>
                  <a:cubicBezTo>
                    <a:pt x="222" y="453"/>
                    <a:pt x="222" y="453"/>
                    <a:pt x="222" y="453"/>
                  </a:cubicBezTo>
                  <a:cubicBezTo>
                    <a:pt x="613" y="859"/>
                    <a:pt x="613" y="859"/>
                    <a:pt x="613" y="859"/>
                  </a:cubicBezTo>
                  <a:lnTo>
                    <a:pt x="497" y="8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6">
              <a:extLst>
                <a:ext uri="{FF2B5EF4-FFF2-40B4-BE49-F238E27FC236}">
                  <a16:creationId xmlns:a16="http://schemas.microsoft.com/office/drawing/2014/main" id="{C43A1BEA-9B0C-4B2A-8B81-8019FB05F5EC}"/>
                </a:ext>
              </a:extLst>
            </p:cNvPr>
            <p:cNvSpPr>
              <a:spLocks/>
            </p:cNvSpPr>
            <p:nvPr/>
          </p:nvSpPr>
          <p:spPr bwMode="auto">
            <a:xfrm>
              <a:off x="6752" y="1881"/>
              <a:ext cx="476" cy="558"/>
            </a:xfrm>
            <a:custGeom>
              <a:avLst/>
              <a:gdLst>
                <a:gd name="T0" fmla="*/ 0 w 761"/>
                <a:gd name="T1" fmla="*/ 447 h 893"/>
                <a:gd name="T2" fmla="*/ 417 w 761"/>
                <a:gd name="T3" fmla="*/ 0 h 893"/>
                <a:gd name="T4" fmla="*/ 747 w 761"/>
                <a:gd name="T5" fmla="*/ 181 h 893"/>
                <a:gd name="T6" fmla="*/ 614 w 761"/>
                <a:gd name="T7" fmla="*/ 285 h 893"/>
                <a:gd name="T8" fmla="*/ 421 w 761"/>
                <a:gd name="T9" fmla="*/ 178 h 893"/>
                <a:gd name="T10" fmla="*/ 197 w 761"/>
                <a:gd name="T11" fmla="*/ 447 h 893"/>
                <a:gd name="T12" fmla="*/ 427 w 761"/>
                <a:gd name="T13" fmla="*/ 715 h 893"/>
                <a:gd name="T14" fmla="*/ 623 w 761"/>
                <a:gd name="T15" fmla="*/ 608 h 893"/>
                <a:gd name="T16" fmla="*/ 761 w 761"/>
                <a:gd name="T17" fmla="*/ 715 h 893"/>
                <a:gd name="T18" fmla="*/ 423 w 761"/>
                <a:gd name="T19" fmla="*/ 893 h 893"/>
                <a:gd name="T20" fmla="*/ 0 w 761"/>
                <a:gd name="T21" fmla="*/ 447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1" h="893">
                  <a:moveTo>
                    <a:pt x="0" y="447"/>
                  </a:moveTo>
                  <a:cubicBezTo>
                    <a:pt x="0" y="177"/>
                    <a:pt x="160" y="0"/>
                    <a:pt x="417" y="0"/>
                  </a:cubicBezTo>
                  <a:cubicBezTo>
                    <a:pt x="582" y="0"/>
                    <a:pt x="698" y="79"/>
                    <a:pt x="747" y="181"/>
                  </a:cubicBezTo>
                  <a:cubicBezTo>
                    <a:pt x="614" y="285"/>
                    <a:pt x="614" y="285"/>
                    <a:pt x="614" y="285"/>
                  </a:cubicBezTo>
                  <a:cubicBezTo>
                    <a:pt x="570" y="211"/>
                    <a:pt x="493" y="178"/>
                    <a:pt x="421" y="178"/>
                  </a:cubicBezTo>
                  <a:cubicBezTo>
                    <a:pt x="295" y="178"/>
                    <a:pt x="197" y="269"/>
                    <a:pt x="197" y="447"/>
                  </a:cubicBezTo>
                  <a:cubicBezTo>
                    <a:pt x="197" y="614"/>
                    <a:pt x="300" y="715"/>
                    <a:pt x="427" y="715"/>
                  </a:cubicBezTo>
                  <a:cubicBezTo>
                    <a:pt x="500" y="715"/>
                    <a:pt x="579" y="682"/>
                    <a:pt x="623" y="608"/>
                  </a:cubicBezTo>
                  <a:cubicBezTo>
                    <a:pt x="761" y="715"/>
                    <a:pt x="761" y="715"/>
                    <a:pt x="761" y="715"/>
                  </a:cubicBezTo>
                  <a:cubicBezTo>
                    <a:pt x="699" y="819"/>
                    <a:pt x="590" y="893"/>
                    <a:pt x="423" y="893"/>
                  </a:cubicBezTo>
                  <a:cubicBezTo>
                    <a:pt x="163" y="893"/>
                    <a:pt x="0" y="716"/>
                    <a:pt x="0" y="44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7">
              <a:extLst>
                <a:ext uri="{FF2B5EF4-FFF2-40B4-BE49-F238E27FC236}">
                  <a16:creationId xmlns:a16="http://schemas.microsoft.com/office/drawing/2014/main" id="{99870025-A3B4-48B1-B961-5C894CD455FF}"/>
                </a:ext>
              </a:extLst>
            </p:cNvPr>
            <p:cNvSpPr>
              <a:spLocks/>
            </p:cNvSpPr>
            <p:nvPr/>
          </p:nvSpPr>
          <p:spPr bwMode="auto">
            <a:xfrm>
              <a:off x="7271" y="1874"/>
              <a:ext cx="409" cy="565"/>
            </a:xfrm>
            <a:custGeom>
              <a:avLst/>
              <a:gdLst>
                <a:gd name="T0" fmla="*/ 404 w 654"/>
                <a:gd name="T1" fmla="*/ 376 h 903"/>
                <a:gd name="T2" fmla="*/ 287 w 654"/>
                <a:gd name="T3" fmla="*/ 354 h 903"/>
                <a:gd name="T4" fmla="*/ 202 w 654"/>
                <a:gd name="T5" fmla="*/ 264 h 903"/>
                <a:gd name="T6" fmla="*/ 321 w 654"/>
                <a:gd name="T7" fmla="*/ 171 h 903"/>
                <a:gd name="T8" fmla="*/ 478 w 654"/>
                <a:gd name="T9" fmla="*/ 270 h 903"/>
                <a:gd name="T10" fmla="*/ 617 w 654"/>
                <a:gd name="T11" fmla="*/ 163 h 903"/>
                <a:gd name="T12" fmla="*/ 322 w 654"/>
                <a:gd name="T13" fmla="*/ 0 h 903"/>
                <a:gd name="T14" fmla="*/ 12 w 654"/>
                <a:gd name="T15" fmla="*/ 279 h 903"/>
                <a:gd name="T16" fmla="*/ 247 w 654"/>
                <a:gd name="T17" fmla="*/ 523 h 903"/>
                <a:gd name="T18" fmla="*/ 366 w 654"/>
                <a:gd name="T19" fmla="*/ 546 h 903"/>
                <a:gd name="T20" fmla="*/ 459 w 654"/>
                <a:gd name="T21" fmla="*/ 642 h 903"/>
                <a:gd name="T22" fmla="*/ 336 w 654"/>
                <a:gd name="T23" fmla="*/ 734 h 903"/>
                <a:gd name="T24" fmla="*/ 143 w 654"/>
                <a:gd name="T25" fmla="*/ 594 h 903"/>
                <a:gd name="T26" fmla="*/ 0 w 654"/>
                <a:gd name="T27" fmla="*/ 704 h 903"/>
                <a:gd name="T28" fmla="*/ 334 w 654"/>
                <a:gd name="T29" fmla="*/ 903 h 903"/>
                <a:gd name="T30" fmla="*/ 654 w 654"/>
                <a:gd name="T31" fmla="*/ 629 h 903"/>
                <a:gd name="T32" fmla="*/ 404 w 654"/>
                <a:gd name="T33" fmla="*/ 376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4" h="903">
                  <a:moveTo>
                    <a:pt x="404" y="376"/>
                  </a:moveTo>
                  <a:cubicBezTo>
                    <a:pt x="287" y="354"/>
                    <a:pt x="287" y="354"/>
                    <a:pt x="287" y="354"/>
                  </a:cubicBezTo>
                  <a:cubicBezTo>
                    <a:pt x="228" y="344"/>
                    <a:pt x="202" y="305"/>
                    <a:pt x="202" y="264"/>
                  </a:cubicBezTo>
                  <a:cubicBezTo>
                    <a:pt x="202" y="216"/>
                    <a:pt x="249" y="171"/>
                    <a:pt x="321" y="171"/>
                  </a:cubicBezTo>
                  <a:cubicBezTo>
                    <a:pt x="403" y="171"/>
                    <a:pt x="451" y="222"/>
                    <a:pt x="478" y="270"/>
                  </a:cubicBezTo>
                  <a:cubicBezTo>
                    <a:pt x="617" y="163"/>
                    <a:pt x="617" y="163"/>
                    <a:pt x="617" y="163"/>
                  </a:cubicBezTo>
                  <a:cubicBezTo>
                    <a:pt x="578" y="79"/>
                    <a:pt x="491" y="0"/>
                    <a:pt x="322" y="0"/>
                  </a:cubicBezTo>
                  <a:cubicBezTo>
                    <a:pt x="156" y="0"/>
                    <a:pt x="12" y="115"/>
                    <a:pt x="12" y="279"/>
                  </a:cubicBezTo>
                  <a:cubicBezTo>
                    <a:pt x="12" y="407"/>
                    <a:pt x="101" y="496"/>
                    <a:pt x="247" y="523"/>
                  </a:cubicBezTo>
                  <a:cubicBezTo>
                    <a:pt x="366" y="546"/>
                    <a:pt x="366" y="546"/>
                    <a:pt x="366" y="546"/>
                  </a:cubicBezTo>
                  <a:cubicBezTo>
                    <a:pt x="423" y="557"/>
                    <a:pt x="459" y="597"/>
                    <a:pt x="459" y="642"/>
                  </a:cubicBezTo>
                  <a:cubicBezTo>
                    <a:pt x="459" y="695"/>
                    <a:pt x="413" y="734"/>
                    <a:pt x="336" y="734"/>
                  </a:cubicBezTo>
                  <a:cubicBezTo>
                    <a:pt x="219" y="734"/>
                    <a:pt x="161" y="649"/>
                    <a:pt x="143" y="594"/>
                  </a:cubicBezTo>
                  <a:cubicBezTo>
                    <a:pt x="0" y="704"/>
                    <a:pt x="0" y="704"/>
                    <a:pt x="0" y="704"/>
                  </a:cubicBezTo>
                  <a:cubicBezTo>
                    <a:pt x="41" y="806"/>
                    <a:pt x="144" y="903"/>
                    <a:pt x="334" y="903"/>
                  </a:cubicBezTo>
                  <a:cubicBezTo>
                    <a:pt x="541" y="903"/>
                    <a:pt x="654" y="765"/>
                    <a:pt x="654" y="629"/>
                  </a:cubicBezTo>
                  <a:cubicBezTo>
                    <a:pt x="654" y="506"/>
                    <a:pt x="569" y="407"/>
                    <a:pt x="404" y="37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8">
              <a:extLst>
                <a:ext uri="{FF2B5EF4-FFF2-40B4-BE49-F238E27FC236}">
                  <a16:creationId xmlns:a16="http://schemas.microsoft.com/office/drawing/2014/main" id="{224AEEDD-2A83-4415-9986-24467BC3A2AE}"/>
                </a:ext>
              </a:extLst>
            </p:cNvPr>
            <p:cNvSpPr>
              <a:spLocks/>
            </p:cNvSpPr>
            <p:nvPr/>
          </p:nvSpPr>
          <p:spPr bwMode="auto">
            <a:xfrm>
              <a:off x="0" y="1622"/>
              <a:ext cx="857" cy="1076"/>
            </a:xfrm>
            <a:custGeom>
              <a:avLst/>
              <a:gdLst>
                <a:gd name="T0" fmla="*/ 859 w 1370"/>
                <a:gd name="T1" fmla="*/ 1020 h 1719"/>
                <a:gd name="T2" fmla="*/ 859 w 1370"/>
                <a:gd name="T3" fmla="*/ 1336 h 1719"/>
                <a:gd name="T4" fmla="*/ 383 w 1370"/>
                <a:gd name="T5" fmla="*/ 860 h 1719"/>
                <a:gd name="T6" fmla="*/ 859 w 1370"/>
                <a:gd name="T7" fmla="*/ 384 h 1719"/>
                <a:gd name="T8" fmla="*/ 859 w 1370"/>
                <a:gd name="T9" fmla="*/ 714 h 1719"/>
                <a:gd name="T10" fmla="*/ 1370 w 1370"/>
                <a:gd name="T11" fmla="*/ 169 h 1719"/>
                <a:gd name="T12" fmla="*/ 859 w 1370"/>
                <a:gd name="T13" fmla="*/ 0 h 1719"/>
                <a:gd name="T14" fmla="*/ 0 w 1370"/>
                <a:gd name="T15" fmla="*/ 860 h 1719"/>
                <a:gd name="T16" fmla="*/ 859 w 1370"/>
                <a:gd name="T17" fmla="*/ 1719 h 1719"/>
                <a:gd name="T18" fmla="*/ 1335 w 1370"/>
                <a:gd name="T19" fmla="*/ 1575 h 1719"/>
                <a:gd name="T20" fmla="*/ 859 w 1370"/>
                <a:gd name="T21" fmla="*/ 1020 h 1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70" h="1719">
                  <a:moveTo>
                    <a:pt x="859" y="1020"/>
                  </a:moveTo>
                  <a:cubicBezTo>
                    <a:pt x="859" y="1336"/>
                    <a:pt x="859" y="1336"/>
                    <a:pt x="859" y="1336"/>
                  </a:cubicBezTo>
                  <a:cubicBezTo>
                    <a:pt x="596" y="1336"/>
                    <a:pt x="383" y="1122"/>
                    <a:pt x="383" y="860"/>
                  </a:cubicBezTo>
                  <a:cubicBezTo>
                    <a:pt x="383" y="596"/>
                    <a:pt x="596" y="384"/>
                    <a:pt x="859" y="384"/>
                  </a:cubicBezTo>
                  <a:cubicBezTo>
                    <a:pt x="859" y="714"/>
                    <a:pt x="859" y="714"/>
                    <a:pt x="859" y="714"/>
                  </a:cubicBezTo>
                  <a:cubicBezTo>
                    <a:pt x="1370" y="169"/>
                    <a:pt x="1370" y="169"/>
                    <a:pt x="1370" y="169"/>
                  </a:cubicBezTo>
                  <a:cubicBezTo>
                    <a:pt x="1227" y="63"/>
                    <a:pt x="1051" y="0"/>
                    <a:pt x="859" y="0"/>
                  </a:cubicBezTo>
                  <a:cubicBezTo>
                    <a:pt x="385" y="0"/>
                    <a:pt x="0" y="385"/>
                    <a:pt x="0" y="860"/>
                  </a:cubicBezTo>
                  <a:cubicBezTo>
                    <a:pt x="0" y="1334"/>
                    <a:pt x="385" y="1719"/>
                    <a:pt x="859" y="1719"/>
                  </a:cubicBezTo>
                  <a:cubicBezTo>
                    <a:pt x="1035" y="1719"/>
                    <a:pt x="1199" y="1666"/>
                    <a:pt x="1335" y="1575"/>
                  </a:cubicBezTo>
                  <a:lnTo>
                    <a:pt x="859" y="10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9">
              <a:extLst>
                <a:ext uri="{FF2B5EF4-FFF2-40B4-BE49-F238E27FC236}">
                  <a16:creationId xmlns:a16="http://schemas.microsoft.com/office/drawing/2014/main" id="{39EC7CAA-F510-4C69-B067-D6E68387582E}"/>
                </a:ext>
              </a:extLst>
            </p:cNvPr>
            <p:cNvSpPr>
              <a:spLocks/>
            </p:cNvSpPr>
            <p:nvPr/>
          </p:nvSpPr>
          <p:spPr bwMode="auto">
            <a:xfrm>
              <a:off x="583" y="1854"/>
              <a:ext cx="491" cy="612"/>
            </a:xfrm>
            <a:custGeom>
              <a:avLst/>
              <a:gdLst>
                <a:gd name="T0" fmla="*/ 634 w 786"/>
                <a:gd name="T1" fmla="*/ 0 h 979"/>
                <a:gd name="T2" fmla="*/ 0 w 786"/>
                <a:gd name="T3" fmla="*/ 490 h 979"/>
                <a:gd name="T4" fmla="*/ 634 w 786"/>
                <a:gd name="T5" fmla="*/ 979 h 979"/>
                <a:gd name="T6" fmla="*/ 786 w 786"/>
                <a:gd name="T7" fmla="*/ 490 h 979"/>
                <a:gd name="T8" fmla="*/ 634 w 786"/>
                <a:gd name="T9" fmla="*/ 0 h 979"/>
              </a:gdLst>
              <a:ahLst/>
              <a:cxnLst>
                <a:cxn ang="0">
                  <a:pos x="T0" y="T1"/>
                </a:cxn>
                <a:cxn ang="0">
                  <a:pos x="T2" y="T3"/>
                </a:cxn>
                <a:cxn ang="0">
                  <a:pos x="T4" y="T5"/>
                </a:cxn>
                <a:cxn ang="0">
                  <a:pos x="T6" y="T7"/>
                </a:cxn>
                <a:cxn ang="0">
                  <a:pos x="T8" y="T9"/>
                </a:cxn>
              </a:cxnLst>
              <a:rect l="0" t="0" r="r" b="b"/>
              <a:pathLst>
                <a:path w="786" h="979">
                  <a:moveTo>
                    <a:pt x="634" y="0"/>
                  </a:moveTo>
                  <a:cubicBezTo>
                    <a:pt x="0" y="490"/>
                    <a:pt x="0" y="490"/>
                    <a:pt x="0" y="490"/>
                  </a:cubicBezTo>
                  <a:cubicBezTo>
                    <a:pt x="634" y="979"/>
                    <a:pt x="634" y="979"/>
                    <a:pt x="634" y="979"/>
                  </a:cubicBezTo>
                  <a:cubicBezTo>
                    <a:pt x="730" y="840"/>
                    <a:pt x="786" y="671"/>
                    <a:pt x="786" y="490"/>
                  </a:cubicBezTo>
                  <a:cubicBezTo>
                    <a:pt x="786" y="308"/>
                    <a:pt x="730" y="139"/>
                    <a:pt x="6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953642115"/>
      </p:ext>
    </p:extLst>
  </p:cSld>
  <p:clrMapOvr>
    <a:masterClrMapping/>
  </p:clrMapOvr>
  <p:transition>
    <p:fade/>
  </p:transition>
  <p:extLst>
    <p:ext uri="{DCECCB84-F9BA-43D5-87BE-67443E8EF086}">
      <p15:sldGuideLst xmlns:p15="http://schemas.microsoft.com/office/powerpoint/2012/main">
        <p15:guide id="1" pos="511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10878" y="1521184"/>
            <a:ext cx="5292112" cy="44947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486785" y="1521184"/>
            <a:ext cx="5292112" cy="44947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p>
            <a:r>
              <a:rPr lang="en-US"/>
              <a:t>Document Name</a:t>
            </a:r>
            <a:endParaRPr lang="en-US" dirty="0"/>
          </a:p>
        </p:txBody>
      </p:sp>
      <p:sp>
        <p:nvSpPr>
          <p:cNvPr id="7" name="Slide Number Placeholder 6"/>
          <p:cNvSpPr>
            <a:spLocks noGrp="1"/>
          </p:cNvSpPr>
          <p:nvPr>
            <p:ph type="sldNum" sz="quarter" idx="12"/>
          </p:nvPr>
        </p:nvSpPr>
        <p:spPr/>
        <p:txBody>
          <a:bodyPr/>
          <a:lstStyle/>
          <a:p>
            <a:fld id="{32B354EE-31EA-4FC2-9496-7B6202183237}" type="slidenum">
              <a:rPr lang="en-US" smtClean="0"/>
              <a:t>‹#›</a:t>
            </a:fld>
            <a:endParaRPr lang="en-US" dirty="0"/>
          </a:p>
        </p:txBody>
      </p:sp>
      <p:sp>
        <p:nvSpPr>
          <p:cNvPr id="8" name="Title 7">
            <a:extLst>
              <a:ext uri="{FF2B5EF4-FFF2-40B4-BE49-F238E27FC236}">
                <a16:creationId xmlns:a16="http://schemas.microsoft.com/office/drawing/2014/main" id="{2BEC790B-BB37-46AF-9CC2-582F081B6401}"/>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098735815"/>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ext and 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623EE699-16B4-4E6C-852E-7A2C3D133E42}"/>
              </a:ext>
            </a:extLst>
          </p:cNvPr>
          <p:cNvSpPr>
            <a:spLocks noGrp="1"/>
          </p:cNvSpPr>
          <p:nvPr>
            <p:ph type="pic" sz="quarter" idx="13"/>
          </p:nvPr>
        </p:nvSpPr>
        <p:spPr>
          <a:xfrm>
            <a:off x="6096906" y="4"/>
            <a:ext cx="6095094" cy="6858000"/>
          </a:xfrm>
          <a:solidFill>
            <a:schemeClr val="bg1">
              <a:lumMod val="85000"/>
            </a:schemeClr>
          </a:solidFill>
        </p:spPr>
        <p:txBody>
          <a:bodyPr/>
          <a:lstStyle/>
          <a:p>
            <a:r>
              <a:rPr lang="en-US"/>
              <a:t>Click icon to add picture</a:t>
            </a:r>
            <a:endParaRPr lang="en-GB"/>
          </a:p>
        </p:txBody>
      </p:sp>
      <p:sp>
        <p:nvSpPr>
          <p:cNvPr id="2" name="Title 1"/>
          <p:cNvSpPr>
            <a:spLocks noGrp="1"/>
          </p:cNvSpPr>
          <p:nvPr>
            <p:ph type="title"/>
          </p:nvPr>
        </p:nvSpPr>
        <p:spPr>
          <a:xfrm>
            <a:off x="410878" y="411083"/>
            <a:ext cx="5292112" cy="776038"/>
          </a:xfrm>
        </p:spPr>
        <p:txBody>
          <a:bodyPr/>
          <a:lstStyle/>
          <a:p>
            <a:r>
              <a:rPr lang="en-US"/>
              <a:t>Click to edit Master title style</a:t>
            </a:r>
            <a:endParaRPr lang="en-US" dirty="0"/>
          </a:p>
        </p:txBody>
      </p:sp>
      <p:sp>
        <p:nvSpPr>
          <p:cNvPr id="3" name="Content Placeholder 2"/>
          <p:cNvSpPr>
            <a:spLocks noGrp="1"/>
          </p:cNvSpPr>
          <p:nvPr>
            <p:ph sz="half" idx="1"/>
          </p:nvPr>
        </p:nvSpPr>
        <p:spPr>
          <a:xfrm>
            <a:off x="410878" y="1521184"/>
            <a:ext cx="5292112" cy="44947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p>
            <a:r>
              <a:rPr lang="en-US"/>
              <a:t>Document Name</a:t>
            </a:r>
            <a:endParaRPr lang="en-US" dirty="0"/>
          </a:p>
        </p:txBody>
      </p:sp>
      <p:sp>
        <p:nvSpPr>
          <p:cNvPr id="7" name="Slide Number Placeholder 6"/>
          <p:cNvSpPr>
            <a:spLocks noGrp="1"/>
          </p:cNvSpPr>
          <p:nvPr>
            <p:ph type="sldNum" sz="quarter" idx="12"/>
          </p:nvPr>
        </p:nvSpPr>
        <p:spPr/>
        <p:txBody>
          <a:bodyPr/>
          <a:lstStyle/>
          <a:p>
            <a:fld id="{32B354EE-31EA-4FC2-9496-7B6202183237}" type="slidenum">
              <a:rPr lang="en-US" smtClean="0"/>
              <a:t>‹#›</a:t>
            </a:fld>
            <a:endParaRPr lang="en-US" dirty="0"/>
          </a:p>
        </p:txBody>
      </p:sp>
    </p:spTree>
    <p:extLst>
      <p:ext uri="{BB962C8B-B14F-4D97-AF65-F5344CB8AC3E}">
        <p14:creationId xmlns:p14="http://schemas.microsoft.com/office/powerpoint/2010/main" val="233724534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ext, Key Info and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623EE699-16B4-4E6C-852E-7A2C3D133E42}"/>
              </a:ext>
            </a:extLst>
          </p:cNvPr>
          <p:cNvSpPr>
            <a:spLocks noGrp="1"/>
          </p:cNvSpPr>
          <p:nvPr>
            <p:ph type="pic" sz="quarter" idx="13"/>
          </p:nvPr>
        </p:nvSpPr>
        <p:spPr>
          <a:xfrm>
            <a:off x="6096906" y="3429905"/>
            <a:ext cx="6095094" cy="3428095"/>
          </a:xfrm>
          <a:solidFill>
            <a:schemeClr val="bg1">
              <a:lumMod val="85000"/>
            </a:schemeClr>
          </a:solidFill>
        </p:spPr>
        <p:txBody>
          <a:bodyPr/>
          <a:lstStyle/>
          <a:p>
            <a:r>
              <a:rPr lang="en-US"/>
              <a:t>Click icon to add picture</a:t>
            </a:r>
            <a:endParaRPr lang="en-GB"/>
          </a:p>
        </p:txBody>
      </p:sp>
      <p:sp>
        <p:nvSpPr>
          <p:cNvPr id="3" name="Content Placeholder 2"/>
          <p:cNvSpPr>
            <a:spLocks noGrp="1"/>
          </p:cNvSpPr>
          <p:nvPr>
            <p:ph sz="half" idx="1"/>
          </p:nvPr>
        </p:nvSpPr>
        <p:spPr>
          <a:xfrm>
            <a:off x="410878" y="1521184"/>
            <a:ext cx="5292112" cy="4494733"/>
          </a:xfrm>
        </p:spPr>
        <p:txBody>
          <a:bodyPr/>
          <a:lstStyle>
            <a:lvl1pPr>
              <a:defRPr sz="1597"/>
            </a:lvl1pPr>
            <a:lvl2pPr>
              <a:defRPr sz="1597"/>
            </a:lvl2pPr>
            <a:lvl3pPr>
              <a:defRPr sz="1597"/>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endParaRPr lang="en-BE"/>
          </a:p>
        </p:txBody>
      </p:sp>
      <p:sp>
        <p:nvSpPr>
          <p:cNvPr id="7" name="Slide Number Placeholder 6"/>
          <p:cNvSpPr>
            <a:spLocks noGrp="1"/>
          </p:cNvSpPr>
          <p:nvPr>
            <p:ph type="sldNum" sz="quarter" idx="12"/>
          </p:nvPr>
        </p:nvSpPr>
        <p:spPr/>
        <p:txBody>
          <a:bodyPr/>
          <a:lstStyle/>
          <a:p>
            <a:fld id="{9F5F79E4-174E-4D15-B5B9-2923F86E0116}" type="slidenum">
              <a:rPr lang="en-BE" smtClean="0"/>
              <a:t>‹#›</a:t>
            </a:fld>
            <a:endParaRPr lang="en-BE"/>
          </a:p>
        </p:txBody>
      </p:sp>
      <p:sp>
        <p:nvSpPr>
          <p:cNvPr id="5" name="Text Placeholder 4">
            <a:extLst>
              <a:ext uri="{FF2B5EF4-FFF2-40B4-BE49-F238E27FC236}">
                <a16:creationId xmlns:a16="http://schemas.microsoft.com/office/drawing/2014/main" id="{F57219E9-6258-4F28-A57E-2D2A7A1479EF}"/>
              </a:ext>
            </a:extLst>
          </p:cNvPr>
          <p:cNvSpPr>
            <a:spLocks noGrp="1"/>
          </p:cNvSpPr>
          <p:nvPr>
            <p:ph type="body" sz="quarter" idx="14"/>
          </p:nvPr>
        </p:nvSpPr>
        <p:spPr>
          <a:xfrm>
            <a:off x="6096906" y="4"/>
            <a:ext cx="6095094" cy="3429905"/>
          </a:xfrm>
          <a:solidFill>
            <a:schemeClr val="accent3"/>
          </a:solidFill>
        </p:spPr>
        <p:txBody>
          <a:bodyPr lIns="360000" tIns="360000" rIns="360000" bIns="360000" anchor="ctr"/>
          <a:lstStyle>
            <a:lvl1pPr algn="ctr">
              <a:defRPr sz="3400" b="0">
                <a:solidFill>
                  <a:schemeClr val="tx2"/>
                </a:solidFill>
                <a:latin typeface="+mj-lt"/>
              </a:defRPr>
            </a:lvl1pPr>
          </a:lstStyle>
          <a:p>
            <a:pPr lvl="0"/>
            <a:r>
              <a:rPr lang="en-US"/>
              <a:t>Click to edit Master text styles</a:t>
            </a:r>
          </a:p>
        </p:txBody>
      </p:sp>
      <p:sp>
        <p:nvSpPr>
          <p:cNvPr id="4" name="Title 3">
            <a:extLst>
              <a:ext uri="{FF2B5EF4-FFF2-40B4-BE49-F238E27FC236}">
                <a16:creationId xmlns:a16="http://schemas.microsoft.com/office/drawing/2014/main" id="{73F85738-4ACC-4932-9AC9-54B0CFBC9C5F}"/>
              </a:ext>
            </a:extLst>
          </p:cNvPr>
          <p:cNvSpPr>
            <a:spLocks noGrp="1"/>
          </p:cNvSpPr>
          <p:nvPr>
            <p:ph type="title"/>
          </p:nvPr>
        </p:nvSpPr>
        <p:spPr>
          <a:xfrm>
            <a:off x="410879" y="410669"/>
            <a:ext cx="5292111" cy="776038"/>
          </a:xfrm>
        </p:spPr>
        <p:txBody>
          <a:bodyPr/>
          <a:lstStyle/>
          <a:p>
            <a:r>
              <a:rPr lang="en-US"/>
              <a:t>Click to edit Master title style</a:t>
            </a:r>
            <a:endParaRPr lang="en-GB"/>
          </a:p>
        </p:txBody>
      </p:sp>
    </p:spTree>
    <p:extLst>
      <p:ext uri="{BB962C8B-B14F-4D97-AF65-F5344CB8AC3E}">
        <p14:creationId xmlns:p14="http://schemas.microsoft.com/office/powerpoint/2010/main" val="2767948210"/>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ext and Image Lef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623EE699-16B4-4E6C-852E-7A2C3D133E42}"/>
              </a:ext>
            </a:extLst>
          </p:cNvPr>
          <p:cNvSpPr>
            <a:spLocks noGrp="1"/>
          </p:cNvSpPr>
          <p:nvPr>
            <p:ph type="pic" sz="quarter" idx="13"/>
          </p:nvPr>
        </p:nvSpPr>
        <p:spPr>
          <a:xfrm>
            <a:off x="3" y="-1"/>
            <a:ext cx="6095094" cy="6858000"/>
          </a:xfrm>
          <a:solidFill>
            <a:schemeClr val="bg1">
              <a:lumMod val="85000"/>
            </a:schemeClr>
          </a:solidFill>
        </p:spPr>
        <p:txBody>
          <a:bodyPr/>
          <a:lstStyle/>
          <a:p>
            <a:r>
              <a:rPr lang="en-US"/>
              <a:t>Click icon to add picture</a:t>
            </a:r>
            <a:endParaRPr lang="en-GB"/>
          </a:p>
        </p:txBody>
      </p:sp>
      <p:sp>
        <p:nvSpPr>
          <p:cNvPr id="2" name="Title 1"/>
          <p:cNvSpPr>
            <a:spLocks noGrp="1"/>
          </p:cNvSpPr>
          <p:nvPr>
            <p:ph type="title"/>
          </p:nvPr>
        </p:nvSpPr>
        <p:spPr>
          <a:xfrm>
            <a:off x="6487250" y="411791"/>
            <a:ext cx="5292000" cy="776038"/>
          </a:xfrm>
        </p:spPr>
        <p:txBody>
          <a:bodyPr/>
          <a:lstStyle/>
          <a:p>
            <a:r>
              <a:rPr lang="en-US"/>
              <a:t>Click to edit Master title style</a:t>
            </a:r>
            <a:endParaRPr lang="en-US" dirty="0"/>
          </a:p>
        </p:txBody>
      </p:sp>
      <p:sp>
        <p:nvSpPr>
          <p:cNvPr id="3" name="Content Placeholder 2"/>
          <p:cNvSpPr>
            <a:spLocks noGrp="1"/>
          </p:cNvSpPr>
          <p:nvPr>
            <p:ph sz="half" idx="1"/>
          </p:nvPr>
        </p:nvSpPr>
        <p:spPr>
          <a:xfrm>
            <a:off x="6487250" y="1521892"/>
            <a:ext cx="5292000" cy="44947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lvl1pPr>
              <a:defRPr>
                <a:solidFill>
                  <a:schemeClr val="bg1"/>
                </a:solidFill>
              </a:defRPr>
            </a:lvl1pPr>
          </a:lstStyle>
          <a:p>
            <a:r>
              <a:rPr lang="en-US"/>
              <a:t>Document Name</a:t>
            </a:r>
            <a:endParaRPr lang="en-US"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32B354EE-31EA-4FC2-9496-7B6202183237}" type="slidenum">
              <a:rPr lang="en-US" smtClean="0"/>
              <a:pPr/>
              <a:t>‹#›</a:t>
            </a:fld>
            <a:endParaRPr lang="en-US" dirty="0"/>
          </a:p>
        </p:txBody>
      </p:sp>
    </p:spTree>
    <p:extLst>
      <p:ext uri="{BB962C8B-B14F-4D97-AF65-F5344CB8AC3E}">
        <p14:creationId xmlns:p14="http://schemas.microsoft.com/office/powerpoint/2010/main" val="369591732"/>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ext, Key Info and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623EE699-16B4-4E6C-852E-7A2C3D133E42}"/>
              </a:ext>
            </a:extLst>
          </p:cNvPr>
          <p:cNvSpPr>
            <a:spLocks noGrp="1"/>
          </p:cNvSpPr>
          <p:nvPr>
            <p:ph type="pic" sz="quarter" idx="13"/>
          </p:nvPr>
        </p:nvSpPr>
        <p:spPr>
          <a:xfrm>
            <a:off x="6096906" y="3429905"/>
            <a:ext cx="6095094" cy="3428095"/>
          </a:xfrm>
          <a:solidFill>
            <a:schemeClr val="bg1">
              <a:lumMod val="85000"/>
            </a:schemeClr>
          </a:solidFill>
        </p:spPr>
        <p:txBody>
          <a:bodyPr/>
          <a:lstStyle/>
          <a:p>
            <a:r>
              <a:rPr lang="en-US"/>
              <a:t>Click icon to add picture</a:t>
            </a:r>
            <a:endParaRPr lang="en-GB"/>
          </a:p>
        </p:txBody>
      </p:sp>
      <p:sp>
        <p:nvSpPr>
          <p:cNvPr id="6" name="Footer Placeholder 5"/>
          <p:cNvSpPr>
            <a:spLocks noGrp="1"/>
          </p:cNvSpPr>
          <p:nvPr>
            <p:ph type="ftr" sz="quarter" idx="11"/>
          </p:nvPr>
        </p:nvSpPr>
        <p:spPr/>
        <p:txBody>
          <a:bodyPr/>
          <a:lstStyle/>
          <a:p>
            <a:r>
              <a:rPr lang="en-US"/>
              <a:t>Document Name</a:t>
            </a:r>
            <a:endParaRPr lang="en-US" dirty="0"/>
          </a:p>
        </p:txBody>
      </p:sp>
      <p:sp>
        <p:nvSpPr>
          <p:cNvPr id="7" name="Slide Number Placeholder 6"/>
          <p:cNvSpPr>
            <a:spLocks noGrp="1"/>
          </p:cNvSpPr>
          <p:nvPr>
            <p:ph type="sldNum" sz="quarter" idx="12"/>
          </p:nvPr>
        </p:nvSpPr>
        <p:spPr/>
        <p:txBody>
          <a:bodyPr/>
          <a:lstStyle/>
          <a:p>
            <a:fld id="{32B354EE-31EA-4FC2-9496-7B6202183237}" type="slidenum">
              <a:rPr lang="en-US" smtClean="0"/>
              <a:t>‹#›</a:t>
            </a:fld>
            <a:endParaRPr lang="en-US" dirty="0"/>
          </a:p>
        </p:txBody>
      </p:sp>
      <p:sp>
        <p:nvSpPr>
          <p:cNvPr id="5" name="Text Placeholder 4">
            <a:extLst>
              <a:ext uri="{FF2B5EF4-FFF2-40B4-BE49-F238E27FC236}">
                <a16:creationId xmlns:a16="http://schemas.microsoft.com/office/drawing/2014/main" id="{F57219E9-6258-4F28-A57E-2D2A7A1479EF}"/>
              </a:ext>
            </a:extLst>
          </p:cNvPr>
          <p:cNvSpPr>
            <a:spLocks noGrp="1"/>
          </p:cNvSpPr>
          <p:nvPr>
            <p:ph type="body" sz="quarter" idx="14"/>
          </p:nvPr>
        </p:nvSpPr>
        <p:spPr>
          <a:xfrm>
            <a:off x="6096906" y="4"/>
            <a:ext cx="6095094" cy="3429905"/>
          </a:xfrm>
          <a:solidFill>
            <a:schemeClr val="tx1"/>
          </a:solidFill>
        </p:spPr>
        <p:txBody>
          <a:bodyPr lIns="360000" tIns="360000" rIns="360000" bIns="360000" anchor="ctr"/>
          <a:lstStyle>
            <a:lvl1pPr algn="ctr">
              <a:defRPr sz="3400">
                <a:solidFill>
                  <a:schemeClr val="bg1"/>
                </a:solidFill>
                <a:latin typeface="+mj-lt"/>
              </a:defRPr>
            </a:lvl1pPr>
          </a:lstStyle>
          <a:p>
            <a:pPr lvl="0"/>
            <a:r>
              <a:rPr lang="en-US"/>
              <a:t>Click to edit Master text styles</a:t>
            </a:r>
          </a:p>
        </p:txBody>
      </p:sp>
      <p:sp>
        <p:nvSpPr>
          <p:cNvPr id="4" name="Title 3">
            <a:extLst>
              <a:ext uri="{FF2B5EF4-FFF2-40B4-BE49-F238E27FC236}">
                <a16:creationId xmlns:a16="http://schemas.microsoft.com/office/drawing/2014/main" id="{73F85738-4ACC-4932-9AC9-54B0CFBC9C5F}"/>
              </a:ext>
            </a:extLst>
          </p:cNvPr>
          <p:cNvSpPr>
            <a:spLocks noGrp="1"/>
          </p:cNvSpPr>
          <p:nvPr>
            <p:ph type="title"/>
          </p:nvPr>
        </p:nvSpPr>
        <p:spPr>
          <a:xfrm>
            <a:off x="410879" y="410669"/>
            <a:ext cx="5292111" cy="776038"/>
          </a:xfrm>
        </p:spPr>
        <p:txBody>
          <a:bodyPr/>
          <a:lstStyle/>
          <a:p>
            <a:r>
              <a:rPr lang="en-US"/>
              <a:t>Click to edit Master title style</a:t>
            </a:r>
            <a:endParaRPr lang="en-US" dirty="0"/>
          </a:p>
        </p:txBody>
      </p:sp>
      <p:sp>
        <p:nvSpPr>
          <p:cNvPr id="9" name="Content Placeholder 2">
            <a:extLst>
              <a:ext uri="{FF2B5EF4-FFF2-40B4-BE49-F238E27FC236}">
                <a16:creationId xmlns:a16="http://schemas.microsoft.com/office/drawing/2014/main" id="{28A7491F-1E1B-44B3-B411-C2B74C75C2AC}"/>
              </a:ext>
            </a:extLst>
          </p:cNvPr>
          <p:cNvSpPr>
            <a:spLocks noGrp="1"/>
          </p:cNvSpPr>
          <p:nvPr>
            <p:ph sz="half" idx="1"/>
          </p:nvPr>
        </p:nvSpPr>
        <p:spPr>
          <a:xfrm>
            <a:off x="410878" y="1521184"/>
            <a:ext cx="5292112" cy="44947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7546956"/>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ext and Large Image">
    <p:bg>
      <p:bgPr>
        <a:solidFill>
          <a:schemeClr val="tx1"/>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C1E61418-E972-40CA-AF1C-5059724D8739}"/>
              </a:ext>
            </a:extLst>
          </p:cNvPr>
          <p:cNvSpPr>
            <a:spLocks noGrp="1"/>
          </p:cNvSpPr>
          <p:nvPr>
            <p:ph type="pic" sz="quarter" idx="14"/>
          </p:nvPr>
        </p:nvSpPr>
        <p:spPr>
          <a:xfrm>
            <a:off x="3948000" y="0"/>
            <a:ext cx="8244000" cy="6858000"/>
          </a:xfrm>
          <a:solidFill>
            <a:schemeClr val="bg1">
              <a:lumMod val="85000"/>
            </a:schemeClr>
          </a:solidFill>
        </p:spPr>
        <p:txBody>
          <a:bodyPr/>
          <a:lstStyle/>
          <a:p>
            <a:r>
              <a:rPr lang="en-US"/>
              <a:t>Click icon to add picture</a:t>
            </a:r>
            <a:endParaRPr lang="en-GB" dirty="0"/>
          </a:p>
        </p:txBody>
      </p:sp>
      <p:sp>
        <p:nvSpPr>
          <p:cNvPr id="4" name="Footer Placeholder 3">
            <a:extLst>
              <a:ext uri="{FF2B5EF4-FFF2-40B4-BE49-F238E27FC236}">
                <a16:creationId xmlns:a16="http://schemas.microsoft.com/office/drawing/2014/main" id="{265266B1-3B43-413F-B581-A2BA7F232AAD}"/>
              </a:ext>
            </a:extLst>
          </p:cNvPr>
          <p:cNvSpPr>
            <a:spLocks noGrp="1"/>
          </p:cNvSpPr>
          <p:nvPr>
            <p:ph type="ftr" sz="quarter" idx="11"/>
          </p:nvPr>
        </p:nvSpPr>
        <p:spPr/>
        <p:txBody>
          <a:bodyPr/>
          <a:lstStyle>
            <a:lvl1pPr>
              <a:defRPr>
                <a:solidFill>
                  <a:schemeClr val="bg1"/>
                </a:solidFill>
              </a:defRPr>
            </a:lvl1pPr>
          </a:lstStyle>
          <a:p>
            <a:r>
              <a:rPr lang="en-US"/>
              <a:t>Document Name</a:t>
            </a:r>
            <a:endParaRPr lang="en-US" dirty="0"/>
          </a:p>
        </p:txBody>
      </p:sp>
      <p:sp>
        <p:nvSpPr>
          <p:cNvPr id="5" name="Slide Number Placeholder 4">
            <a:extLst>
              <a:ext uri="{FF2B5EF4-FFF2-40B4-BE49-F238E27FC236}">
                <a16:creationId xmlns:a16="http://schemas.microsoft.com/office/drawing/2014/main" id="{114087E5-4709-465C-88EF-C43AFDD767F1}"/>
              </a:ext>
            </a:extLst>
          </p:cNvPr>
          <p:cNvSpPr>
            <a:spLocks noGrp="1"/>
          </p:cNvSpPr>
          <p:nvPr>
            <p:ph type="sldNum" sz="quarter" idx="12"/>
          </p:nvPr>
        </p:nvSpPr>
        <p:spPr/>
        <p:txBody>
          <a:bodyPr/>
          <a:lstStyle>
            <a:lvl1pPr>
              <a:defRPr>
                <a:solidFill>
                  <a:schemeClr val="bg1"/>
                </a:solidFill>
              </a:defRPr>
            </a:lvl1pPr>
          </a:lstStyle>
          <a:p>
            <a:fld id="{32B354EE-31EA-4FC2-9496-7B6202183237}" type="slidenum">
              <a:rPr lang="en-US" smtClean="0"/>
              <a:pPr/>
              <a:t>‹#›</a:t>
            </a:fld>
            <a:endParaRPr lang="en-US" dirty="0"/>
          </a:p>
        </p:txBody>
      </p:sp>
      <p:sp>
        <p:nvSpPr>
          <p:cNvPr id="7" name="Text Placeholder 6">
            <a:extLst>
              <a:ext uri="{FF2B5EF4-FFF2-40B4-BE49-F238E27FC236}">
                <a16:creationId xmlns:a16="http://schemas.microsoft.com/office/drawing/2014/main" id="{D7F08074-975D-439A-8214-343997E50101}"/>
              </a:ext>
            </a:extLst>
          </p:cNvPr>
          <p:cNvSpPr>
            <a:spLocks noGrp="1"/>
          </p:cNvSpPr>
          <p:nvPr>
            <p:ph type="body" sz="quarter" idx="13"/>
          </p:nvPr>
        </p:nvSpPr>
        <p:spPr>
          <a:xfrm>
            <a:off x="413104" y="1521184"/>
            <a:ext cx="3340850" cy="449473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C4B74708-2400-4449-A566-F6158A62A027}"/>
              </a:ext>
            </a:extLst>
          </p:cNvPr>
          <p:cNvSpPr>
            <a:spLocks noGrp="1"/>
          </p:cNvSpPr>
          <p:nvPr>
            <p:ph type="title"/>
          </p:nvPr>
        </p:nvSpPr>
        <p:spPr>
          <a:xfrm>
            <a:off x="410879" y="410669"/>
            <a:ext cx="3340850" cy="776038"/>
          </a:xfrm>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521201872"/>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wo Content Dark Righ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D86AC41-762B-4924-A899-F81343A12E1E}"/>
              </a:ext>
            </a:extLst>
          </p:cNvPr>
          <p:cNvSpPr/>
          <p:nvPr/>
        </p:nvSpPr>
        <p:spPr>
          <a:xfrm>
            <a:off x="6096001" y="4"/>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42" dirty="0"/>
          </a:p>
        </p:txBody>
      </p:sp>
      <p:sp>
        <p:nvSpPr>
          <p:cNvPr id="3" name="Content Placeholder 2"/>
          <p:cNvSpPr>
            <a:spLocks noGrp="1"/>
          </p:cNvSpPr>
          <p:nvPr>
            <p:ph sz="half" idx="1"/>
          </p:nvPr>
        </p:nvSpPr>
        <p:spPr>
          <a:xfrm>
            <a:off x="410878" y="1521184"/>
            <a:ext cx="5292112" cy="44947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486790" y="1521184"/>
            <a:ext cx="5292112" cy="449473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p>
            <a:r>
              <a:rPr lang="en-US"/>
              <a:t>Document Name</a:t>
            </a:r>
            <a:endParaRPr lang="en-US" dirty="0"/>
          </a:p>
        </p:txBody>
      </p:sp>
      <p:sp>
        <p:nvSpPr>
          <p:cNvPr id="7" name="Slide Number Placeholder 6"/>
          <p:cNvSpPr>
            <a:spLocks noGrp="1"/>
          </p:cNvSpPr>
          <p:nvPr>
            <p:ph type="sldNum" sz="quarter" idx="12"/>
          </p:nvPr>
        </p:nvSpPr>
        <p:spPr/>
        <p:txBody>
          <a:bodyPr/>
          <a:lstStyle/>
          <a:p>
            <a:fld id="{32B354EE-31EA-4FC2-9496-7B6202183237}" type="slidenum">
              <a:rPr lang="en-US" smtClean="0"/>
              <a:t>‹#›</a:t>
            </a:fld>
            <a:endParaRPr lang="en-US" dirty="0"/>
          </a:p>
        </p:txBody>
      </p:sp>
      <p:sp>
        <p:nvSpPr>
          <p:cNvPr id="8" name="Title 7">
            <a:extLst>
              <a:ext uri="{FF2B5EF4-FFF2-40B4-BE49-F238E27FC236}">
                <a16:creationId xmlns:a16="http://schemas.microsoft.com/office/drawing/2014/main" id="{97185569-060C-4071-87A6-3F288164C3BB}"/>
              </a:ext>
            </a:extLst>
          </p:cNvPr>
          <p:cNvSpPr>
            <a:spLocks noGrp="1"/>
          </p:cNvSpPr>
          <p:nvPr>
            <p:ph type="title"/>
          </p:nvPr>
        </p:nvSpPr>
        <p:spPr>
          <a:xfrm>
            <a:off x="410879" y="410669"/>
            <a:ext cx="5292111" cy="776038"/>
          </a:xfrm>
        </p:spPr>
        <p:txBody>
          <a:bodyPr/>
          <a:lstStyle/>
          <a:p>
            <a:r>
              <a:rPr lang="en-US"/>
              <a:t>Click to edit Master title style</a:t>
            </a:r>
            <a:endParaRPr lang="en-US" dirty="0"/>
          </a:p>
        </p:txBody>
      </p:sp>
      <p:grpSp>
        <p:nvGrpSpPr>
          <p:cNvPr id="19" name="Group 4">
            <a:extLst>
              <a:ext uri="{FF2B5EF4-FFF2-40B4-BE49-F238E27FC236}">
                <a16:creationId xmlns:a16="http://schemas.microsoft.com/office/drawing/2014/main" id="{0601B898-2CB9-45B9-BA39-02DE943F2544}"/>
              </a:ext>
            </a:extLst>
          </p:cNvPr>
          <p:cNvGrpSpPr>
            <a:grpSpLocks noChangeAspect="1"/>
          </p:cNvGrpSpPr>
          <p:nvPr/>
        </p:nvGrpSpPr>
        <p:grpSpPr bwMode="auto">
          <a:xfrm>
            <a:off x="10432850" y="6330937"/>
            <a:ext cx="1346400" cy="188639"/>
            <a:chOff x="0" y="1622"/>
            <a:chExt cx="7680" cy="1076"/>
          </a:xfrm>
          <a:solidFill>
            <a:schemeClr val="bg1"/>
          </a:solidFill>
        </p:grpSpPr>
        <p:sp>
          <p:nvSpPr>
            <p:cNvPr id="31" name="Freeform 5">
              <a:extLst>
                <a:ext uri="{FF2B5EF4-FFF2-40B4-BE49-F238E27FC236}">
                  <a16:creationId xmlns:a16="http://schemas.microsoft.com/office/drawing/2014/main" id="{43229534-A589-4F34-81F7-9CE4070AB44D}"/>
                </a:ext>
              </a:extLst>
            </p:cNvPr>
            <p:cNvSpPr>
              <a:spLocks/>
            </p:cNvSpPr>
            <p:nvPr/>
          </p:nvSpPr>
          <p:spPr bwMode="auto">
            <a:xfrm>
              <a:off x="1489" y="1874"/>
              <a:ext cx="479" cy="565"/>
            </a:xfrm>
            <a:custGeom>
              <a:avLst/>
              <a:gdLst>
                <a:gd name="T0" fmla="*/ 766 w 766"/>
                <a:gd name="T1" fmla="*/ 745 h 903"/>
                <a:gd name="T2" fmla="*/ 447 w 766"/>
                <a:gd name="T3" fmla="*/ 903 h 903"/>
                <a:gd name="T4" fmla="*/ 0 w 766"/>
                <a:gd name="T5" fmla="*/ 452 h 903"/>
                <a:gd name="T6" fmla="*/ 447 w 766"/>
                <a:gd name="T7" fmla="*/ 0 h 903"/>
                <a:gd name="T8" fmla="*/ 745 w 766"/>
                <a:gd name="T9" fmla="*/ 136 h 903"/>
                <a:gd name="T10" fmla="*/ 668 w 766"/>
                <a:gd name="T11" fmla="*/ 193 h 903"/>
                <a:gd name="T12" fmla="*/ 447 w 766"/>
                <a:gd name="T13" fmla="*/ 80 h 903"/>
                <a:gd name="T14" fmla="*/ 94 w 766"/>
                <a:gd name="T15" fmla="*/ 452 h 903"/>
                <a:gd name="T16" fmla="*/ 447 w 766"/>
                <a:gd name="T17" fmla="*/ 823 h 903"/>
                <a:gd name="T18" fmla="*/ 694 w 766"/>
                <a:gd name="T19" fmla="*/ 694 h 903"/>
                <a:gd name="T20" fmla="*/ 766 w 766"/>
                <a:gd name="T21" fmla="*/ 745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6" h="903">
                  <a:moveTo>
                    <a:pt x="766" y="745"/>
                  </a:moveTo>
                  <a:cubicBezTo>
                    <a:pt x="708" y="834"/>
                    <a:pt x="590" y="903"/>
                    <a:pt x="447" y="903"/>
                  </a:cubicBezTo>
                  <a:cubicBezTo>
                    <a:pt x="192" y="903"/>
                    <a:pt x="0" y="713"/>
                    <a:pt x="0" y="452"/>
                  </a:cubicBezTo>
                  <a:cubicBezTo>
                    <a:pt x="0" y="191"/>
                    <a:pt x="192" y="0"/>
                    <a:pt x="447" y="0"/>
                  </a:cubicBezTo>
                  <a:cubicBezTo>
                    <a:pt x="554" y="0"/>
                    <a:pt x="670" y="40"/>
                    <a:pt x="745" y="136"/>
                  </a:cubicBezTo>
                  <a:cubicBezTo>
                    <a:pt x="668" y="193"/>
                    <a:pt x="668" y="193"/>
                    <a:pt x="668" y="193"/>
                  </a:cubicBezTo>
                  <a:cubicBezTo>
                    <a:pt x="634" y="137"/>
                    <a:pt x="539" y="80"/>
                    <a:pt x="447" y="80"/>
                  </a:cubicBezTo>
                  <a:cubicBezTo>
                    <a:pt x="226" y="80"/>
                    <a:pt x="94" y="254"/>
                    <a:pt x="94" y="452"/>
                  </a:cubicBezTo>
                  <a:cubicBezTo>
                    <a:pt x="94" y="650"/>
                    <a:pt x="226" y="823"/>
                    <a:pt x="447" y="823"/>
                  </a:cubicBezTo>
                  <a:cubicBezTo>
                    <a:pt x="537" y="823"/>
                    <a:pt x="630" y="793"/>
                    <a:pt x="694" y="694"/>
                  </a:cubicBezTo>
                  <a:lnTo>
                    <a:pt x="766" y="7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6">
              <a:extLst>
                <a:ext uri="{FF2B5EF4-FFF2-40B4-BE49-F238E27FC236}">
                  <a16:creationId xmlns:a16="http://schemas.microsoft.com/office/drawing/2014/main" id="{9DEF8685-7AD2-48A8-B69C-9763D07F4380}"/>
                </a:ext>
              </a:extLst>
            </p:cNvPr>
            <p:cNvSpPr>
              <a:spLocks noEditPoints="1"/>
            </p:cNvSpPr>
            <p:nvPr/>
          </p:nvSpPr>
          <p:spPr bwMode="auto">
            <a:xfrm>
              <a:off x="2014" y="1874"/>
              <a:ext cx="560" cy="565"/>
            </a:xfrm>
            <a:custGeom>
              <a:avLst/>
              <a:gdLst>
                <a:gd name="T0" fmla="*/ 448 w 896"/>
                <a:gd name="T1" fmla="*/ 80 h 903"/>
                <a:gd name="T2" fmla="*/ 95 w 896"/>
                <a:gd name="T3" fmla="*/ 452 h 903"/>
                <a:gd name="T4" fmla="*/ 448 w 896"/>
                <a:gd name="T5" fmla="*/ 823 h 903"/>
                <a:gd name="T6" fmla="*/ 801 w 896"/>
                <a:gd name="T7" fmla="*/ 452 h 903"/>
                <a:gd name="T8" fmla="*/ 448 w 896"/>
                <a:gd name="T9" fmla="*/ 80 h 903"/>
                <a:gd name="T10" fmla="*/ 448 w 896"/>
                <a:gd name="T11" fmla="*/ 903 h 903"/>
                <a:gd name="T12" fmla="*/ 0 w 896"/>
                <a:gd name="T13" fmla="*/ 452 h 903"/>
                <a:gd name="T14" fmla="*/ 448 w 896"/>
                <a:gd name="T15" fmla="*/ 0 h 903"/>
                <a:gd name="T16" fmla="*/ 896 w 896"/>
                <a:gd name="T17" fmla="*/ 452 h 903"/>
                <a:gd name="T18" fmla="*/ 448 w 896"/>
                <a:gd name="T19" fmla="*/ 903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6" h="903">
                  <a:moveTo>
                    <a:pt x="448" y="80"/>
                  </a:moveTo>
                  <a:cubicBezTo>
                    <a:pt x="227" y="80"/>
                    <a:pt x="95" y="254"/>
                    <a:pt x="95" y="452"/>
                  </a:cubicBezTo>
                  <a:cubicBezTo>
                    <a:pt x="95" y="649"/>
                    <a:pt x="227" y="823"/>
                    <a:pt x="448" y="823"/>
                  </a:cubicBezTo>
                  <a:cubicBezTo>
                    <a:pt x="669" y="823"/>
                    <a:pt x="801" y="649"/>
                    <a:pt x="801" y="452"/>
                  </a:cubicBezTo>
                  <a:cubicBezTo>
                    <a:pt x="801" y="254"/>
                    <a:pt x="669" y="80"/>
                    <a:pt x="448" y="80"/>
                  </a:cubicBezTo>
                  <a:moveTo>
                    <a:pt x="448" y="903"/>
                  </a:moveTo>
                  <a:cubicBezTo>
                    <a:pt x="192" y="903"/>
                    <a:pt x="0" y="712"/>
                    <a:pt x="0" y="452"/>
                  </a:cubicBezTo>
                  <a:cubicBezTo>
                    <a:pt x="0" y="191"/>
                    <a:pt x="192" y="0"/>
                    <a:pt x="448" y="0"/>
                  </a:cubicBezTo>
                  <a:cubicBezTo>
                    <a:pt x="704" y="0"/>
                    <a:pt x="896" y="191"/>
                    <a:pt x="896" y="452"/>
                  </a:cubicBezTo>
                  <a:cubicBezTo>
                    <a:pt x="896" y="712"/>
                    <a:pt x="704" y="903"/>
                    <a:pt x="448" y="90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7">
              <a:extLst>
                <a:ext uri="{FF2B5EF4-FFF2-40B4-BE49-F238E27FC236}">
                  <a16:creationId xmlns:a16="http://schemas.microsoft.com/office/drawing/2014/main" id="{9B0FF649-6ED2-4D2F-86B1-0A1FD3EF7783}"/>
                </a:ext>
              </a:extLst>
            </p:cNvPr>
            <p:cNvSpPr>
              <a:spLocks/>
            </p:cNvSpPr>
            <p:nvPr/>
          </p:nvSpPr>
          <p:spPr bwMode="auto">
            <a:xfrm>
              <a:off x="2672" y="1888"/>
              <a:ext cx="305" cy="538"/>
            </a:xfrm>
            <a:custGeom>
              <a:avLst/>
              <a:gdLst>
                <a:gd name="T0" fmla="*/ 0 w 305"/>
                <a:gd name="T1" fmla="*/ 0 h 538"/>
                <a:gd name="T2" fmla="*/ 0 w 305"/>
                <a:gd name="T3" fmla="*/ 538 h 538"/>
                <a:gd name="T4" fmla="*/ 305 w 305"/>
                <a:gd name="T5" fmla="*/ 538 h 538"/>
                <a:gd name="T6" fmla="*/ 305 w 305"/>
                <a:gd name="T7" fmla="*/ 488 h 538"/>
                <a:gd name="T8" fmla="*/ 55 w 305"/>
                <a:gd name="T9" fmla="*/ 488 h 538"/>
                <a:gd name="T10" fmla="*/ 55 w 305"/>
                <a:gd name="T11" fmla="*/ 0 h 538"/>
                <a:gd name="T12" fmla="*/ 0 w 305"/>
                <a:gd name="T13" fmla="*/ 0 h 538"/>
              </a:gdLst>
              <a:ahLst/>
              <a:cxnLst>
                <a:cxn ang="0">
                  <a:pos x="T0" y="T1"/>
                </a:cxn>
                <a:cxn ang="0">
                  <a:pos x="T2" y="T3"/>
                </a:cxn>
                <a:cxn ang="0">
                  <a:pos x="T4" y="T5"/>
                </a:cxn>
                <a:cxn ang="0">
                  <a:pos x="T6" y="T7"/>
                </a:cxn>
                <a:cxn ang="0">
                  <a:pos x="T8" y="T9"/>
                </a:cxn>
                <a:cxn ang="0">
                  <a:pos x="T10" y="T11"/>
                </a:cxn>
                <a:cxn ang="0">
                  <a:pos x="T12" y="T13"/>
                </a:cxn>
              </a:cxnLst>
              <a:rect l="0" t="0" r="r" b="b"/>
              <a:pathLst>
                <a:path w="305" h="538">
                  <a:moveTo>
                    <a:pt x="0" y="0"/>
                  </a:moveTo>
                  <a:lnTo>
                    <a:pt x="0" y="538"/>
                  </a:lnTo>
                  <a:lnTo>
                    <a:pt x="305" y="538"/>
                  </a:lnTo>
                  <a:lnTo>
                    <a:pt x="305" y="488"/>
                  </a:lnTo>
                  <a:lnTo>
                    <a:pt x="55" y="488"/>
                  </a:lnTo>
                  <a:lnTo>
                    <a:pt x="55"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8">
              <a:extLst>
                <a:ext uri="{FF2B5EF4-FFF2-40B4-BE49-F238E27FC236}">
                  <a16:creationId xmlns:a16="http://schemas.microsoft.com/office/drawing/2014/main" id="{C1642DF5-C451-4865-9165-6CE339250820}"/>
                </a:ext>
              </a:extLst>
            </p:cNvPr>
            <p:cNvSpPr>
              <a:spLocks noEditPoints="1"/>
            </p:cNvSpPr>
            <p:nvPr/>
          </p:nvSpPr>
          <p:spPr bwMode="auto">
            <a:xfrm>
              <a:off x="2997" y="1874"/>
              <a:ext cx="561" cy="565"/>
            </a:xfrm>
            <a:custGeom>
              <a:avLst/>
              <a:gdLst>
                <a:gd name="T0" fmla="*/ 448 w 896"/>
                <a:gd name="T1" fmla="*/ 80 h 903"/>
                <a:gd name="T2" fmla="*/ 95 w 896"/>
                <a:gd name="T3" fmla="*/ 452 h 903"/>
                <a:gd name="T4" fmla="*/ 448 w 896"/>
                <a:gd name="T5" fmla="*/ 823 h 903"/>
                <a:gd name="T6" fmla="*/ 801 w 896"/>
                <a:gd name="T7" fmla="*/ 452 h 903"/>
                <a:gd name="T8" fmla="*/ 448 w 896"/>
                <a:gd name="T9" fmla="*/ 80 h 903"/>
                <a:gd name="T10" fmla="*/ 448 w 896"/>
                <a:gd name="T11" fmla="*/ 903 h 903"/>
                <a:gd name="T12" fmla="*/ 0 w 896"/>
                <a:gd name="T13" fmla="*/ 452 h 903"/>
                <a:gd name="T14" fmla="*/ 448 w 896"/>
                <a:gd name="T15" fmla="*/ 0 h 903"/>
                <a:gd name="T16" fmla="*/ 896 w 896"/>
                <a:gd name="T17" fmla="*/ 452 h 903"/>
                <a:gd name="T18" fmla="*/ 448 w 896"/>
                <a:gd name="T19" fmla="*/ 903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6" h="903">
                  <a:moveTo>
                    <a:pt x="448" y="80"/>
                  </a:moveTo>
                  <a:cubicBezTo>
                    <a:pt x="227" y="80"/>
                    <a:pt x="95" y="254"/>
                    <a:pt x="95" y="452"/>
                  </a:cubicBezTo>
                  <a:cubicBezTo>
                    <a:pt x="95" y="649"/>
                    <a:pt x="227" y="823"/>
                    <a:pt x="448" y="823"/>
                  </a:cubicBezTo>
                  <a:cubicBezTo>
                    <a:pt x="669" y="823"/>
                    <a:pt x="801" y="649"/>
                    <a:pt x="801" y="452"/>
                  </a:cubicBezTo>
                  <a:cubicBezTo>
                    <a:pt x="801" y="254"/>
                    <a:pt x="669" y="80"/>
                    <a:pt x="448" y="80"/>
                  </a:cubicBezTo>
                  <a:moveTo>
                    <a:pt x="448" y="903"/>
                  </a:moveTo>
                  <a:cubicBezTo>
                    <a:pt x="192" y="903"/>
                    <a:pt x="0" y="712"/>
                    <a:pt x="0" y="452"/>
                  </a:cubicBezTo>
                  <a:cubicBezTo>
                    <a:pt x="0" y="191"/>
                    <a:pt x="192" y="0"/>
                    <a:pt x="448" y="0"/>
                  </a:cubicBezTo>
                  <a:cubicBezTo>
                    <a:pt x="704" y="0"/>
                    <a:pt x="896" y="191"/>
                    <a:pt x="896" y="452"/>
                  </a:cubicBezTo>
                  <a:cubicBezTo>
                    <a:pt x="896" y="712"/>
                    <a:pt x="704" y="903"/>
                    <a:pt x="448" y="90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9">
              <a:extLst>
                <a:ext uri="{FF2B5EF4-FFF2-40B4-BE49-F238E27FC236}">
                  <a16:creationId xmlns:a16="http://schemas.microsoft.com/office/drawing/2014/main" id="{DF463569-06AA-4F45-B219-4017423B874B}"/>
                </a:ext>
              </a:extLst>
            </p:cNvPr>
            <p:cNvSpPr>
              <a:spLocks/>
            </p:cNvSpPr>
            <p:nvPr/>
          </p:nvSpPr>
          <p:spPr bwMode="auto">
            <a:xfrm>
              <a:off x="4182" y="1888"/>
              <a:ext cx="503" cy="538"/>
            </a:xfrm>
            <a:custGeom>
              <a:avLst/>
              <a:gdLst>
                <a:gd name="T0" fmla="*/ 0 w 503"/>
                <a:gd name="T1" fmla="*/ 0 h 538"/>
                <a:gd name="T2" fmla="*/ 119 w 503"/>
                <a:gd name="T3" fmla="*/ 0 h 538"/>
                <a:gd name="T4" fmla="*/ 119 w 503"/>
                <a:gd name="T5" fmla="*/ 243 h 538"/>
                <a:gd name="T6" fmla="*/ 327 w 503"/>
                <a:gd name="T7" fmla="*/ 0 h 538"/>
                <a:gd name="T8" fmla="*/ 482 w 503"/>
                <a:gd name="T9" fmla="*/ 0 h 538"/>
                <a:gd name="T10" fmla="*/ 243 w 503"/>
                <a:gd name="T11" fmla="*/ 270 h 538"/>
                <a:gd name="T12" fmla="*/ 503 w 503"/>
                <a:gd name="T13" fmla="*/ 538 h 538"/>
                <a:gd name="T14" fmla="*/ 337 w 503"/>
                <a:gd name="T15" fmla="*/ 538 h 538"/>
                <a:gd name="T16" fmla="*/ 119 w 503"/>
                <a:gd name="T17" fmla="*/ 302 h 538"/>
                <a:gd name="T18" fmla="*/ 119 w 503"/>
                <a:gd name="T19" fmla="*/ 538 h 538"/>
                <a:gd name="T20" fmla="*/ 0 w 503"/>
                <a:gd name="T21" fmla="*/ 538 h 538"/>
                <a:gd name="T22" fmla="*/ 0 w 503"/>
                <a:gd name="T23"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3" h="538">
                  <a:moveTo>
                    <a:pt x="0" y="0"/>
                  </a:moveTo>
                  <a:lnTo>
                    <a:pt x="119" y="0"/>
                  </a:lnTo>
                  <a:lnTo>
                    <a:pt x="119" y="243"/>
                  </a:lnTo>
                  <a:lnTo>
                    <a:pt x="327" y="0"/>
                  </a:lnTo>
                  <a:lnTo>
                    <a:pt x="482" y="0"/>
                  </a:lnTo>
                  <a:lnTo>
                    <a:pt x="243" y="270"/>
                  </a:lnTo>
                  <a:lnTo>
                    <a:pt x="503" y="538"/>
                  </a:lnTo>
                  <a:lnTo>
                    <a:pt x="337" y="538"/>
                  </a:lnTo>
                  <a:lnTo>
                    <a:pt x="119" y="302"/>
                  </a:lnTo>
                  <a:lnTo>
                    <a:pt x="119" y="538"/>
                  </a:lnTo>
                  <a:lnTo>
                    <a:pt x="0" y="53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Rectangle 10">
              <a:extLst>
                <a:ext uri="{FF2B5EF4-FFF2-40B4-BE49-F238E27FC236}">
                  <a16:creationId xmlns:a16="http://schemas.microsoft.com/office/drawing/2014/main" id="{9DE51780-53C6-45F1-8E8B-D935D29A6887}"/>
                </a:ext>
              </a:extLst>
            </p:cNvPr>
            <p:cNvSpPr>
              <a:spLocks noChangeArrowheads="1"/>
            </p:cNvSpPr>
            <p:nvPr/>
          </p:nvSpPr>
          <p:spPr bwMode="auto">
            <a:xfrm>
              <a:off x="4743" y="1888"/>
              <a:ext cx="118" cy="5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1">
              <a:extLst>
                <a:ext uri="{FF2B5EF4-FFF2-40B4-BE49-F238E27FC236}">
                  <a16:creationId xmlns:a16="http://schemas.microsoft.com/office/drawing/2014/main" id="{87FB53A8-C8F7-43CE-A8C3-9B4F3426ED09}"/>
                </a:ext>
              </a:extLst>
            </p:cNvPr>
            <p:cNvSpPr>
              <a:spLocks/>
            </p:cNvSpPr>
            <p:nvPr/>
          </p:nvSpPr>
          <p:spPr bwMode="auto">
            <a:xfrm>
              <a:off x="4980" y="1888"/>
              <a:ext cx="509" cy="538"/>
            </a:xfrm>
            <a:custGeom>
              <a:avLst/>
              <a:gdLst>
                <a:gd name="T0" fmla="*/ 0 w 509"/>
                <a:gd name="T1" fmla="*/ 0 h 538"/>
                <a:gd name="T2" fmla="*/ 160 w 509"/>
                <a:gd name="T3" fmla="*/ 0 h 538"/>
                <a:gd name="T4" fmla="*/ 389 w 509"/>
                <a:gd name="T5" fmla="*/ 374 h 538"/>
                <a:gd name="T6" fmla="*/ 391 w 509"/>
                <a:gd name="T7" fmla="*/ 374 h 538"/>
                <a:gd name="T8" fmla="*/ 391 w 509"/>
                <a:gd name="T9" fmla="*/ 0 h 538"/>
                <a:gd name="T10" fmla="*/ 509 w 509"/>
                <a:gd name="T11" fmla="*/ 0 h 538"/>
                <a:gd name="T12" fmla="*/ 509 w 509"/>
                <a:gd name="T13" fmla="*/ 538 h 538"/>
                <a:gd name="T14" fmla="*/ 354 w 509"/>
                <a:gd name="T15" fmla="*/ 538 h 538"/>
                <a:gd name="T16" fmla="*/ 120 w 509"/>
                <a:gd name="T17" fmla="*/ 155 h 538"/>
                <a:gd name="T18" fmla="*/ 118 w 509"/>
                <a:gd name="T19" fmla="*/ 155 h 538"/>
                <a:gd name="T20" fmla="*/ 118 w 509"/>
                <a:gd name="T21" fmla="*/ 538 h 538"/>
                <a:gd name="T22" fmla="*/ 0 w 509"/>
                <a:gd name="T23" fmla="*/ 538 h 538"/>
                <a:gd name="T24" fmla="*/ 0 w 509"/>
                <a:gd name="T25"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9" h="538">
                  <a:moveTo>
                    <a:pt x="0" y="0"/>
                  </a:moveTo>
                  <a:lnTo>
                    <a:pt x="160" y="0"/>
                  </a:lnTo>
                  <a:lnTo>
                    <a:pt x="389" y="374"/>
                  </a:lnTo>
                  <a:lnTo>
                    <a:pt x="391" y="374"/>
                  </a:lnTo>
                  <a:lnTo>
                    <a:pt x="391" y="0"/>
                  </a:lnTo>
                  <a:lnTo>
                    <a:pt x="509" y="0"/>
                  </a:lnTo>
                  <a:lnTo>
                    <a:pt x="509" y="538"/>
                  </a:lnTo>
                  <a:lnTo>
                    <a:pt x="354" y="538"/>
                  </a:lnTo>
                  <a:lnTo>
                    <a:pt x="120" y="155"/>
                  </a:lnTo>
                  <a:lnTo>
                    <a:pt x="118" y="155"/>
                  </a:lnTo>
                  <a:lnTo>
                    <a:pt x="118" y="538"/>
                  </a:lnTo>
                  <a:lnTo>
                    <a:pt x="0" y="53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2">
              <a:extLst>
                <a:ext uri="{FF2B5EF4-FFF2-40B4-BE49-F238E27FC236}">
                  <a16:creationId xmlns:a16="http://schemas.microsoft.com/office/drawing/2014/main" id="{31DD79B2-FBD1-403A-A383-FAF521974C07}"/>
                </a:ext>
              </a:extLst>
            </p:cNvPr>
            <p:cNvSpPr>
              <a:spLocks/>
            </p:cNvSpPr>
            <p:nvPr/>
          </p:nvSpPr>
          <p:spPr bwMode="auto">
            <a:xfrm>
              <a:off x="5608" y="1888"/>
              <a:ext cx="378" cy="538"/>
            </a:xfrm>
            <a:custGeom>
              <a:avLst/>
              <a:gdLst>
                <a:gd name="T0" fmla="*/ 0 w 378"/>
                <a:gd name="T1" fmla="*/ 0 h 538"/>
                <a:gd name="T2" fmla="*/ 0 w 378"/>
                <a:gd name="T3" fmla="*/ 538 h 538"/>
                <a:gd name="T4" fmla="*/ 378 w 378"/>
                <a:gd name="T5" fmla="*/ 538 h 538"/>
                <a:gd name="T6" fmla="*/ 378 w 378"/>
                <a:gd name="T7" fmla="*/ 433 h 538"/>
                <a:gd name="T8" fmla="*/ 118 w 378"/>
                <a:gd name="T9" fmla="*/ 433 h 538"/>
                <a:gd name="T10" fmla="*/ 118 w 378"/>
                <a:gd name="T11" fmla="*/ 319 h 538"/>
                <a:gd name="T12" fmla="*/ 351 w 378"/>
                <a:gd name="T13" fmla="*/ 319 h 538"/>
                <a:gd name="T14" fmla="*/ 351 w 378"/>
                <a:gd name="T15" fmla="*/ 210 h 538"/>
                <a:gd name="T16" fmla="*/ 118 w 378"/>
                <a:gd name="T17" fmla="*/ 210 h 538"/>
                <a:gd name="T18" fmla="*/ 118 w 378"/>
                <a:gd name="T19" fmla="*/ 105 h 538"/>
                <a:gd name="T20" fmla="*/ 364 w 378"/>
                <a:gd name="T21" fmla="*/ 105 h 538"/>
                <a:gd name="T22" fmla="*/ 364 w 378"/>
                <a:gd name="T23" fmla="*/ 0 h 538"/>
                <a:gd name="T24" fmla="*/ 0 w 378"/>
                <a:gd name="T25"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8" h="538">
                  <a:moveTo>
                    <a:pt x="0" y="0"/>
                  </a:moveTo>
                  <a:lnTo>
                    <a:pt x="0" y="538"/>
                  </a:lnTo>
                  <a:lnTo>
                    <a:pt x="378" y="538"/>
                  </a:lnTo>
                  <a:lnTo>
                    <a:pt x="378" y="433"/>
                  </a:lnTo>
                  <a:lnTo>
                    <a:pt x="118" y="433"/>
                  </a:lnTo>
                  <a:lnTo>
                    <a:pt x="118" y="319"/>
                  </a:lnTo>
                  <a:lnTo>
                    <a:pt x="351" y="319"/>
                  </a:lnTo>
                  <a:lnTo>
                    <a:pt x="351" y="210"/>
                  </a:lnTo>
                  <a:lnTo>
                    <a:pt x="118" y="210"/>
                  </a:lnTo>
                  <a:lnTo>
                    <a:pt x="118" y="105"/>
                  </a:lnTo>
                  <a:lnTo>
                    <a:pt x="364" y="105"/>
                  </a:lnTo>
                  <a:lnTo>
                    <a:pt x="364"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3">
              <a:extLst>
                <a:ext uri="{FF2B5EF4-FFF2-40B4-BE49-F238E27FC236}">
                  <a16:creationId xmlns:a16="http://schemas.microsoft.com/office/drawing/2014/main" id="{F9AD7E08-BB9F-4E88-AB2E-8761F8BA23D0}"/>
                </a:ext>
              </a:extLst>
            </p:cNvPr>
            <p:cNvSpPr>
              <a:spLocks/>
            </p:cNvSpPr>
            <p:nvPr/>
          </p:nvSpPr>
          <p:spPr bwMode="auto">
            <a:xfrm>
              <a:off x="6052" y="1888"/>
              <a:ext cx="424" cy="538"/>
            </a:xfrm>
            <a:custGeom>
              <a:avLst/>
              <a:gdLst>
                <a:gd name="T0" fmla="*/ 0 w 424"/>
                <a:gd name="T1" fmla="*/ 0 h 538"/>
                <a:gd name="T2" fmla="*/ 0 w 424"/>
                <a:gd name="T3" fmla="*/ 105 h 538"/>
                <a:gd name="T4" fmla="*/ 152 w 424"/>
                <a:gd name="T5" fmla="*/ 105 h 538"/>
                <a:gd name="T6" fmla="*/ 152 w 424"/>
                <a:gd name="T7" fmla="*/ 538 h 538"/>
                <a:gd name="T8" fmla="*/ 271 w 424"/>
                <a:gd name="T9" fmla="*/ 538 h 538"/>
                <a:gd name="T10" fmla="*/ 271 w 424"/>
                <a:gd name="T11" fmla="*/ 105 h 538"/>
                <a:gd name="T12" fmla="*/ 424 w 424"/>
                <a:gd name="T13" fmla="*/ 105 h 538"/>
                <a:gd name="T14" fmla="*/ 424 w 424"/>
                <a:gd name="T15" fmla="*/ 0 h 538"/>
                <a:gd name="T16" fmla="*/ 0 w 424"/>
                <a:gd name="T17"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4" h="538">
                  <a:moveTo>
                    <a:pt x="0" y="0"/>
                  </a:moveTo>
                  <a:lnTo>
                    <a:pt x="0" y="105"/>
                  </a:lnTo>
                  <a:lnTo>
                    <a:pt x="152" y="105"/>
                  </a:lnTo>
                  <a:lnTo>
                    <a:pt x="152" y="538"/>
                  </a:lnTo>
                  <a:lnTo>
                    <a:pt x="271" y="538"/>
                  </a:lnTo>
                  <a:lnTo>
                    <a:pt x="271" y="105"/>
                  </a:lnTo>
                  <a:lnTo>
                    <a:pt x="424" y="105"/>
                  </a:lnTo>
                  <a:lnTo>
                    <a:pt x="424"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Rectangle 14">
              <a:extLst>
                <a:ext uri="{FF2B5EF4-FFF2-40B4-BE49-F238E27FC236}">
                  <a16:creationId xmlns:a16="http://schemas.microsoft.com/office/drawing/2014/main" id="{E4C38675-2FFC-4DAB-8E7E-4313BA840BA6}"/>
                </a:ext>
              </a:extLst>
            </p:cNvPr>
            <p:cNvSpPr>
              <a:spLocks noChangeArrowheads="1"/>
            </p:cNvSpPr>
            <p:nvPr/>
          </p:nvSpPr>
          <p:spPr bwMode="auto">
            <a:xfrm>
              <a:off x="6554" y="1888"/>
              <a:ext cx="119" cy="5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15">
              <a:extLst>
                <a:ext uri="{FF2B5EF4-FFF2-40B4-BE49-F238E27FC236}">
                  <a16:creationId xmlns:a16="http://schemas.microsoft.com/office/drawing/2014/main" id="{724819DA-168C-4FDF-904B-A8901991A97F}"/>
                </a:ext>
              </a:extLst>
            </p:cNvPr>
            <p:cNvSpPr>
              <a:spLocks noEditPoints="1"/>
            </p:cNvSpPr>
            <p:nvPr/>
          </p:nvSpPr>
          <p:spPr bwMode="auto">
            <a:xfrm>
              <a:off x="3658" y="1888"/>
              <a:ext cx="383" cy="538"/>
            </a:xfrm>
            <a:custGeom>
              <a:avLst/>
              <a:gdLst>
                <a:gd name="T0" fmla="*/ 87 w 613"/>
                <a:gd name="T1" fmla="*/ 376 h 859"/>
                <a:gd name="T2" fmla="*/ 278 w 613"/>
                <a:gd name="T3" fmla="*/ 376 h 859"/>
                <a:gd name="T4" fmla="*/ 462 w 613"/>
                <a:gd name="T5" fmla="*/ 228 h 859"/>
                <a:gd name="T6" fmla="*/ 278 w 613"/>
                <a:gd name="T7" fmla="*/ 82 h 859"/>
                <a:gd name="T8" fmla="*/ 87 w 613"/>
                <a:gd name="T9" fmla="*/ 82 h 859"/>
                <a:gd name="T10" fmla="*/ 87 w 613"/>
                <a:gd name="T11" fmla="*/ 376 h 859"/>
                <a:gd name="T12" fmla="*/ 497 w 613"/>
                <a:gd name="T13" fmla="*/ 859 h 859"/>
                <a:gd name="T14" fmla="*/ 87 w 613"/>
                <a:gd name="T15" fmla="*/ 428 h 859"/>
                <a:gd name="T16" fmla="*/ 87 w 613"/>
                <a:gd name="T17" fmla="*/ 859 h 859"/>
                <a:gd name="T18" fmla="*/ 0 w 613"/>
                <a:gd name="T19" fmla="*/ 859 h 859"/>
                <a:gd name="T20" fmla="*/ 0 w 613"/>
                <a:gd name="T21" fmla="*/ 0 h 859"/>
                <a:gd name="T22" fmla="*/ 270 w 613"/>
                <a:gd name="T23" fmla="*/ 0 h 859"/>
                <a:gd name="T24" fmla="*/ 555 w 613"/>
                <a:gd name="T25" fmla="*/ 228 h 859"/>
                <a:gd name="T26" fmla="*/ 270 w 613"/>
                <a:gd name="T27" fmla="*/ 453 h 859"/>
                <a:gd name="T28" fmla="*/ 222 w 613"/>
                <a:gd name="T29" fmla="*/ 453 h 859"/>
                <a:gd name="T30" fmla="*/ 613 w 613"/>
                <a:gd name="T31" fmla="*/ 859 h 859"/>
                <a:gd name="T32" fmla="*/ 497 w 613"/>
                <a:gd name="T33" fmla="*/ 859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13" h="859">
                  <a:moveTo>
                    <a:pt x="87" y="376"/>
                  </a:moveTo>
                  <a:cubicBezTo>
                    <a:pt x="278" y="376"/>
                    <a:pt x="278" y="376"/>
                    <a:pt x="278" y="376"/>
                  </a:cubicBezTo>
                  <a:cubicBezTo>
                    <a:pt x="396" y="376"/>
                    <a:pt x="462" y="328"/>
                    <a:pt x="462" y="228"/>
                  </a:cubicBezTo>
                  <a:cubicBezTo>
                    <a:pt x="462" y="129"/>
                    <a:pt x="396" y="82"/>
                    <a:pt x="278" y="82"/>
                  </a:cubicBezTo>
                  <a:cubicBezTo>
                    <a:pt x="87" y="82"/>
                    <a:pt x="87" y="82"/>
                    <a:pt x="87" y="82"/>
                  </a:cubicBezTo>
                  <a:lnTo>
                    <a:pt x="87" y="376"/>
                  </a:lnTo>
                  <a:close/>
                  <a:moveTo>
                    <a:pt x="497" y="859"/>
                  </a:moveTo>
                  <a:cubicBezTo>
                    <a:pt x="87" y="428"/>
                    <a:pt x="87" y="428"/>
                    <a:pt x="87" y="428"/>
                  </a:cubicBezTo>
                  <a:cubicBezTo>
                    <a:pt x="87" y="859"/>
                    <a:pt x="87" y="859"/>
                    <a:pt x="87" y="859"/>
                  </a:cubicBezTo>
                  <a:cubicBezTo>
                    <a:pt x="0" y="859"/>
                    <a:pt x="0" y="859"/>
                    <a:pt x="0" y="859"/>
                  </a:cubicBezTo>
                  <a:cubicBezTo>
                    <a:pt x="0" y="0"/>
                    <a:pt x="0" y="0"/>
                    <a:pt x="0" y="0"/>
                  </a:cubicBezTo>
                  <a:cubicBezTo>
                    <a:pt x="270" y="0"/>
                    <a:pt x="270" y="0"/>
                    <a:pt x="270" y="0"/>
                  </a:cubicBezTo>
                  <a:cubicBezTo>
                    <a:pt x="457" y="0"/>
                    <a:pt x="555" y="91"/>
                    <a:pt x="555" y="228"/>
                  </a:cubicBezTo>
                  <a:cubicBezTo>
                    <a:pt x="555" y="367"/>
                    <a:pt x="457" y="453"/>
                    <a:pt x="270" y="453"/>
                  </a:cubicBezTo>
                  <a:cubicBezTo>
                    <a:pt x="222" y="453"/>
                    <a:pt x="222" y="453"/>
                    <a:pt x="222" y="453"/>
                  </a:cubicBezTo>
                  <a:cubicBezTo>
                    <a:pt x="613" y="859"/>
                    <a:pt x="613" y="859"/>
                    <a:pt x="613" y="859"/>
                  </a:cubicBezTo>
                  <a:lnTo>
                    <a:pt x="497" y="8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16">
              <a:extLst>
                <a:ext uri="{FF2B5EF4-FFF2-40B4-BE49-F238E27FC236}">
                  <a16:creationId xmlns:a16="http://schemas.microsoft.com/office/drawing/2014/main" id="{C75CEB69-F788-4262-ABDA-476B429CC9EA}"/>
                </a:ext>
              </a:extLst>
            </p:cNvPr>
            <p:cNvSpPr>
              <a:spLocks/>
            </p:cNvSpPr>
            <p:nvPr/>
          </p:nvSpPr>
          <p:spPr bwMode="auto">
            <a:xfrm>
              <a:off x="6752" y="1881"/>
              <a:ext cx="476" cy="558"/>
            </a:xfrm>
            <a:custGeom>
              <a:avLst/>
              <a:gdLst>
                <a:gd name="T0" fmla="*/ 0 w 761"/>
                <a:gd name="T1" fmla="*/ 447 h 893"/>
                <a:gd name="T2" fmla="*/ 417 w 761"/>
                <a:gd name="T3" fmla="*/ 0 h 893"/>
                <a:gd name="T4" fmla="*/ 747 w 761"/>
                <a:gd name="T5" fmla="*/ 181 h 893"/>
                <a:gd name="T6" fmla="*/ 614 w 761"/>
                <a:gd name="T7" fmla="*/ 285 h 893"/>
                <a:gd name="T8" fmla="*/ 421 w 761"/>
                <a:gd name="T9" fmla="*/ 178 h 893"/>
                <a:gd name="T10" fmla="*/ 197 w 761"/>
                <a:gd name="T11" fmla="*/ 447 h 893"/>
                <a:gd name="T12" fmla="*/ 427 w 761"/>
                <a:gd name="T13" fmla="*/ 715 h 893"/>
                <a:gd name="T14" fmla="*/ 623 w 761"/>
                <a:gd name="T15" fmla="*/ 608 h 893"/>
                <a:gd name="T16" fmla="*/ 761 w 761"/>
                <a:gd name="T17" fmla="*/ 715 h 893"/>
                <a:gd name="T18" fmla="*/ 423 w 761"/>
                <a:gd name="T19" fmla="*/ 893 h 893"/>
                <a:gd name="T20" fmla="*/ 0 w 761"/>
                <a:gd name="T21" fmla="*/ 447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1" h="893">
                  <a:moveTo>
                    <a:pt x="0" y="447"/>
                  </a:moveTo>
                  <a:cubicBezTo>
                    <a:pt x="0" y="177"/>
                    <a:pt x="160" y="0"/>
                    <a:pt x="417" y="0"/>
                  </a:cubicBezTo>
                  <a:cubicBezTo>
                    <a:pt x="582" y="0"/>
                    <a:pt x="698" y="79"/>
                    <a:pt x="747" y="181"/>
                  </a:cubicBezTo>
                  <a:cubicBezTo>
                    <a:pt x="614" y="285"/>
                    <a:pt x="614" y="285"/>
                    <a:pt x="614" y="285"/>
                  </a:cubicBezTo>
                  <a:cubicBezTo>
                    <a:pt x="570" y="211"/>
                    <a:pt x="493" y="178"/>
                    <a:pt x="421" y="178"/>
                  </a:cubicBezTo>
                  <a:cubicBezTo>
                    <a:pt x="295" y="178"/>
                    <a:pt x="197" y="269"/>
                    <a:pt x="197" y="447"/>
                  </a:cubicBezTo>
                  <a:cubicBezTo>
                    <a:pt x="197" y="614"/>
                    <a:pt x="300" y="715"/>
                    <a:pt x="427" y="715"/>
                  </a:cubicBezTo>
                  <a:cubicBezTo>
                    <a:pt x="500" y="715"/>
                    <a:pt x="579" y="682"/>
                    <a:pt x="623" y="608"/>
                  </a:cubicBezTo>
                  <a:cubicBezTo>
                    <a:pt x="761" y="715"/>
                    <a:pt x="761" y="715"/>
                    <a:pt x="761" y="715"/>
                  </a:cubicBezTo>
                  <a:cubicBezTo>
                    <a:pt x="699" y="819"/>
                    <a:pt x="590" y="893"/>
                    <a:pt x="423" y="893"/>
                  </a:cubicBezTo>
                  <a:cubicBezTo>
                    <a:pt x="163" y="893"/>
                    <a:pt x="0" y="716"/>
                    <a:pt x="0" y="44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17">
              <a:extLst>
                <a:ext uri="{FF2B5EF4-FFF2-40B4-BE49-F238E27FC236}">
                  <a16:creationId xmlns:a16="http://schemas.microsoft.com/office/drawing/2014/main" id="{9583E25A-DC66-4F63-AF51-B586E18EB720}"/>
                </a:ext>
              </a:extLst>
            </p:cNvPr>
            <p:cNvSpPr>
              <a:spLocks/>
            </p:cNvSpPr>
            <p:nvPr/>
          </p:nvSpPr>
          <p:spPr bwMode="auto">
            <a:xfrm>
              <a:off x="7271" y="1874"/>
              <a:ext cx="409" cy="565"/>
            </a:xfrm>
            <a:custGeom>
              <a:avLst/>
              <a:gdLst>
                <a:gd name="T0" fmla="*/ 404 w 654"/>
                <a:gd name="T1" fmla="*/ 376 h 903"/>
                <a:gd name="T2" fmla="*/ 287 w 654"/>
                <a:gd name="T3" fmla="*/ 354 h 903"/>
                <a:gd name="T4" fmla="*/ 202 w 654"/>
                <a:gd name="T5" fmla="*/ 264 h 903"/>
                <a:gd name="T6" fmla="*/ 321 w 654"/>
                <a:gd name="T7" fmla="*/ 171 h 903"/>
                <a:gd name="T8" fmla="*/ 478 w 654"/>
                <a:gd name="T9" fmla="*/ 270 h 903"/>
                <a:gd name="T10" fmla="*/ 617 w 654"/>
                <a:gd name="T11" fmla="*/ 163 h 903"/>
                <a:gd name="T12" fmla="*/ 322 w 654"/>
                <a:gd name="T13" fmla="*/ 0 h 903"/>
                <a:gd name="T14" fmla="*/ 12 w 654"/>
                <a:gd name="T15" fmla="*/ 279 h 903"/>
                <a:gd name="T16" fmla="*/ 247 w 654"/>
                <a:gd name="T17" fmla="*/ 523 h 903"/>
                <a:gd name="T18" fmla="*/ 366 w 654"/>
                <a:gd name="T19" fmla="*/ 546 h 903"/>
                <a:gd name="T20" fmla="*/ 459 w 654"/>
                <a:gd name="T21" fmla="*/ 642 h 903"/>
                <a:gd name="T22" fmla="*/ 336 w 654"/>
                <a:gd name="T23" fmla="*/ 734 h 903"/>
                <a:gd name="T24" fmla="*/ 143 w 654"/>
                <a:gd name="T25" fmla="*/ 594 h 903"/>
                <a:gd name="T26" fmla="*/ 0 w 654"/>
                <a:gd name="T27" fmla="*/ 704 h 903"/>
                <a:gd name="T28" fmla="*/ 334 w 654"/>
                <a:gd name="T29" fmla="*/ 903 h 903"/>
                <a:gd name="T30" fmla="*/ 654 w 654"/>
                <a:gd name="T31" fmla="*/ 629 h 903"/>
                <a:gd name="T32" fmla="*/ 404 w 654"/>
                <a:gd name="T33" fmla="*/ 376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4" h="903">
                  <a:moveTo>
                    <a:pt x="404" y="376"/>
                  </a:moveTo>
                  <a:cubicBezTo>
                    <a:pt x="287" y="354"/>
                    <a:pt x="287" y="354"/>
                    <a:pt x="287" y="354"/>
                  </a:cubicBezTo>
                  <a:cubicBezTo>
                    <a:pt x="228" y="344"/>
                    <a:pt x="202" y="305"/>
                    <a:pt x="202" y="264"/>
                  </a:cubicBezTo>
                  <a:cubicBezTo>
                    <a:pt x="202" y="216"/>
                    <a:pt x="249" y="171"/>
                    <a:pt x="321" y="171"/>
                  </a:cubicBezTo>
                  <a:cubicBezTo>
                    <a:pt x="403" y="171"/>
                    <a:pt x="451" y="222"/>
                    <a:pt x="478" y="270"/>
                  </a:cubicBezTo>
                  <a:cubicBezTo>
                    <a:pt x="617" y="163"/>
                    <a:pt x="617" y="163"/>
                    <a:pt x="617" y="163"/>
                  </a:cubicBezTo>
                  <a:cubicBezTo>
                    <a:pt x="578" y="79"/>
                    <a:pt x="491" y="0"/>
                    <a:pt x="322" y="0"/>
                  </a:cubicBezTo>
                  <a:cubicBezTo>
                    <a:pt x="156" y="0"/>
                    <a:pt x="12" y="115"/>
                    <a:pt x="12" y="279"/>
                  </a:cubicBezTo>
                  <a:cubicBezTo>
                    <a:pt x="12" y="407"/>
                    <a:pt x="101" y="496"/>
                    <a:pt x="247" y="523"/>
                  </a:cubicBezTo>
                  <a:cubicBezTo>
                    <a:pt x="366" y="546"/>
                    <a:pt x="366" y="546"/>
                    <a:pt x="366" y="546"/>
                  </a:cubicBezTo>
                  <a:cubicBezTo>
                    <a:pt x="423" y="557"/>
                    <a:pt x="459" y="597"/>
                    <a:pt x="459" y="642"/>
                  </a:cubicBezTo>
                  <a:cubicBezTo>
                    <a:pt x="459" y="695"/>
                    <a:pt x="413" y="734"/>
                    <a:pt x="336" y="734"/>
                  </a:cubicBezTo>
                  <a:cubicBezTo>
                    <a:pt x="219" y="734"/>
                    <a:pt x="161" y="649"/>
                    <a:pt x="143" y="594"/>
                  </a:cubicBezTo>
                  <a:cubicBezTo>
                    <a:pt x="0" y="704"/>
                    <a:pt x="0" y="704"/>
                    <a:pt x="0" y="704"/>
                  </a:cubicBezTo>
                  <a:cubicBezTo>
                    <a:pt x="41" y="806"/>
                    <a:pt x="144" y="903"/>
                    <a:pt x="334" y="903"/>
                  </a:cubicBezTo>
                  <a:cubicBezTo>
                    <a:pt x="541" y="903"/>
                    <a:pt x="654" y="765"/>
                    <a:pt x="654" y="629"/>
                  </a:cubicBezTo>
                  <a:cubicBezTo>
                    <a:pt x="654" y="506"/>
                    <a:pt x="569" y="407"/>
                    <a:pt x="404" y="37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18">
              <a:extLst>
                <a:ext uri="{FF2B5EF4-FFF2-40B4-BE49-F238E27FC236}">
                  <a16:creationId xmlns:a16="http://schemas.microsoft.com/office/drawing/2014/main" id="{06369091-6A79-4886-A89E-5D39AA36E0A7}"/>
                </a:ext>
              </a:extLst>
            </p:cNvPr>
            <p:cNvSpPr>
              <a:spLocks/>
            </p:cNvSpPr>
            <p:nvPr/>
          </p:nvSpPr>
          <p:spPr bwMode="auto">
            <a:xfrm>
              <a:off x="0" y="1622"/>
              <a:ext cx="857" cy="1076"/>
            </a:xfrm>
            <a:custGeom>
              <a:avLst/>
              <a:gdLst>
                <a:gd name="T0" fmla="*/ 859 w 1370"/>
                <a:gd name="T1" fmla="*/ 1020 h 1719"/>
                <a:gd name="T2" fmla="*/ 859 w 1370"/>
                <a:gd name="T3" fmla="*/ 1336 h 1719"/>
                <a:gd name="T4" fmla="*/ 383 w 1370"/>
                <a:gd name="T5" fmla="*/ 860 h 1719"/>
                <a:gd name="T6" fmla="*/ 859 w 1370"/>
                <a:gd name="T7" fmla="*/ 384 h 1719"/>
                <a:gd name="T8" fmla="*/ 859 w 1370"/>
                <a:gd name="T9" fmla="*/ 714 h 1719"/>
                <a:gd name="T10" fmla="*/ 1370 w 1370"/>
                <a:gd name="T11" fmla="*/ 169 h 1719"/>
                <a:gd name="T12" fmla="*/ 859 w 1370"/>
                <a:gd name="T13" fmla="*/ 0 h 1719"/>
                <a:gd name="T14" fmla="*/ 0 w 1370"/>
                <a:gd name="T15" fmla="*/ 860 h 1719"/>
                <a:gd name="T16" fmla="*/ 859 w 1370"/>
                <a:gd name="T17" fmla="*/ 1719 h 1719"/>
                <a:gd name="T18" fmla="*/ 1335 w 1370"/>
                <a:gd name="T19" fmla="*/ 1575 h 1719"/>
                <a:gd name="T20" fmla="*/ 859 w 1370"/>
                <a:gd name="T21" fmla="*/ 1020 h 1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70" h="1719">
                  <a:moveTo>
                    <a:pt x="859" y="1020"/>
                  </a:moveTo>
                  <a:cubicBezTo>
                    <a:pt x="859" y="1336"/>
                    <a:pt x="859" y="1336"/>
                    <a:pt x="859" y="1336"/>
                  </a:cubicBezTo>
                  <a:cubicBezTo>
                    <a:pt x="596" y="1336"/>
                    <a:pt x="383" y="1122"/>
                    <a:pt x="383" y="860"/>
                  </a:cubicBezTo>
                  <a:cubicBezTo>
                    <a:pt x="383" y="596"/>
                    <a:pt x="596" y="384"/>
                    <a:pt x="859" y="384"/>
                  </a:cubicBezTo>
                  <a:cubicBezTo>
                    <a:pt x="859" y="714"/>
                    <a:pt x="859" y="714"/>
                    <a:pt x="859" y="714"/>
                  </a:cubicBezTo>
                  <a:cubicBezTo>
                    <a:pt x="1370" y="169"/>
                    <a:pt x="1370" y="169"/>
                    <a:pt x="1370" y="169"/>
                  </a:cubicBezTo>
                  <a:cubicBezTo>
                    <a:pt x="1227" y="63"/>
                    <a:pt x="1051" y="0"/>
                    <a:pt x="859" y="0"/>
                  </a:cubicBezTo>
                  <a:cubicBezTo>
                    <a:pt x="385" y="0"/>
                    <a:pt x="0" y="385"/>
                    <a:pt x="0" y="860"/>
                  </a:cubicBezTo>
                  <a:cubicBezTo>
                    <a:pt x="0" y="1334"/>
                    <a:pt x="385" y="1719"/>
                    <a:pt x="859" y="1719"/>
                  </a:cubicBezTo>
                  <a:cubicBezTo>
                    <a:pt x="1035" y="1719"/>
                    <a:pt x="1199" y="1666"/>
                    <a:pt x="1335" y="1575"/>
                  </a:cubicBezTo>
                  <a:lnTo>
                    <a:pt x="859" y="10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19">
              <a:extLst>
                <a:ext uri="{FF2B5EF4-FFF2-40B4-BE49-F238E27FC236}">
                  <a16:creationId xmlns:a16="http://schemas.microsoft.com/office/drawing/2014/main" id="{3C4C6ED6-7F46-4A92-99EF-1F1DC26BF70C}"/>
                </a:ext>
              </a:extLst>
            </p:cNvPr>
            <p:cNvSpPr>
              <a:spLocks/>
            </p:cNvSpPr>
            <p:nvPr/>
          </p:nvSpPr>
          <p:spPr bwMode="auto">
            <a:xfrm>
              <a:off x="583" y="1854"/>
              <a:ext cx="491" cy="612"/>
            </a:xfrm>
            <a:custGeom>
              <a:avLst/>
              <a:gdLst>
                <a:gd name="T0" fmla="*/ 634 w 786"/>
                <a:gd name="T1" fmla="*/ 0 h 979"/>
                <a:gd name="T2" fmla="*/ 0 w 786"/>
                <a:gd name="T3" fmla="*/ 490 h 979"/>
                <a:gd name="T4" fmla="*/ 634 w 786"/>
                <a:gd name="T5" fmla="*/ 979 h 979"/>
                <a:gd name="T6" fmla="*/ 786 w 786"/>
                <a:gd name="T7" fmla="*/ 490 h 979"/>
                <a:gd name="T8" fmla="*/ 634 w 786"/>
                <a:gd name="T9" fmla="*/ 0 h 979"/>
              </a:gdLst>
              <a:ahLst/>
              <a:cxnLst>
                <a:cxn ang="0">
                  <a:pos x="T0" y="T1"/>
                </a:cxn>
                <a:cxn ang="0">
                  <a:pos x="T2" y="T3"/>
                </a:cxn>
                <a:cxn ang="0">
                  <a:pos x="T4" y="T5"/>
                </a:cxn>
                <a:cxn ang="0">
                  <a:pos x="T6" y="T7"/>
                </a:cxn>
                <a:cxn ang="0">
                  <a:pos x="T8" y="T9"/>
                </a:cxn>
              </a:cxnLst>
              <a:rect l="0" t="0" r="r" b="b"/>
              <a:pathLst>
                <a:path w="786" h="979">
                  <a:moveTo>
                    <a:pt x="634" y="0"/>
                  </a:moveTo>
                  <a:cubicBezTo>
                    <a:pt x="0" y="490"/>
                    <a:pt x="0" y="490"/>
                    <a:pt x="0" y="490"/>
                  </a:cubicBezTo>
                  <a:cubicBezTo>
                    <a:pt x="634" y="979"/>
                    <a:pt x="634" y="979"/>
                    <a:pt x="634" y="979"/>
                  </a:cubicBezTo>
                  <a:cubicBezTo>
                    <a:pt x="730" y="840"/>
                    <a:pt x="786" y="671"/>
                    <a:pt x="786" y="490"/>
                  </a:cubicBezTo>
                  <a:cubicBezTo>
                    <a:pt x="786" y="308"/>
                    <a:pt x="730" y="139"/>
                    <a:pt x="6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474210433"/>
      </p:ext>
    </p:extLst>
  </p:cSld>
  <p:clrMapOvr>
    <a:masterClrMapping/>
  </p:clrMapOvr>
  <p:transition>
    <p:fade/>
  </p:transition>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wo Content Dark Lef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D86AC41-762B-4924-A899-F81343A12E1E}"/>
              </a:ext>
            </a:extLst>
          </p:cNvPr>
          <p:cNvSpPr/>
          <p:nvPr/>
        </p:nvSpPr>
        <p:spPr>
          <a:xfrm>
            <a:off x="906" y="-1"/>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42" dirty="0"/>
          </a:p>
        </p:txBody>
      </p:sp>
      <p:sp>
        <p:nvSpPr>
          <p:cNvPr id="4" name="Content Placeholder 3"/>
          <p:cNvSpPr>
            <a:spLocks noGrp="1"/>
          </p:cNvSpPr>
          <p:nvPr>
            <p:ph sz="half" idx="2"/>
          </p:nvPr>
        </p:nvSpPr>
        <p:spPr>
          <a:xfrm>
            <a:off x="410878" y="1521183"/>
            <a:ext cx="5292112" cy="4494732"/>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2"/>
          <p:cNvSpPr>
            <a:spLocks noGrp="1"/>
          </p:cNvSpPr>
          <p:nvPr>
            <p:ph sz="half" idx="1"/>
          </p:nvPr>
        </p:nvSpPr>
        <p:spPr>
          <a:xfrm>
            <a:off x="6480442" y="1521183"/>
            <a:ext cx="5292000" cy="44947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lvl1pPr>
              <a:defRPr>
                <a:solidFill>
                  <a:schemeClr val="bg1"/>
                </a:solidFill>
              </a:defRPr>
            </a:lvl1pPr>
          </a:lstStyle>
          <a:p>
            <a:r>
              <a:rPr lang="en-US"/>
              <a:t>Document Name</a:t>
            </a:r>
            <a:endParaRPr lang="en-US"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32B354EE-31EA-4FC2-9496-7B6202183237}" type="slidenum">
              <a:rPr lang="en-US" smtClean="0"/>
              <a:pPr/>
              <a:t>‹#›</a:t>
            </a:fld>
            <a:endParaRPr lang="en-US" dirty="0"/>
          </a:p>
        </p:txBody>
      </p:sp>
      <p:sp>
        <p:nvSpPr>
          <p:cNvPr id="8" name="Title 7">
            <a:extLst>
              <a:ext uri="{FF2B5EF4-FFF2-40B4-BE49-F238E27FC236}">
                <a16:creationId xmlns:a16="http://schemas.microsoft.com/office/drawing/2014/main" id="{FD930A9A-C0DD-4B8F-B286-D07D532A2ED0}"/>
              </a:ext>
            </a:extLst>
          </p:cNvPr>
          <p:cNvSpPr>
            <a:spLocks noGrp="1"/>
          </p:cNvSpPr>
          <p:nvPr>
            <p:ph type="title"/>
          </p:nvPr>
        </p:nvSpPr>
        <p:spPr>
          <a:xfrm>
            <a:off x="6487250" y="411163"/>
            <a:ext cx="5292000" cy="776038"/>
          </a:xfrm>
        </p:spPr>
        <p:txBody>
          <a:bodyPr/>
          <a:lstStyle/>
          <a:p>
            <a:r>
              <a:rPr lang="en-US"/>
              <a:t>Click to edit Master title style</a:t>
            </a:r>
            <a:endParaRPr lang="en-US" dirty="0"/>
          </a:p>
        </p:txBody>
      </p:sp>
    </p:spTree>
    <p:extLst>
      <p:ext uri="{BB962C8B-B14F-4D97-AF65-F5344CB8AC3E}">
        <p14:creationId xmlns:p14="http://schemas.microsoft.com/office/powerpoint/2010/main" val="2359413323"/>
      </p:ext>
    </p:extLst>
  </p:cSld>
  <p:clrMapOvr>
    <a:masterClrMapping/>
  </p:clrMapOvr>
  <p:transition>
    <p:fade/>
  </p:transition>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tx1"/>
        </a:solidFill>
        <a:effectLst/>
      </p:bgPr>
    </p:bg>
    <p:spTree>
      <p:nvGrpSpPr>
        <p:cNvPr id="1" name=""/>
        <p:cNvGrpSpPr/>
        <p:nvPr/>
      </p:nvGrpSpPr>
      <p:grpSpPr>
        <a:xfrm>
          <a:off x="0" y="0"/>
          <a:ext cx="0" cy="0"/>
          <a:chOff x="0" y="0"/>
          <a:chExt cx="0" cy="0"/>
        </a:xfrm>
      </p:grpSpPr>
      <p:grpSp>
        <p:nvGrpSpPr>
          <p:cNvPr id="17" name="Group 4">
            <a:extLst>
              <a:ext uri="{FF2B5EF4-FFF2-40B4-BE49-F238E27FC236}">
                <a16:creationId xmlns:a16="http://schemas.microsoft.com/office/drawing/2014/main" id="{B725D07D-06C0-459D-857E-391302C20C8B}"/>
              </a:ext>
            </a:extLst>
          </p:cNvPr>
          <p:cNvGrpSpPr>
            <a:grpSpLocks noChangeAspect="1"/>
          </p:cNvGrpSpPr>
          <p:nvPr/>
        </p:nvGrpSpPr>
        <p:grpSpPr bwMode="auto">
          <a:xfrm>
            <a:off x="3468000" y="3060800"/>
            <a:ext cx="5256000" cy="736399"/>
            <a:chOff x="0" y="1622"/>
            <a:chExt cx="7680" cy="1076"/>
          </a:xfrm>
          <a:solidFill>
            <a:schemeClr val="bg1"/>
          </a:solidFill>
        </p:grpSpPr>
        <p:sp>
          <p:nvSpPr>
            <p:cNvPr id="18" name="Freeform 5">
              <a:extLst>
                <a:ext uri="{FF2B5EF4-FFF2-40B4-BE49-F238E27FC236}">
                  <a16:creationId xmlns:a16="http://schemas.microsoft.com/office/drawing/2014/main" id="{E1BF17F4-6979-4E8A-A4E9-43502326D61E}"/>
                </a:ext>
              </a:extLst>
            </p:cNvPr>
            <p:cNvSpPr>
              <a:spLocks/>
            </p:cNvSpPr>
            <p:nvPr/>
          </p:nvSpPr>
          <p:spPr bwMode="auto">
            <a:xfrm>
              <a:off x="1489" y="1874"/>
              <a:ext cx="479" cy="565"/>
            </a:xfrm>
            <a:custGeom>
              <a:avLst/>
              <a:gdLst>
                <a:gd name="T0" fmla="*/ 766 w 766"/>
                <a:gd name="T1" fmla="*/ 745 h 903"/>
                <a:gd name="T2" fmla="*/ 447 w 766"/>
                <a:gd name="T3" fmla="*/ 903 h 903"/>
                <a:gd name="T4" fmla="*/ 0 w 766"/>
                <a:gd name="T5" fmla="*/ 452 h 903"/>
                <a:gd name="T6" fmla="*/ 447 w 766"/>
                <a:gd name="T7" fmla="*/ 0 h 903"/>
                <a:gd name="T8" fmla="*/ 745 w 766"/>
                <a:gd name="T9" fmla="*/ 136 h 903"/>
                <a:gd name="T10" fmla="*/ 668 w 766"/>
                <a:gd name="T11" fmla="*/ 193 h 903"/>
                <a:gd name="T12" fmla="*/ 447 w 766"/>
                <a:gd name="T13" fmla="*/ 80 h 903"/>
                <a:gd name="T14" fmla="*/ 94 w 766"/>
                <a:gd name="T15" fmla="*/ 452 h 903"/>
                <a:gd name="T16" fmla="*/ 447 w 766"/>
                <a:gd name="T17" fmla="*/ 823 h 903"/>
                <a:gd name="T18" fmla="*/ 694 w 766"/>
                <a:gd name="T19" fmla="*/ 694 h 903"/>
                <a:gd name="T20" fmla="*/ 766 w 766"/>
                <a:gd name="T21" fmla="*/ 745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6" h="903">
                  <a:moveTo>
                    <a:pt x="766" y="745"/>
                  </a:moveTo>
                  <a:cubicBezTo>
                    <a:pt x="708" y="834"/>
                    <a:pt x="590" y="903"/>
                    <a:pt x="447" y="903"/>
                  </a:cubicBezTo>
                  <a:cubicBezTo>
                    <a:pt x="192" y="903"/>
                    <a:pt x="0" y="713"/>
                    <a:pt x="0" y="452"/>
                  </a:cubicBezTo>
                  <a:cubicBezTo>
                    <a:pt x="0" y="191"/>
                    <a:pt x="192" y="0"/>
                    <a:pt x="447" y="0"/>
                  </a:cubicBezTo>
                  <a:cubicBezTo>
                    <a:pt x="554" y="0"/>
                    <a:pt x="670" y="40"/>
                    <a:pt x="745" y="136"/>
                  </a:cubicBezTo>
                  <a:cubicBezTo>
                    <a:pt x="668" y="193"/>
                    <a:pt x="668" y="193"/>
                    <a:pt x="668" y="193"/>
                  </a:cubicBezTo>
                  <a:cubicBezTo>
                    <a:pt x="634" y="137"/>
                    <a:pt x="539" y="80"/>
                    <a:pt x="447" y="80"/>
                  </a:cubicBezTo>
                  <a:cubicBezTo>
                    <a:pt x="226" y="80"/>
                    <a:pt x="94" y="254"/>
                    <a:pt x="94" y="452"/>
                  </a:cubicBezTo>
                  <a:cubicBezTo>
                    <a:pt x="94" y="650"/>
                    <a:pt x="226" y="823"/>
                    <a:pt x="447" y="823"/>
                  </a:cubicBezTo>
                  <a:cubicBezTo>
                    <a:pt x="537" y="823"/>
                    <a:pt x="630" y="793"/>
                    <a:pt x="694" y="694"/>
                  </a:cubicBezTo>
                  <a:lnTo>
                    <a:pt x="766" y="7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6">
              <a:extLst>
                <a:ext uri="{FF2B5EF4-FFF2-40B4-BE49-F238E27FC236}">
                  <a16:creationId xmlns:a16="http://schemas.microsoft.com/office/drawing/2014/main" id="{83EE2477-A1D5-47D2-A28D-D441999582C6}"/>
                </a:ext>
              </a:extLst>
            </p:cNvPr>
            <p:cNvSpPr>
              <a:spLocks noEditPoints="1"/>
            </p:cNvSpPr>
            <p:nvPr/>
          </p:nvSpPr>
          <p:spPr bwMode="auto">
            <a:xfrm>
              <a:off x="2014" y="1874"/>
              <a:ext cx="560" cy="565"/>
            </a:xfrm>
            <a:custGeom>
              <a:avLst/>
              <a:gdLst>
                <a:gd name="T0" fmla="*/ 448 w 896"/>
                <a:gd name="T1" fmla="*/ 80 h 903"/>
                <a:gd name="T2" fmla="*/ 95 w 896"/>
                <a:gd name="T3" fmla="*/ 452 h 903"/>
                <a:gd name="T4" fmla="*/ 448 w 896"/>
                <a:gd name="T5" fmla="*/ 823 h 903"/>
                <a:gd name="T6" fmla="*/ 801 w 896"/>
                <a:gd name="T7" fmla="*/ 452 h 903"/>
                <a:gd name="T8" fmla="*/ 448 w 896"/>
                <a:gd name="T9" fmla="*/ 80 h 903"/>
                <a:gd name="T10" fmla="*/ 448 w 896"/>
                <a:gd name="T11" fmla="*/ 903 h 903"/>
                <a:gd name="T12" fmla="*/ 0 w 896"/>
                <a:gd name="T13" fmla="*/ 452 h 903"/>
                <a:gd name="T14" fmla="*/ 448 w 896"/>
                <a:gd name="T15" fmla="*/ 0 h 903"/>
                <a:gd name="T16" fmla="*/ 896 w 896"/>
                <a:gd name="T17" fmla="*/ 452 h 903"/>
                <a:gd name="T18" fmla="*/ 448 w 896"/>
                <a:gd name="T19" fmla="*/ 903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6" h="903">
                  <a:moveTo>
                    <a:pt x="448" y="80"/>
                  </a:moveTo>
                  <a:cubicBezTo>
                    <a:pt x="227" y="80"/>
                    <a:pt x="95" y="254"/>
                    <a:pt x="95" y="452"/>
                  </a:cubicBezTo>
                  <a:cubicBezTo>
                    <a:pt x="95" y="649"/>
                    <a:pt x="227" y="823"/>
                    <a:pt x="448" y="823"/>
                  </a:cubicBezTo>
                  <a:cubicBezTo>
                    <a:pt x="669" y="823"/>
                    <a:pt x="801" y="649"/>
                    <a:pt x="801" y="452"/>
                  </a:cubicBezTo>
                  <a:cubicBezTo>
                    <a:pt x="801" y="254"/>
                    <a:pt x="669" y="80"/>
                    <a:pt x="448" y="80"/>
                  </a:cubicBezTo>
                  <a:moveTo>
                    <a:pt x="448" y="903"/>
                  </a:moveTo>
                  <a:cubicBezTo>
                    <a:pt x="192" y="903"/>
                    <a:pt x="0" y="712"/>
                    <a:pt x="0" y="452"/>
                  </a:cubicBezTo>
                  <a:cubicBezTo>
                    <a:pt x="0" y="191"/>
                    <a:pt x="192" y="0"/>
                    <a:pt x="448" y="0"/>
                  </a:cubicBezTo>
                  <a:cubicBezTo>
                    <a:pt x="704" y="0"/>
                    <a:pt x="896" y="191"/>
                    <a:pt x="896" y="452"/>
                  </a:cubicBezTo>
                  <a:cubicBezTo>
                    <a:pt x="896" y="712"/>
                    <a:pt x="704" y="903"/>
                    <a:pt x="448" y="90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7">
              <a:extLst>
                <a:ext uri="{FF2B5EF4-FFF2-40B4-BE49-F238E27FC236}">
                  <a16:creationId xmlns:a16="http://schemas.microsoft.com/office/drawing/2014/main" id="{993236D5-14AB-44B6-90BF-AD61694E44E0}"/>
                </a:ext>
              </a:extLst>
            </p:cNvPr>
            <p:cNvSpPr>
              <a:spLocks/>
            </p:cNvSpPr>
            <p:nvPr/>
          </p:nvSpPr>
          <p:spPr bwMode="auto">
            <a:xfrm>
              <a:off x="2672" y="1888"/>
              <a:ext cx="305" cy="538"/>
            </a:xfrm>
            <a:custGeom>
              <a:avLst/>
              <a:gdLst>
                <a:gd name="T0" fmla="*/ 0 w 305"/>
                <a:gd name="T1" fmla="*/ 0 h 538"/>
                <a:gd name="T2" fmla="*/ 0 w 305"/>
                <a:gd name="T3" fmla="*/ 538 h 538"/>
                <a:gd name="T4" fmla="*/ 305 w 305"/>
                <a:gd name="T5" fmla="*/ 538 h 538"/>
                <a:gd name="T6" fmla="*/ 305 w 305"/>
                <a:gd name="T7" fmla="*/ 488 h 538"/>
                <a:gd name="T8" fmla="*/ 55 w 305"/>
                <a:gd name="T9" fmla="*/ 488 h 538"/>
                <a:gd name="T10" fmla="*/ 55 w 305"/>
                <a:gd name="T11" fmla="*/ 0 h 538"/>
                <a:gd name="T12" fmla="*/ 0 w 305"/>
                <a:gd name="T13" fmla="*/ 0 h 538"/>
              </a:gdLst>
              <a:ahLst/>
              <a:cxnLst>
                <a:cxn ang="0">
                  <a:pos x="T0" y="T1"/>
                </a:cxn>
                <a:cxn ang="0">
                  <a:pos x="T2" y="T3"/>
                </a:cxn>
                <a:cxn ang="0">
                  <a:pos x="T4" y="T5"/>
                </a:cxn>
                <a:cxn ang="0">
                  <a:pos x="T6" y="T7"/>
                </a:cxn>
                <a:cxn ang="0">
                  <a:pos x="T8" y="T9"/>
                </a:cxn>
                <a:cxn ang="0">
                  <a:pos x="T10" y="T11"/>
                </a:cxn>
                <a:cxn ang="0">
                  <a:pos x="T12" y="T13"/>
                </a:cxn>
              </a:cxnLst>
              <a:rect l="0" t="0" r="r" b="b"/>
              <a:pathLst>
                <a:path w="305" h="538">
                  <a:moveTo>
                    <a:pt x="0" y="0"/>
                  </a:moveTo>
                  <a:lnTo>
                    <a:pt x="0" y="538"/>
                  </a:lnTo>
                  <a:lnTo>
                    <a:pt x="305" y="538"/>
                  </a:lnTo>
                  <a:lnTo>
                    <a:pt x="305" y="488"/>
                  </a:lnTo>
                  <a:lnTo>
                    <a:pt x="55" y="488"/>
                  </a:lnTo>
                  <a:lnTo>
                    <a:pt x="55"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8">
              <a:extLst>
                <a:ext uri="{FF2B5EF4-FFF2-40B4-BE49-F238E27FC236}">
                  <a16:creationId xmlns:a16="http://schemas.microsoft.com/office/drawing/2014/main" id="{D9773CA7-EBE5-4889-A39A-9545F2E6978C}"/>
                </a:ext>
              </a:extLst>
            </p:cNvPr>
            <p:cNvSpPr>
              <a:spLocks noEditPoints="1"/>
            </p:cNvSpPr>
            <p:nvPr/>
          </p:nvSpPr>
          <p:spPr bwMode="auto">
            <a:xfrm>
              <a:off x="2997" y="1874"/>
              <a:ext cx="561" cy="565"/>
            </a:xfrm>
            <a:custGeom>
              <a:avLst/>
              <a:gdLst>
                <a:gd name="T0" fmla="*/ 448 w 896"/>
                <a:gd name="T1" fmla="*/ 80 h 903"/>
                <a:gd name="T2" fmla="*/ 95 w 896"/>
                <a:gd name="T3" fmla="*/ 452 h 903"/>
                <a:gd name="T4" fmla="*/ 448 w 896"/>
                <a:gd name="T5" fmla="*/ 823 h 903"/>
                <a:gd name="T6" fmla="*/ 801 w 896"/>
                <a:gd name="T7" fmla="*/ 452 h 903"/>
                <a:gd name="T8" fmla="*/ 448 w 896"/>
                <a:gd name="T9" fmla="*/ 80 h 903"/>
                <a:gd name="T10" fmla="*/ 448 w 896"/>
                <a:gd name="T11" fmla="*/ 903 h 903"/>
                <a:gd name="T12" fmla="*/ 0 w 896"/>
                <a:gd name="T13" fmla="*/ 452 h 903"/>
                <a:gd name="T14" fmla="*/ 448 w 896"/>
                <a:gd name="T15" fmla="*/ 0 h 903"/>
                <a:gd name="T16" fmla="*/ 896 w 896"/>
                <a:gd name="T17" fmla="*/ 452 h 903"/>
                <a:gd name="T18" fmla="*/ 448 w 896"/>
                <a:gd name="T19" fmla="*/ 903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6" h="903">
                  <a:moveTo>
                    <a:pt x="448" y="80"/>
                  </a:moveTo>
                  <a:cubicBezTo>
                    <a:pt x="227" y="80"/>
                    <a:pt x="95" y="254"/>
                    <a:pt x="95" y="452"/>
                  </a:cubicBezTo>
                  <a:cubicBezTo>
                    <a:pt x="95" y="649"/>
                    <a:pt x="227" y="823"/>
                    <a:pt x="448" y="823"/>
                  </a:cubicBezTo>
                  <a:cubicBezTo>
                    <a:pt x="669" y="823"/>
                    <a:pt x="801" y="649"/>
                    <a:pt x="801" y="452"/>
                  </a:cubicBezTo>
                  <a:cubicBezTo>
                    <a:pt x="801" y="254"/>
                    <a:pt x="669" y="80"/>
                    <a:pt x="448" y="80"/>
                  </a:cubicBezTo>
                  <a:moveTo>
                    <a:pt x="448" y="903"/>
                  </a:moveTo>
                  <a:cubicBezTo>
                    <a:pt x="192" y="903"/>
                    <a:pt x="0" y="712"/>
                    <a:pt x="0" y="452"/>
                  </a:cubicBezTo>
                  <a:cubicBezTo>
                    <a:pt x="0" y="191"/>
                    <a:pt x="192" y="0"/>
                    <a:pt x="448" y="0"/>
                  </a:cubicBezTo>
                  <a:cubicBezTo>
                    <a:pt x="704" y="0"/>
                    <a:pt x="896" y="191"/>
                    <a:pt x="896" y="452"/>
                  </a:cubicBezTo>
                  <a:cubicBezTo>
                    <a:pt x="896" y="712"/>
                    <a:pt x="704" y="903"/>
                    <a:pt x="448" y="90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9">
              <a:extLst>
                <a:ext uri="{FF2B5EF4-FFF2-40B4-BE49-F238E27FC236}">
                  <a16:creationId xmlns:a16="http://schemas.microsoft.com/office/drawing/2014/main" id="{18BEB8AE-4D8A-4C90-B4CF-9BA47A0F5CC4}"/>
                </a:ext>
              </a:extLst>
            </p:cNvPr>
            <p:cNvSpPr>
              <a:spLocks/>
            </p:cNvSpPr>
            <p:nvPr/>
          </p:nvSpPr>
          <p:spPr bwMode="auto">
            <a:xfrm>
              <a:off x="4182" y="1888"/>
              <a:ext cx="503" cy="538"/>
            </a:xfrm>
            <a:custGeom>
              <a:avLst/>
              <a:gdLst>
                <a:gd name="T0" fmla="*/ 0 w 503"/>
                <a:gd name="T1" fmla="*/ 0 h 538"/>
                <a:gd name="T2" fmla="*/ 119 w 503"/>
                <a:gd name="T3" fmla="*/ 0 h 538"/>
                <a:gd name="T4" fmla="*/ 119 w 503"/>
                <a:gd name="T5" fmla="*/ 243 h 538"/>
                <a:gd name="T6" fmla="*/ 327 w 503"/>
                <a:gd name="T7" fmla="*/ 0 h 538"/>
                <a:gd name="T8" fmla="*/ 482 w 503"/>
                <a:gd name="T9" fmla="*/ 0 h 538"/>
                <a:gd name="T10" fmla="*/ 243 w 503"/>
                <a:gd name="T11" fmla="*/ 270 h 538"/>
                <a:gd name="T12" fmla="*/ 503 w 503"/>
                <a:gd name="T13" fmla="*/ 538 h 538"/>
                <a:gd name="T14" fmla="*/ 337 w 503"/>
                <a:gd name="T15" fmla="*/ 538 h 538"/>
                <a:gd name="T16" fmla="*/ 119 w 503"/>
                <a:gd name="T17" fmla="*/ 302 h 538"/>
                <a:gd name="T18" fmla="*/ 119 w 503"/>
                <a:gd name="T19" fmla="*/ 538 h 538"/>
                <a:gd name="T20" fmla="*/ 0 w 503"/>
                <a:gd name="T21" fmla="*/ 538 h 538"/>
                <a:gd name="T22" fmla="*/ 0 w 503"/>
                <a:gd name="T23"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3" h="538">
                  <a:moveTo>
                    <a:pt x="0" y="0"/>
                  </a:moveTo>
                  <a:lnTo>
                    <a:pt x="119" y="0"/>
                  </a:lnTo>
                  <a:lnTo>
                    <a:pt x="119" y="243"/>
                  </a:lnTo>
                  <a:lnTo>
                    <a:pt x="327" y="0"/>
                  </a:lnTo>
                  <a:lnTo>
                    <a:pt x="482" y="0"/>
                  </a:lnTo>
                  <a:lnTo>
                    <a:pt x="243" y="270"/>
                  </a:lnTo>
                  <a:lnTo>
                    <a:pt x="503" y="538"/>
                  </a:lnTo>
                  <a:lnTo>
                    <a:pt x="337" y="538"/>
                  </a:lnTo>
                  <a:lnTo>
                    <a:pt x="119" y="302"/>
                  </a:lnTo>
                  <a:lnTo>
                    <a:pt x="119" y="538"/>
                  </a:lnTo>
                  <a:lnTo>
                    <a:pt x="0" y="53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Rectangle 10">
              <a:extLst>
                <a:ext uri="{FF2B5EF4-FFF2-40B4-BE49-F238E27FC236}">
                  <a16:creationId xmlns:a16="http://schemas.microsoft.com/office/drawing/2014/main" id="{D6F3A163-D040-4324-977A-7456CD8A42D1}"/>
                </a:ext>
              </a:extLst>
            </p:cNvPr>
            <p:cNvSpPr>
              <a:spLocks noChangeArrowheads="1"/>
            </p:cNvSpPr>
            <p:nvPr/>
          </p:nvSpPr>
          <p:spPr bwMode="auto">
            <a:xfrm>
              <a:off x="4743" y="1888"/>
              <a:ext cx="118" cy="5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11">
              <a:extLst>
                <a:ext uri="{FF2B5EF4-FFF2-40B4-BE49-F238E27FC236}">
                  <a16:creationId xmlns:a16="http://schemas.microsoft.com/office/drawing/2014/main" id="{726C14BA-010A-4383-BBF7-EB7534B541AD}"/>
                </a:ext>
              </a:extLst>
            </p:cNvPr>
            <p:cNvSpPr>
              <a:spLocks/>
            </p:cNvSpPr>
            <p:nvPr/>
          </p:nvSpPr>
          <p:spPr bwMode="auto">
            <a:xfrm>
              <a:off x="4980" y="1888"/>
              <a:ext cx="509" cy="538"/>
            </a:xfrm>
            <a:custGeom>
              <a:avLst/>
              <a:gdLst>
                <a:gd name="T0" fmla="*/ 0 w 509"/>
                <a:gd name="T1" fmla="*/ 0 h 538"/>
                <a:gd name="T2" fmla="*/ 160 w 509"/>
                <a:gd name="T3" fmla="*/ 0 h 538"/>
                <a:gd name="T4" fmla="*/ 389 w 509"/>
                <a:gd name="T5" fmla="*/ 374 h 538"/>
                <a:gd name="T6" fmla="*/ 391 w 509"/>
                <a:gd name="T7" fmla="*/ 374 h 538"/>
                <a:gd name="T8" fmla="*/ 391 w 509"/>
                <a:gd name="T9" fmla="*/ 0 h 538"/>
                <a:gd name="T10" fmla="*/ 509 w 509"/>
                <a:gd name="T11" fmla="*/ 0 h 538"/>
                <a:gd name="T12" fmla="*/ 509 w 509"/>
                <a:gd name="T13" fmla="*/ 538 h 538"/>
                <a:gd name="T14" fmla="*/ 354 w 509"/>
                <a:gd name="T15" fmla="*/ 538 h 538"/>
                <a:gd name="T16" fmla="*/ 120 w 509"/>
                <a:gd name="T17" fmla="*/ 155 h 538"/>
                <a:gd name="T18" fmla="*/ 118 w 509"/>
                <a:gd name="T19" fmla="*/ 155 h 538"/>
                <a:gd name="T20" fmla="*/ 118 w 509"/>
                <a:gd name="T21" fmla="*/ 538 h 538"/>
                <a:gd name="T22" fmla="*/ 0 w 509"/>
                <a:gd name="T23" fmla="*/ 538 h 538"/>
                <a:gd name="T24" fmla="*/ 0 w 509"/>
                <a:gd name="T25"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9" h="538">
                  <a:moveTo>
                    <a:pt x="0" y="0"/>
                  </a:moveTo>
                  <a:lnTo>
                    <a:pt x="160" y="0"/>
                  </a:lnTo>
                  <a:lnTo>
                    <a:pt x="389" y="374"/>
                  </a:lnTo>
                  <a:lnTo>
                    <a:pt x="391" y="374"/>
                  </a:lnTo>
                  <a:lnTo>
                    <a:pt x="391" y="0"/>
                  </a:lnTo>
                  <a:lnTo>
                    <a:pt x="509" y="0"/>
                  </a:lnTo>
                  <a:lnTo>
                    <a:pt x="509" y="538"/>
                  </a:lnTo>
                  <a:lnTo>
                    <a:pt x="354" y="538"/>
                  </a:lnTo>
                  <a:lnTo>
                    <a:pt x="120" y="155"/>
                  </a:lnTo>
                  <a:lnTo>
                    <a:pt x="118" y="155"/>
                  </a:lnTo>
                  <a:lnTo>
                    <a:pt x="118" y="538"/>
                  </a:lnTo>
                  <a:lnTo>
                    <a:pt x="0" y="53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12">
              <a:extLst>
                <a:ext uri="{FF2B5EF4-FFF2-40B4-BE49-F238E27FC236}">
                  <a16:creationId xmlns:a16="http://schemas.microsoft.com/office/drawing/2014/main" id="{DED85E77-F8F2-4161-9BB8-0F59AD977FBB}"/>
                </a:ext>
              </a:extLst>
            </p:cNvPr>
            <p:cNvSpPr>
              <a:spLocks/>
            </p:cNvSpPr>
            <p:nvPr/>
          </p:nvSpPr>
          <p:spPr bwMode="auto">
            <a:xfrm>
              <a:off x="5608" y="1888"/>
              <a:ext cx="378" cy="538"/>
            </a:xfrm>
            <a:custGeom>
              <a:avLst/>
              <a:gdLst>
                <a:gd name="T0" fmla="*/ 0 w 378"/>
                <a:gd name="T1" fmla="*/ 0 h 538"/>
                <a:gd name="T2" fmla="*/ 0 w 378"/>
                <a:gd name="T3" fmla="*/ 538 h 538"/>
                <a:gd name="T4" fmla="*/ 378 w 378"/>
                <a:gd name="T5" fmla="*/ 538 h 538"/>
                <a:gd name="T6" fmla="*/ 378 w 378"/>
                <a:gd name="T7" fmla="*/ 433 h 538"/>
                <a:gd name="T8" fmla="*/ 118 w 378"/>
                <a:gd name="T9" fmla="*/ 433 h 538"/>
                <a:gd name="T10" fmla="*/ 118 w 378"/>
                <a:gd name="T11" fmla="*/ 319 h 538"/>
                <a:gd name="T12" fmla="*/ 351 w 378"/>
                <a:gd name="T13" fmla="*/ 319 h 538"/>
                <a:gd name="T14" fmla="*/ 351 w 378"/>
                <a:gd name="T15" fmla="*/ 210 h 538"/>
                <a:gd name="T16" fmla="*/ 118 w 378"/>
                <a:gd name="T17" fmla="*/ 210 h 538"/>
                <a:gd name="T18" fmla="*/ 118 w 378"/>
                <a:gd name="T19" fmla="*/ 105 h 538"/>
                <a:gd name="T20" fmla="*/ 364 w 378"/>
                <a:gd name="T21" fmla="*/ 105 h 538"/>
                <a:gd name="T22" fmla="*/ 364 w 378"/>
                <a:gd name="T23" fmla="*/ 0 h 538"/>
                <a:gd name="T24" fmla="*/ 0 w 378"/>
                <a:gd name="T25"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8" h="538">
                  <a:moveTo>
                    <a:pt x="0" y="0"/>
                  </a:moveTo>
                  <a:lnTo>
                    <a:pt x="0" y="538"/>
                  </a:lnTo>
                  <a:lnTo>
                    <a:pt x="378" y="538"/>
                  </a:lnTo>
                  <a:lnTo>
                    <a:pt x="378" y="433"/>
                  </a:lnTo>
                  <a:lnTo>
                    <a:pt x="118" y="433"/>
                  </a:lnTo>
                  <a:lnTo>
                    <a:pt x="118" y="319"/>
                  </a:lnTo>
                  <a:lnTo>
                    <a:pt x="351" y="319"/>
                  </a:lnTo>
                  <a:lnTo>
                    <a:pt x="351" y="210"/>
                  </a:lnTo>
                  <a:lnTo>
                    <a:pt x="118" y="210"/>
                  </a:lnTo>
                  <a:lnTo>
                    <a:pt x="118" y="105"/>
                  </a:lnTo>
                  <a:lnTo>
                    <a:pt x="364" y="105"/>
                  </a:lnTo>
                  <a:lnTo>
                    <a:pt x="364"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13">
              <a:extLst>
                <a:ext uri="{FF2B5EF4-FFF2-40B4-BE49-F238E27FC236}">
                  <a16:creationId xmlns:a16="http://schemas.microsoft.com/office/drawing/2014/main" id="{879C6382-FCA3-4083-8AFE-BA95CD2D4AEB}"/>
                </a:ext>
              </a:extLst>
            </p:cNvPr>
            <p:cNvSpPr>
              <a:spLocks/>
            </p:cNvSpPr>
            <p:nvPr/>
          </p:nvSpPr>
          <p:spPr bwMode="auto">
            <a:xfrm>
              <a:off x="6052" y="1888"/>
              <a:ext cx="424" cy="538"/>
            </a:xfrm>
            <a:custGeom>
              <a:avLst/>
              <a:gdLst>
                <a:gd name="T0" fmla="*/ 0 w 424"/>
                <a:gd name="T1" fmla="*/ 0 h 538"/>
                <a:gd name="T2" fmla="*/ 0 w 424"/>
                <a:gd name="T3" fmla="*/ 105 h 538"/>
                <a:gd name="T4" fmla="*/ 152 w 424"/>
                <a:gd name="T5" fmla="*/ 105 h 538"/>
                <a:gd name="T6" fmla="*/ 152 w 424"/>
                <a:gd name="T7" fmla="*/ 538 h 538"/>
                <a:gd name="T8" fmla="*/ 271 w 424"/>
                <a:gd name="T9" fmla="*/ 538 h 538"/>
                <a:gd name="T10" fmla="*/ 271 w 424"/>
                <a:gd name="T11" fmla="*/ 105 h 538"/>
                <a:gd name="T12" fmla="*/ 424 w 424"/>
                <a:gd name="T13" fmla="*/ 105 h 538"/>
                <a:gd name="T14" fmla="*/ 424 w 424"/>
                <a:gd name="T15" fmla="*/ 0 h 538"/>
                <a:gd name="T16" fmla="*/ 0 w 424"/>
                <a:gd name="T17"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4" h="538">
                  <a:moveTo>
                    <a:pt x="0" y="0"/>
                  </a:moveTo>
                  <a:lnTo>
                    <a:pt x="0" y="105"/>
                  </a:lnTo>
                  <a:lnTo>
                    <a:pt x="152" y="105"/>
                  </a:lnTo>
                  <a:lnTo>
                    <a:pt x="152" y="538"/>
                  </a:lnTo>
                  <a:lnTo>
                    <a:pt x="271" y="538"/>
                  </a:lnTo>
                  <a:lnTo>
                    <a:pt x="271" y="105"/>
                  </a:lnTo>
                  <a:lnTo>
                    <a:pt x="424" y="105"/>
                  </a:lnTo>
                  <a:lnTo>
                    <a:pt x="424"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Rectangle 14">
              <a:extLst>
                <a:ext uri="{FF2B5EF4-FFF2-40B4-BE49-F238E27FC236}">
                  <a16:creationId xmlns:a16="http://schemas.microsoft.com/office/drawing/2014/main" id="{45969A8B-EB28-489A-ADFF-B513470A39C4}"/>
                </a:ext>
              </a:extLst>
            </p:cNvPr>
            <p:cNvSpPr>
              <a:spLocks noChangeArrowheads="1"/>
            </p:cNvSpPr>
            <p:nvPr/>
          </p:nvSpPr>
          <p:spPr bwMode="auto">
            <a:xfrm>
              <a:off x="6554" y="1888"/>
              <a:ext cx="119" cy="5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15">
              <a:extLst>
                <a:ext uri="{FF2B5EF4-FFF2-40B4-BE49-F238E27FC236}">
                  <a16:creationId xmlns:a16="http://schemas.microsoft.com/office/drawing/2014/main" id="{1733E594-B7EE-4279-AAB3-4B762AE2AD45}"/>
                </a:ext>
              </a:extLst>
            </p:cNvPr>
            <p:cNvSpPr>
              <a:spLocks noEditPoints="1"/>
            </p:cNvSpPr>
            <p:nvPr/>
          </p:nvSpPr>
          <p:spPr bwMode="auto">
            <a:xfrm>
              <a:off x="3658" y="1888"/>
              <a:ext cx="383" cy="538"/>
            </a:xfrm>
            <a:custGeom>
              <a:avLst/>
              <a:gdLst>
                <a:gd name="T0" fmla="*/ 87 w 613"/>
                <a:gd name="T1" fmla="*/ 376 h 859"/>
                <a:gd name="T2" fmla="*/ 278 w 613"/>
                <a:gd name="T3" fmla="*/ 376 h 859"/>
                <a:gd name="T4" fmla="*/ 462 w 613"/>
                <a:gd name="T5" fmla="*/ 228 h 859"/>
                <a:gd name="T6" fmla="*/ 278 w 613"/>
                <a:gd name="T7" fmla="*/ 82 h 859"/>
                <a:gd name="T8" fmla="*/ 87 w 613"/>
                <a:gd name="T9" fmla="*/ 82 h 859"/>
                <a:gd name="T10" fmla="*/ 87 w 613"/>
                <a:gd name="T11" fmla="*/ 376 h 859"/>
                <a:gd name="T12" fmla="*/ 497 w 613"/>
                <a:gd name="T13" fmla="*/ 859 h 859"/>
                <a:gd name="T14" fmla="*/ 87 w 613"/>
                <a:gd name="T15" fmla="*/ 428 h 859"/>
                <a:gd name="T16" fmla="*/ 87 w 613"/>
                <a:gd name="T17" fmla="*/ 859 h 859"/>
                <a:gd name="T18" fmla="*/ 0 w 613"/>
                <a:gd name="T19" fmla="*/ 859 h 859"/>
                <a:gd name="T20" fmla="*/ 0 w 613"/>
                <a:gd name="T21" fmla="*/ 0 h 859"/>
                <a:gd name="T22" fmla="*/ 270 w 613"/>
                <a:gd name="T23" fmla="*/ 0 h 859"/>
                <a:gd name="T24" fmla="*/ 555 w 613"/>
                <a:gd name="T25" fmla="*/ 228 h 859"/>
                <a:gd name="T26" fmla="*/ 270 w 613"/>
                <a:gd name="T27" fmla="*/ 453 h 859"/>
                <a:gd name="T28" fmla="*/ 222 w 613"/>
                <a:gd name="T29" fmla="*/ 453 h 859"/>
                <a:gd name="T30" fmla="*/ 613 w 613"/>
                <a:gd name="T31" fmla="*/ 859 h 859"/>
                <a:gd name="T32" fmla="*/ 497 w 613"/>
                <a:gd name="T33" fmla="*/ 859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13" h="859">
                  <a:moveTo>
                    <a:pt x="87" y="376"/>
                  </a:moveTo>
                  <a:cubicBezTo>
                    <a:pt x="278" y="376"/>
                    <a:pt x="278" y="376"/>
                    <a:pt x="278" y="376"/>
                  </a:cubicBezTo>
                  <a:cubicBezTo>
                    <a:pt x="396" y="376"/>
                    <a:pt x="462" y="328"/>
                    <a:pt x="462" y="228"/>
                  </a:cubicBezTo>
                  <a:cubicBezTo>
                    <a:pt x="462" y="129"/>
                    <a:pt x="396" y="82"/>
                    <a:pt x="278" y="82"/>
                  </a:cubicBezTo>
                  <a:cubicBezTo>
                    <a:pt x="87" y="82"/>
                    <a:pt x="87" y="82"/>
                    <a:pt x="87" y="82"/>
                  </a:cubicBezTo>
                  <a:lnTo>
                    <a:pt x="87" y="376"/>
                  </a:lnTo>
                  <a:close/>
                  <a:moveTo>
                    <a:pt x="497" y="859"/>
                  </a:moveTo>
                  <a:cubicBezTo>
                    <a:pt x="87" y="428"/>
                    <a:pt x="87" y="428"/>
                    <a:pt x="87" y="428"/>
                  </a:cubicBezTo>
                  <a:cubicBezTo>
                    <a:pt x="87" y="859"/>
                    <a:pt x="87" y="859"/>
                    <a:pt x="87" y="859"/>
                  </a:cubicBezTo>
                  <a:cubicBezTo>
                    <a:pt x="0" y="859"/>
                    <a:pt x="0" y="859"/>
                    <a:pt x="0" y="859"/>
                  </a:cubicBezTo>
                  <a:cubicBezTo>
                    <a:pt x="0" y="0"/>
                    <a:pt x="0" y="0"/>
                    <a:pt x="0" y="0"/>
                  </a:cubicBezTo>
                  <a:cubicBezTo>
                    <a:pt x="270" y="0"/>
                    <a:pt x="270" y="0"/>
                    <a:pt x="270" y="0"/>
                  </a:cubicBezTo>
                  <a:cubicBezTo>
                    <a:pt x="457" y="0"/>
                    <a:pt x="555" y="91"/>
                    <a:pt x="555" y="228"/>
                  </a:cubicBezTo>
                  <a:cubicBezTo>
                    <a:pt x="555" y="367"/>
                    <a:pt x="457" y="453"/>
                    <a:pt x="270" y="453"/>
                  </a:cubicBezTo>
                  <a:cubicBezTo>
                    <a:pt x="222" y="453"/>
                    <a:pt x="222" y="453"/>
                    <a:pt x="222" y="453"/>
                  </a:cubicBezTo>
                  <a:cubicBezTo>
                    <a:pt x="613" y="859"/>
                    <a:pt x="613" y="859"/>
                    <a:pt x="613" y="859"/>
                  </a:cubicBezTo>
                  <a:lnTo>
                    <a:pt x="497" y="8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16">
              <a:extLst>
                <a:ext uri="{FF2B5EF4-FFF2-40B4-BE49-F238E27FC236}">
                  <a16:creationId xmlns:a16="http://schemas.microsoft.com/office/drawing/2014/main" id="{35346133-A6F0-4888-8448-CAF15A08EB88}"/>
                </a:ext>
              </a:extLst>
            </p:cNvPr>
            <p:cNvSpPr>
              <a:spLocks/>
            </p:cNvSpPr>
            <p:nvPr/>
          </p:nvSpPr>
          <p:spPr bwMode="auto">
            <a:xfrm>
              <a:off x="6752" y="1881"/>
              <a:ext cx="476" cy="558"/>
            </a:xfrm>
            <a:custGeom>
              <a:avLst/>
              <a:gdLst>
                <a:gd name="T0" fmla="*/ 0 w 761"/>
                <a:gd name="T1" fmla="*/ 447 h 893"/>
                <a:gd name="T2" fmla="*/ 417 w 761"/>
                <a:gd name="T3" fmla="*/ 0 h 893"/>
                <a:gd name="T4" fmla="*/ 747 w 761"/>
                <a:gd name="T5" fmla="*/ 181 h 893"/>
                <a:gd name="T6" fmla="*/ 614 w 761"/>
                <a:gd name="T7" fmla="*/ 285 h 893"/>
                <a:gd name="T8" fmla="*/ 421 w 761"/>
                <a:gd name="T9" fmla="*/ 178 h 893"/>
                <a:gd name="T10" fmla="*/ 197 w 761"/>
                <a:gd name="T11" fmla="*/ 447 h 893"/>
                <a:gd name="T12" fmla="*/ 427 w 761"/>
                <a:gd name="T13" fmla="*/ 715 h 893"/>
                <a:gd name="T14" fmla="*/ 623 w 761"/>
                <a:gd name="T15" fmla="*/ 608 h 893"/>
                <a:gd name="T16" fmla="*/ 761 w 761"/>
                <a:gd name="T17" fmla="*/ 715 h 893"/>
                <a:gd name="T18" fmla="*/ 423 w 761"/>
                <a:gd name="T19" fmla="*/ 893 h 893"/>
                <a:gd name="T20" fmla="*/ 0 w 761"/>
                <a:gd name="T21" fmla="*/ 447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1" h="893">
                  <a:moveTo>
                    <a:pt x="0" y="447"/>
                  </a:moveTo>
                  <a:cubicBezTo>
                    <a:pt x="0" y="177"/>
                    <a:pt x="160" y="0"/>
                    <a:pt x="417" y="0"/>
                  </a:cubicBezTo>
                  <a:cubicBezTo>
                    <a:pt x="582" y="0"/>
                    <a:pt x="698" y="79"/>
                    <a:pt x="747" y="181"/>
                  </a:cubicBezTo>
                  <a:cubicBezTo>
                    <a:pt x="614" y="285"/>
                    <a:pt x="614" y="285"/>
                    <a:pt x="614" y="285"/>
                  </a:cubicBezTo>
                  <a:cubicBezTo>
                    <a:pt x="570" y="211"/>
                    <a:pt x="493" y="178"/>
                    <a:pt x="421" y="178"/>
                  </a:cubicBezTo>
                  <a:cubicBezTo>
                    <a:pt x="295" y="178"/>
                    <a:pt x="197" y="269"/>
                    <a:pt x="197" y="447"/>
                  </a:cubicBezTo>
                  <a:cubicBezTo>
                    <a:pt x="197" y="614"/>
                    <a:pt x="300" y="715"/>
                    <a:pt x="427" y="715"/>
                  </a:cubicBezTo>
                  <a:cubicBezTo>
                    <a:pt x="500" y="715"/>
                    <a:pt x="579" y="682"/>
                    <a:pt x="623" y="608"/>
                  </a:cubicBezTo>
                  <a:cubicBezTo>
                    <a:pt x="761" y="715"/>
                    <a:pt x="761" y="715"/>
                    <a:pt x="761" y="715"/>
                  </a:cubicBezTo>
                  <a:cubicBezTo>
                    <a:pt x="699" y="819"/>
                    <a:pt x="590" y="893"/>
                    <a:pt x="423" y="893"/>
                  </a:cubicBezTo>
                  <a:cubicBezTo>
                    <a:pt x="163" y="893"/>
                    <a:pt x="0" y="716"/>
                    <a:pt x="0" y="44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17">
              <a:extLst>
                <a:ext uri="{FF2B5EF4-FFF2-40B4-BE49-F238E27FC236}">
                  <a16:creationId xmlns:a16="http://schemas.microsoft.com/office/drawing/2014/main" id="{36873EB7-DDD8-4C36-9734-50B8BA40ACAE}"/>
                </a:ext>
              </a:extLst>
            </p:cNvPr>
            <p:cNvSpPr>
              <a:spLocks/>
            </p:cNvSpPr>
            <p:nvPr/>
          </p:nvSpPr>
          <p:spPr bwMode="auto">
            <a:xfrm>
              <a:off x="7271" y="1874"/>
              <a:ext cx="409" cy="565"/>
            </a:xfrm>
            <a:custGeom>
              <a:avLst/>
              <a:gdLst>
                <a:gd name="T0" fmla="*/ 404 w 654"/>
                <a:gd name="T1" fmla="*/ 376 h 903"/>
                <a:gd name="T2" fmla="*/ 287 w 654"/>
                <a:gd name="T3" fmla="*/ 354 h 903"/>
                <a:gd name="T4" fmla="*/ 202 w 654"/>
                <a:gd name="T5" fmla="*/ 264 h 903"/>
                <a:gd name="T6" fmla="*/ 321 w 654"/>
                <a:gd name="T7" fmla="*/ 171 h 903"/>
                <a:gd name="T8" fmla="*/ 478 w 654"/>
                <a:gd name="T9" fmla="*/ 270 h 903"/>
                <a:gd name="T10" fmla="*/ 617 w 654"/>
                <a:gd name="T11" fmla="*/ 163 h 903"/>
                <a:gd name="T12" fmla="*/ 322 w 654"/>
                <a:gd name="T13" fmla="*/ 0 h 903"/>
                <a:gd name="T14" fmla="*/ 12 w 654"/>
                <a:gd name="T15" fmla="*/ 279 h 903"/>
                <a:gd name="T16" fmla="*/ 247 w 654"/>
                <a:gd name="T17" fmla="*/ 523 h 903"/>
                <a:gd name="T18" fmla="*/ 366 w 654"/>
                <a:gd name="T19" fmla="*/ 546 h 903"/>
                <a:gd name="T20" fmla="*/ 459 w 654"/>
                <a:gd name="T21" fmla="*/ 642 h 903"/>
                <a:gd name="T22" fmla="*/ 336 w 654"/>
                <a:gd name="T23" fmla="*/ 734 h 903"/>
                <a:gd name="T24" fmla="*/ 143 w 654"/>
                <a:gd name="T25" fmla="*/ 594 h 903"/>
                <a:gd name="T26" fmla="*/ 0 w 654"/>
                <a:gd name="T27" fmla="*/ 704 h 903"/>
                <a:gd name="T28" fmla="*/ 334 w 654"/>
                <a:gd name="T29" fmla="*/ 903 h 903"/>
                <a:gd name="T30" fmla="*/ 654 w 654"/>
                <a:gd name="T31" fmla="*/ 629 h 903"/>
                <a:gd name="T32" fmla="*/ 404 w 654"/>
                <a:gd name="T33" fmla="*/ 376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4" h="903">
                  <a:moveTo>
                    <a:pt x="404" y="376"/>
                  </a:moveTo>
                  <a:cubicBezTo>
                    <a:pt x="287" y="354"/>
                    <a:pt x="287" y="354"/>
                    <a:pt x="287" y="354"/>
                  </a:cubicBezTo>
                  <a:cubicBezTo>
                    <a:pt x="228" y="344"/>
                    <a:pt x="202" y="305"/>
                    <a:pt x="202" y="264"/>
                  </a:cubicBezTo>
                  <a:cubicBezTo>
                    <a:pt x="202" y="216"/>
                    <a:pt x="249" y="171"/>
                    <a:pt x="321" y="171"/>
                  </a:cubicBezTo>
                  <a:cubicBezTo>
                    <a:pt x="403" y="171"/>
                    <a:pt x="451" y="222"/>
                    <a:pt x="478" y="270"/>
                  </a:cubicBezTo>
                  <a:cubicBezTo>
                    <a:pt x="617" y="163"/>
                    <a:pt x="617" y="163"/>
                    <a:pt x="617" y="163"/>
                  </a:cubicBezTo>
                  <a:cubicBezTo>
                    <a:pt x="578" y="79"/>
                    <a:pt x="491" y="0"/>
                    <a:pt x="322" y="0"/>
                  </a:cubicBezTo>
                  <a:cubicBezTo>
                    <a:pt x="156" y="0"/>
                    <a:pt x="12" y="115"/>
                    <a:pt x="12" y="279"/>
                  </a:cubicBezTo>
                  <a:cubicBezTo>
                    <a:pt x="12" y="407"/>
                    <a:pt x="101" y="496"/>
                    <a:pt x="247" y="523"/>
                  </a:cubicBezTo>
                  <a:cubicBezTo>
                    <a:pt x="366" y="546"/>
                    <a:pt x="366" y="546"/>
                    <a:pt x="366" y="546"/>
                  </a:cubicBezTo>
                  <a:cubicBezTo>
                    <a:pt x="423" y="557"/>
                    <a:pt x="459" y="597"/>
                    <a:pt x="459" y="642"/>
                  </a:cubicBezTo>
                  <a:cubicBezTo>
                    <a:pt x="459" y="695"/>
                    <a:pt x="413" y="734"/>
                    <a:pt x="336" y="734"/>
                  </a:cubicBezTo>
                  <a:cubicBezTo>
                    <a:pt x="219" y="734"/>
                    <a:pt x="161" y="649"/>
                    <a:pt x="143" y="594"/>
                  </a:cubicBezTo>
                  <a:cubicBezTo>
                    <a:pt x="0" y="704"/>
                    <a:pt x="0" y="704"/>
                    <a:pt x="0" y="704"/>
                  </a:cubicBezTo>
                  <a:cubicBezTo>
                    <a:pt x="41" y="806"/>
                    <a:pt x="144" y="903"/>
                    <a:pt x="334" y="903"/>
                  </a:cubicBezTo>
                  <a:cubicBezTo>
                    <a:pt x="541" y="903"/>
                    <a:pt x="654" y="765"/>
                    <a:pt x="654" y="629"/>
                  </a:cubicBezTo>
                  <a:cubicBezTo>
                    <a:pt x="654" y="506"/>
                    <a:pt x="569" y="407"/>
                    <a:pt x="404" y="37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8">
              <a:extLst>
                <a:ext uri="{FF2B5EF4-FFF2-40B4-BE49-F238E27FC236}">
                  <a16:creationId xmlns:a16="http://schemas.microsoft.com/office/drawing/2014/main" id="{D848509E-F084-4903-ADBE-322A47D220ED}"/>
                </a:ext>
              </a:extLst>
            </p:cNvPr>
            <p:cNvSpPr>
              <a:spLocks/>
            </p:cNvSpPr>
            <p:nvPr/>
          </p:nvSpPr>
          <p:spPr bwMode="auto">
            <a:xfrm>
              <a:off x="0" y="1622"/>
              <a:ext cx="857" cy="1076"/>
            </a:xfrm>
            <a:custGeom>
              <a:avLst/>
              <a:gdLst>
                <a:gd name="T0" fmla="*/ 859 w 1370"/>
                <a:gd name="T1" fmla="*/ 1020 h 1719"/>
                <a:gd name="T2" fmla="*/ 859 w 1370"/>
                <a:gd name="T3" fmla="*/ 1336 h 1719"/>
                <a:gd name="T4" fmla="*/ 383 w 1370"/>
                <a:gd name="T5" fmla="*/ 860 h 1719"/>
                <a:gd name="T6" fmla="*/ 859 w 1370"/>
                <a:gd name="T7" fmla="*/ 384 h 1719"/>
                <a:gd name="T8" fmla="*/ 859 w 1370"/>
                <a:gd name="T9" fmla="*/ 714 h 1719"/>
                <a:gd name="T10" fmla="*/ 1370 w 1370"/>
                <a:gd name="T11" fmla="*/ 169 h 1719"/>
                <a:gd name="T12" fmla="*/ 859 w 1370"/>
                <a:gd name="T13" fmla="*/ 0 h 1719"/>
                <a:gd name="T14" fmla="*/ 0 w 1370"/>
                <a:gd name="T15" fmla="*/ 860 h 1719"/>
                <a:gd name="T16" fmla="*/ 859 w 1370"/>
                <a:gd name="T17" fmla="*/ 1719 h 1719"/>
                <a:gd name="T18" fmla="*/ 1335 w 1370"/>
                <a:gd name="T19" fmla="*/ 1575 h 1719"/>
                <a:gd name="T20" fmla="*/ 859 w 1370"/>
                <a:gd name="T21" fmla="*/ 1020 h 1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70" h="1719">
                  <a:moveTo>
                    <a:pt x="859" y="1020"/>
                  </a:moveTo>
                  <a:cubicBezTo>
                    <a:pt x="859" y="1336"/>
                    <a:pt x="859" y="1336"/>
                    <a:pt x="859" y="1336"/>
                  </a:cubicBezTo>
                  <a:cubicBezTo>
                    <a:pt x="596" y="1336"/>
                    <a:pt x="383" y="1122"/>
                    <a:pt x="383" y="860"/>
                  </a:cubicBezTo>
                  <a:cubicBezTo>
                    <a:pt x="383" y="596"/>
                    <a:pt x="596" y="384"/>
                    <a:pt x="859" y="384"/>
                  </a:cubicBezTo>
                  <a:cubicBezTo>
                    <a:pt x="859" y="714"/>
                    <a:pt x="859" y="714"/>
                    <a:pt x="859" y="714"/>
                  </a:cubicBezTo>
                  <a:cubicBezTo>
                    <a:pt x="1370" y="169"/>
                    <a:pt x="1370" y="169"/>
                    <a:pt x="1370" y="169"/>
                  </a:cubicBezTo>
                  <a:cubicBezTo>
                    <a:pt x="1227" y="63"/>
                    <a:pt x="1051" y="0"/>
                    <a:pt x="859" y="0"/>
                  </a:cubicBezTo>
                  <a:cubicBezTo>
                    <a:pt x="385" y="0"/>
                    <a:pt x="0" y="385"/>
                    <a:pt x="0" y="860"/>
                  </a:cubicBezTo>
                  <a:cubicBezTo>
                    <a:pt x="0" y="1334"/>
                    <a:pt x="385" y="1719"/>
                    <a:pt x="859" y="1719"/>
                  </a:cubicBezTo>
                  <a:cubicBezTo>
                    <a:pt x="1035" y="1719"/>
                    <a:pt x="1199" y="1666"/>
                    <a:pt x="1335" y="1575"/>
                  </a:cubicBezTo>
                  <a:lnTo>
                    <a:pt x="859" y="10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19">
              <a:extLst>
                <a:ext uri="{FF2B5EF4-FFF2-40B4-BE49-F238E27FC236}">
                  <a16:creationId xmlns:a16="http://schemas.microsoft.com/office/drawing/2014/main" id="{DAEE2787-328D-4F8F-8A89-76715F69F549}"/>
                </a:ext>
              </a:extLst>
            </p:cNvPr>
            <p:cNvSpPr>
              <a:spLocks/>
            </p:cNvSpPr>
            <p:nvPr/>
          </p:nvSpPr>
          <p:spPr bwMode="auto">
            <a:xfrm>
              <a:off x="583" y="1854"/>
              <a:ext cx="491" cy="612"/>
            </a:xfrm>
            <a:custGeom>
              <a:avLst/>
              <a:gdLst>
                <a:gd name="T0" fmla="*/ 634 w 786"/>
                <a:gd name="T1" fmla="*/ 0 h 979"/>
                <a:gd name="T2" fmla="*/ 0 w 786"/>
                <a:gd name="T3" fmla="*/ 490 h 979"/>
                <a:gd name="T4" fmla="*/ 634 w 786"/>
                <a:gd name="T5" fmla="*/ 979 h 979"/>
                <a:gd name="T6" fmla="*/ 786 w 786"/>
                <a:gd name="T7" fmla="*/ 490 h 979"/>
                <a:gd name="T8" fmla="*/ 634 w 786"/>
                <a:gd name="T9" fmla="*/ 0 h 979"/>
              </a:gdLst>
              <a:ahLst/>
              <a:cxnLst>
                <a:cxn ang="0">
                  <a:pos x="T0" y="T1"/>
                </a:cxn>
                <a:cxn ang="0">
                  <a:pos x="T2" y="T3"/>
                </a:cxn>
                <a:cxn ang="0">
                  <a:pos x="T4" y="T5"/>
                </a:cxn>
                <a:cxn ang="0">
                  <a:pos x="T6" y="T7"/>
                </a:cxn>
                <a:cxn ang="0">
                  <a:pos x="T8" y="T9"/>
                </a:cxn>
              </a:cxnLst>
              <a:rect l="0" t="0" r="r" b="b"/>
              <a:pathLst>
                <a:path w="786" h="979">
                  <a:moveTo>
                    <a:pt x="634" y="0"/>
                  </a:moveTo>
                  <a:cubicBezTo>
                    <a:pt x="0" y="490"/>
                    <a:pt x="0" y="490"/>
                    <a:pt x="0" y="490"/>
                  </a:cubicBezTo>
                  <a:cubicBezTo>
                    <a:pt x="634" y="979"/>
                    <a:pt x="634" y="979"/>
                    <a:pt x="634" y="979"/>
                  </a:cubicBezTo>
                  <a:cubicBezTo>
                    <a:pt x="730" y="840"/>
                    <a:pt x="786" y="671"/>
                    <a:pt x="786" y="490"/>
                  </a:cubicBezTo>
                  <a:cubicBezTo>
                    <a:pt x="786" y="308"/>
                    <a:pt x="730" y="139"/>
                    <a:pt x="6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932646515"/>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r>
              <a:rPr lang="en-US"/>
              <a:t>Document Name</a:t>
            </a:r>
            <a:endParaRPr lang="en-US" dirty="0"/>
          </a:p>
        </p:txBody>
      </p:sp>
      <p:sp>
        <p:nvSpPr>
          <p:cNvPr id="5" name="Slide Number Placeholder 4"/>
          <p:cNvSpPr>
            <a:spLocks noGrp="1"/>
          </p:cNvSpPr>
          <p:nvPr>
            <p:ph type="sldNum" sz="quarter" idx="12"/>
          </p:nvPr>
        </p:nvSpPr>
        <p:spPr/>
        <p:txBody>
          <a:bodyPr/>
          <a:lstStyle/>
          <a:p>
            <a:fld id="{32B354EE-31EA-4FC2-9496-7B6202183237}" type="slidenum">
              <a:rPr lang="en-US" smtClean="0"/>
              <a:t>‹#›</a:t>
            </a:fld>
            <a:endParaRPr lang="en-US" dirty="0"/>
          </a:p>
        </p:txBody>
      </p:sp>
    </p:spTree>
    <p:extLst>
      <p:ext uri="{BB962C8B-B14F-4D97-AF65-F5344CB8AC3E}">
        <p14:creationId xmlns:p14="http://schemas.microsoft.com/office/powerpoint/2010/main" val="1626496386"/>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r>
              <a:rPr lang="en-US"/>
              <a:t>Document Name</a:t>
            </a:r>
            <a:endParaRPr lang="en-US" dirty="0"/>
          </a:p>
        </p:txBody>
      </p:sp>
      <p:sp>
        <p:nvSpPr>
          <p:cNvPr id="4" name="Slide Number Placeholder 3"/>
          <p:cNvSpPr>
            <a:spLocks noGrp="1"/>
          </p:cNvSpPr>
          <p:nvPr>
            <p:ph type="sldNum" sz="quarter" idx="12"/>
          </p:nvPr>
        </p:nvSpPr>
        <p:spPr/>
        <p:txBody>
          <a:bodyPr/>
          <a:lstStyle/>
          <a:p>
            <a:fld id="{32B354EE-31EA-4FC2-9496-7B6202183237}" type="slidenum">
              <a:rPr lang="en-US" smtClean="0"/>
              <a:t>‹#›</a:t>
            </a:fld>
            <a:endParaRPr lang="en-US" dirty="0"/>
          </a:p>
        </p:txBody>
      </p:sp>
    </p:spTree>
    <p:extLst>
      <p:ext uri="{BB962C8B-B14F-4D97-AF65-F5344CB8AC3E}">
        <p14:creationId xmlns:p14="http://schemas.microsoft.com/office/powerpoint/2010/main" val="695384447"/>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p:cSld name="Title slide - dark blue">
    <p:bg>
      <p:bgPr>
        <a:gradFill>
          <a:gsLst>
            <a:gs pos="0">
              <a:srgbClr val="003478"/>
            </a:gs>
            <a:gs pos="100000">
              <a:srgbClr val="0089C4"/>
            </a:gs>
          </a:gsLst>
          <a:lin ang="2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5F3BA2-B27F-4D6D-85C6-0EB92E2D65FF}"/>
              </a:ext>
            </a:extLst>
          </p:cNvPr>
          <p:cNvGraphicFramePr>
            <a:graphicFrameLocks noChangeAspect="1"/>
          </p:cNvGraphicFramePr>
          <p:nvPr>
            <p:custDataLst>
              <p:tags r:id="rId1"/>
            </p:custData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5" name="Object 4" hidden="1">
                        <a:extLst>
                          <a:ext uri="{FF2B5EF4-FFF2-40B4-BE49-F238E27FC236}">
                            <a16:creationId xmlns:a16="http://schemas.microsoft.com/office/drawing/2014/main" id="{305F3BA2-B27F-4D6D-85C6-0EB92E2D65FF}"/>
                          </a:ext>
                        </a:extLst>
                      </p:cNvPr>
                      <p:cNvPicPr/>
                      <p:nvPr/>
                    </p:nvPicPr>
                    <p:blipFill>
                      <a:blip r:embed="rId4"/>
                      <a:stretch>
                        <a:fillRect/>
                      </a:stretch>
                    </p:blipFill>
                    <p:spPr>
                      <a:xfrm>
                        <a:off x="2122" y="1589"/>
                        <a:ext cx="2116" cy="1587"/>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6A4EE19E-E41D-40A4-A09A-888FA8E2FB8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0" y="0"/>
            <a:ext cx="12195879" cy="6863992"/>
          </a:xfrm>
          <a:prstGeom prst="rect">
            <a:avLst/>
          </a:prstGeom>
        </p:spPr>
      </p:pic>
      <p:sp>
        <p:nvSpPr>
          <p:cNvPr id="19" name="Text Placeholder 3">
            <a:extLst>
              <a:ext uri="{FF2B5EF4-FFF2-40B4-BE49-F238E27FC236}">
                <a16:creationId xmlns:a16="http://schemas.microsoft.com/office/drawing/2014/main" id="{C3653E61-8455-43DD-85E1-3EFD32553394}"/>
              </a:ext>
            </a:extLst>
          </p:cNvPr>
          <p:cNvSpPr>
            <a:spLocks noGrp="1"/>
          </p:cNvSpPr>
          <p:nvPr>
            <p:ph type="body" sz="quarter" idx="11" hasCustomPrompt="1"/>
          </p:nvPr>
        </p:nvSpPr>
        <p:spPr bwMode="white">
          <a:xfrm>
            <a:off x="1116584" y="4753875"/>
            <a:ext cx="5766521" cy="252285"/>
          </a:xfrm>
          <a:prstGeom prst="rect">
            <a:avLst/>
          </a:prstGeom>
        </p:spPr>
        <p:txBody>
          <a:bodyPr lIns="0" tIns="0" rIns="0" bIns="0" anchor="ctr">
            <a:noAutofit/>
          </a:bodyPr>
          <a:lstStyle>
            <a:lvl1pPr marL="0" indent="0">
              <a:spcBef>
                <a:spcPts val="0"/>
              </a:spcBef>
              <a:buFontTx/>
              <a:buNone/>
              <a:defRPr sz="1467" b="1">
                <a:solidFill>
                  <a:schemeClr val="bg1"/>
                </a:solidFill>
              </a:defRPr>
            </a:lvl1pPr>
          </a:lstStyle>
          <a:p>
            <a:pPr lvl="0"/>
            <a:r>
              <a:rPr lang="en-US" noProof="0" dirty="0"/>
              <a:t>_Author</a:t>
            </a:r>
          </a:p>
        </p:txBody>
      </p:sp>
      <p:sp>
        <p:nvSpPr>
          <p:cNvPr id="20" name="Text Placeholder 3">
            <a:extLst>
              <a:ext uri="{FF2B5EF4-FFF2-40B4-BE49-F238E27FC236}">
                <a16:creationId xmlns:a16="http://schemas.microsoft.com/office/drawing/2014/main" id="{4D300ACA-1DDA-445B-9241-4ACC24CFD5AE}"/>
              </a:ext>
            </a:extLst>
          </p:cNvPr>
          <p:cNvSpPr>
            <a:spLocks noGrp="1"/>
          </p:cNvSpPr>
          <p:nvPr>
            <p:ph type="body" sz="quarter" idx="12" hasCustomPrompt="1"/>
          </p:nvPr>
        </p:nvSpPr>
        <p:spPr bwMode="white">
          <a:xfrm>
            <a:off x="1116584" y="5006160"/>
            <a:ext cx="5766521" cy="252285"/>
          </a:xfrm>
          <a:prstGeom prst="rect">
            <a:avLst/>
          </a:prstGeom>
        </p:spPr>
        <p:txBody>
          <a:bodyPr lIns="0" tIns="0" rIns="0" bIns="0" anchor="ctr">
            <a:noAutofit/>
          </a:bodyPr>
          <a:lstStyle>
            <a:lvl1pPr marL="0" indent="0">
              <a:spcBef>
                <a:spcPts val="0"/>
              </a:spcBef>
              <a:buFontTx/>
              <a:buNone/>
              <a:defRPr sz="1467" b="0">
                <a:solidFill>
                  <a:schemeClr val="bg1"/>
                </a:solidFill>
              </a:defRPr>
            </a:lvl1pPr>
          </a:lstStyle>
          <a:p>
            <a:pPr lvl="0"/>
            <a:r>
              <a:rPr lang="en-US" noProof="0" dirty="0"/>
              <a:t>_Business</a:t>
            </a:r>
          </a:p>
        </p:txBody>
      </p:sp>
      <p:sp>
        <p:nvSpPr>
          <p:cNvPr id="21" name="Text Placeholder 3">
            <a:extLst>
              <a:ext uri="{FF2B5EF4-FFF2-40B4-BE49-F238E27FC236}">
                <a16:creationId xmlns:a16="http://schemas.microsoft.com/office/drawing/2014/main" id="{3DFCA62A-CA79-426E-B592-49ABCC31F8A8}"/>
              </a:ext>
            </a:extLst>
          </p:cNvPr>
          <p:cNvSpPr>
            <a:spLocks noGrp="1"/>
          </p:cNvSpPr>
          <p:nvPr>
            <p:ph type="body" sz="quarter" idx="15" hasCustomPrompt="1"/>
          </p:nvPr>
        </p:nvSpPr>
        <p:spPr bwMode="white">
          <a:xfrm>
            <a:off x="1116584" y="5258446"/>
            <a:ext cx="5766521" cy="252285"/>
          </a:xfrm>
          <a:prstGeom prst="rect">
            <a:avLst/>
          </a:prstGeom>
        </p:spPr>
        <p:txBody>
          <a:bodyPr lIns="0" tIns="0" rIns="0" bIns="0" anchor="ctr">
            <a:noAutofit/>
          </a:bodyPr>
          <a:lstStyle>
            <a:lvl1pPr marL="0" indent="0">
              <a:spcBef>
                <a:spcPts val="0"/>
              </a:spcBef>
              <a:buFontTx/>
              <a:buNone/>
              <a:defRPr sz="1467" b="0">
                <a:solidFill>
                  <a:schemeClr val="bg1"/>
                </a:solidFill>
              </a:defRPr>
            </a:lvl1pPr>
          </a:lstStyle>
          <a:p>
            <a:pPr lvl="0"/>
            <a:r>
              <a:rPr lang="en-US" noProof="0" dirty="0"/>
              <a:t>_Date</a:t>
            </a:r>
          </a:p>
        </p:txBody>
      </p:sp>
      <p:sp>
        <p:nvSpPr>
          <p:cNvPr id="22" name="Text Placeholder 3">
            <a:extLst>
              <a:ext uri="{FF2B5EF4-FFF2-40B4-BE49-F238E27FC236}">
                <a16:creationId xmlns:a16="http://schemas.microsoft.com/office/drawing/2014/main" id="{B26F3FA1-170D-4773-936E-E5E7447A5872}"/>
              </a:ext>
            </a:extLst>
          </p:cNvPr>
          <p:cNvSpPr>
            <a:spLocks noGrp="1"/>
          </p:cNvSpPr>
          <p:nvPr>
            <p:ph type="body" sz="quarter" idx="10" hasCustomPrompt="1"/>
          </p:nvPr>
        </p:nvSpPr>
        <p:spPr bwMode="white">
          <a:xfrm>
            <a:off x="1116583" y="2718323"/>
            <a:ext cx="8226211" cy="1609320"/>
          </a:xfrm>
          <a:prstGeom prst="rect">
            <a:avLst/>
          </a:prstGeom>
        </p:spPr>
        <p:txBody>
          <a:bodyPr lIns="0" tIns="0" rIns="0" bIns="0">
            <a:noAutofit/>
          </a:bodyPr>
          <a:lstStyle>
            <a:lvl1pPr marL="0" indent="0" algn="l">
              <a:lnSpc>
                <a:spcPct val="100000"/>
              </a:lnSpc>
              <a:spcBef>
                <a:spcPts val="0"/>
              </a:spcBef>
              <a:buFontTx/>
              <a:buNone/>
              <a:defRPr sz="4800">
                <a:solidFill>
                  <a:schemeClr val="bg1"/>
                </a:solidFill>
                <a:latin typeface="+mj-lt"/>
              </a:defRPr>
            </a:lvl1pPr>
            <a:lvl2pPr>
              <a:defRPr sz="6400"/>
            </a:lvl2pPr>
            <a:lvl3pPr>
              <a:defRPr sz="6400"/>
            </a:lvl3pPr>
            <a:lvl4pPr>
              <a:defRPr sz="6400"/>
            </a:lvl4pPr>
            <a:lvl5pPr>
              <a:defRPr sz="6400"/>
            </a:lvl5pPr>
          </a:lstStyle>
          <a:p>
            <a:pPr lvl="0"/>
            <a:r>
              <a:rPr lang="en-US" noProof="0" dirty="0"/>
              <a:t>Presentation title 36pt</a:t>
            </a:r>
          </a:p>
        </p:txBody>
      </p:sp>
    </p:spTree>
    <p:extLst>
      <p:ext uri="{BB962C8B-B14F-4D97-AF65-F5344CB8AC3E}">
        <p14:creationId xmlns:p14="http://schemas.microsoft.com/office/powerpoint/2010/main" val="51917231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Standard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p:custDataLst>
              <p:tags r:id="rId2"/>
            </p:custDataLst>
          </p:nvPr>
        </p:nvSpPr>
        <p:spPr>
          <a:xfrm>
            <a:off x="0" y="0"/>
            <a:ext cx="211667"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p>
            <a:fld id="{A5163908-529D-4A49-892F-D37C4044DFD8}" type="slidenum">
              <a:rPr lang="en-IN" smtClean="0"/>
              <a:pPr/>
              <a:t>‹#›</a:t>
            </a:fld>
            <a:endParaRPr lang="en-IN"/>
          </a:p>
        </p:txBody>
      </p:sp>
      <p:sp>
        <p:nvSpPr>
          <p:cNvPr id="10" name="Text Placeholder 9">
            <a:extLst>
              <a:ext uri="{FF2B5EF4-FFF2-40B4-BE49-F238E27FC236}">
                <a16:creationId xmlns:a16="http://schemas.microsoft.com/office/drawing/2014/main" id="{BDBA78F2-A9DE-4AB8-A4E1-761EACDB9FCC}"/>
              </a:ext>
            </a:extLst>
          </p:cNvPr>
          <p:cNvSpPr>
            <a:spLocks noGrp="1"/>
          </p:cNvSpPr>
          <p:nvPr>
            <p:ph type="body" sz="quarter" idx="14"/>
          </p:nvPr>
        </p:nvSpPr>
        <p:spPr>
          <a:xfrm>
            <a:off x="673101" y="1623484"/>
            <a:ext cx="10847919" cy="4614333"/>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p:txBody>
          <a:bodyPr/>
          <a:lstStyle/>
          <a:p>
            <a:r>
              <a:rPr lang="en-US"/>
              <a:t>Click to edit Master title style</a:t>
            </a:r>
            <a:endParaRPr lang="en-IN" dirty="0"/>
          </a:p>
        </p:txBody>
      </p:sp>
    </p:spTree>
    <p:extLst>
      <p:ext uri="{BB962C8B-B14F-4D97-AF65-F5344CB8AC3E}">
        <p14:creationId xmlns:p14="http://schemas.microsoft.com/office/powerpoint/2010/main" val="17727483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Key Figure and Content">
    <p:spTree>
      <p:nvGrpSpPr>
        <p:cNvPr id="1" name=""/>
        <p:cNvGrpSpPr/>
        <p:nvPr/>
      </p:nvGrpSpPr>
      <p:grpSpPr>
        <a:xfrm>
          <a:off x="0" y="0"/>
          <a:ext cx="0" cy="0"/>
          <a:chOff x="0" y="0"/>
          <a:chExt cx="0" cy="0"/>
        </a:xfrm>
      </p:grpSpPr>
      <p:sp>
        <p:nvSpPr>
          <p:cNvPr id="9" name="Text Placeholder 4">
            <a:extLst>
              <a:ext uri="{FF2B5EF4-FFF2-40B4-BE49-F238E27FC236}">
                <a16:creationId xmlns:a16="http://schemas.microsoft.com/office/drawing/2014/main" id="{2AF37378-9CE3-46C1-80C8-30215DE1AF63}"/>
              </a:ext>
            </a:extLst>
          </p:cNvPr>
          <p:cNvSpPr>
            <a:spLocks noGrp="1"/>
          </p:cNvSpPr>
          <p:nvPr>
            <p:ph type="body" sz="quarter" idx="14"/>
          </p:nvPr>
        </p:nvSpPr>
        <p:spPr>
          <a:xfrm>
            <a:off x="906" y="-905"/>
            <a:ext cx="6095094" cy="6858905"/>
          </a:xfrm>
          <a:solidFill>
            <a:schemeClr val="accent3"/>
          </a:solidFill>
        </p:spPr>
        <p:txBody>
          <a:bodyPr lIns="360000" tIns="360000" rIns="360000" bIns="360000" anchor="ctr"/>
          <a:lstStyle>
            <a:lvl1pPr algn="ctr">
              <a:defRPr sz="4600">
                <a:solidFill>
                  <a:schemeClr val="tx2"/>
                </a:solidFill>
                <a:latin typeface="+mj-lt"/>
              </a:defRPr>
            </a:lvl1pPr>
          </a:lstStyle>
          <a:p>
            <a:pPr lvl="0"/>
            <a:r>
              <a:rPr lang="en-US"/>
              <a:t>Click to edit Master text styles</a:t>
            </a:r>
          </a:p>
        </p:txBody>
      </p:sp>
      <p:sp>
        <p:nvSpPr>
          <p:cNvPr id="2" name="Title 1"/>
          <p:cNvSpPr>
            <a:spLocks noGrp="1"/>
          </p:cNvSpPr>
          <p:nvPr>
            <p:ph type="title"/>
          </p:nvPr>
        </p:nvSpPr>
        <p:spPr>
          <a:xfrm>
            <a:off x="6487200" y="411083"/>
            <a:ext cx="5292000" cy="776038"/>
          </a:xfrm>
        </p:spPr>
        <p:txBody>
          <a:bodyPr/>
          <a:lstStyle/>
          <a:p>
            <a:r>
              <a:rPr lang="en-US"/>
              <a:t>Click to edit Master title style</a:t>
            </a:r>
          </a:p>
        </p:txBody>
      </p:sp>
      <p:sp>
        <p:nvSpPr>
          <p:cNvPr id="3" name="Content Placeholder 2"/>
          <p:cNvSpPr>
            <a:spLocks noGrp="1"/>
          </p:cNvSpPr>
          <p:nvPr>
            <p:ph sz="half" idx="1"/>
          </p:nvPr>
        </p:nvSpPr>
        <p:spPr>
          <a:xfrm>
            <a:off x="6487200" y="1521184"/>
            <a:ext cx="5292000" cy="44947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endParaRPr lang="en-BE"/>
          </a:p>
        </p:txBody>
      </p:sp>
      <p:sp>
        <p:nvSpPr>
          <p:cNvPr id="7" name="Slide Number Placeholder 6"/>
          <p:cNvSpPr>
            <a:spLocks noGrp="1"/>
          </p:cNvSpPr>
          <p:nvPr>
            <p:ph type="sldNum" sz="quarter" idx="12"/>
          </p:nvPr>
        </p:nvSpPr>
        <p:spPr/>
        <p:txBody>
          <a:bodyPr/>
          <a:lstStyle/>
          <a:p>
            <a:fld id="{9F5F79E4-174E-4D15-B5B9-2923F86E0116}" type="slidenum">
              <a:rPr lang="en-BE" smtClean="0"/>
              <a:t>‹#›</a:t>
            </a:fld>
            <a:endParaRPr lang="en-BE"/>
          </a:p>
        </p:txBody>
      </p:sp>
    </p:spTree>
    <p:extLst>
      <p:ext uri="{BB962C8B-B14F-4D97-AF65-F5344CB8AC3E}">
        <p14:creationId xmlns:p14="http://schemas.microsoft.com/office/powerpoint/2010/main" val="3755114858"/>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p:cSld name="Blue Standard text">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p:custDataLst>
              <p:tags r:id="rId2"/>
            </p:custDataLst>
          </p:nvPr>
        </p:nvSpPr>
        <p:spPr>
          <a:xfrm>
            <a:off x="0" y="0"/>
            <a:ext cx="211667"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10" name="Text Placeholder 9">
            <a:extLst>
              <a:ext uri="{FF2B5EF4-FFF2-40B4-BE49-F238E27FC236}">
                <a16:creationId xmlns:a16="http://schemas.microsoft.com/office/drawing/2014/main" id="{BDBA78F2-A9DE-4AB8-A4E1-761EACDB9FCC}"/>
              </a:ext>
            </a:extLst>
          </p:cNvPr>
          <p:cNvSpPr>
            <a:spLocks noGrp="1"/>
          </p:cNvSpPr>
          <p:nvPr>
            <p:ph type="body" sz="quarter" idx="14"/>
          </p:nvPr>
        </p:nvSpPr>
        <p:spPr>
          <a:xfrm>
            <a:off x="673101" y="1623484"/>
            <a:ext cx="10847919" cy="4614333"/>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p:nvPicPr>
        <p:blipFill>
          <a:blip r:embed="rId6" cstate="email">
            <a:alphaModFix/>
            <a:extLst>
              <a:ext uri="{28A0092B-C50C-407E-A947-70E740481C1C}">
                <a14:useLocalDpi xmlns:a14="http://schemas.microsoft.com/office/drawing/2010/main"/>
              </a:ext>
            </a:extLst>
          </a:blip>
          <a:stretch>
            <a:fillRect/>
          </a:stretch>
        </p:blipFill>
        <p:spPr>
          <a:xfrm>
            <a:off x="11041019" y="288001"/>
            <a:ext cx="480000" cy="613041"/>
          </a:xfrm>
          <a:prstGeom prst="rect">
            <a:avLst/>
          </a:prstGeom>
          <a:noFill/>
        </p:spPr>
      </p:pic>
    </p:spTree>
    <p:extLst>
      <p:ext uri="{BB962C8B-B14F-4D97-AF65-F5344CB8AC3E}">
        <p14:creationId xmlns:p14="http://schemas.microsoft.com/office/powerpoint/2010/main" val="255631132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961335A-8C71-4906-B035-4841327EAB24}"/>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F961335A-8C71-4906-B035-4841327EAB24}"/>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7BB393-155A-4310-8B8C-54BB9A9AEEAC}"/>
              </a:ext>
            </a:extLst>
          </p:cNvPr>
          <p:cNvSpPr/>
          <p:nvPr>
            <p:custDataLst>
              <p:tags r:id="rId2"/>
            </p:custDataLst>
          </p:nvPr>
        </p:nvSpPr>
        <p:spPr>
          <a:xfrm>
            <a:off x="0" y="0"/>
            <a:ext cx="211667"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BFF479DA-8DD6-4320-946F-6447CE9AABD1}"/>
              </a:ext>
            </a:extLst>
          </p:cNvPr>
          <p:cNvSpPr>
            <a:spLocks noGrp="1"/>
          </p:cNvSpPr>
          <p:nvPr>
            <p:ph type="title"/>
          </p:nvPr>
        </p:nvSpPr>
        <p:spPr/>
        <p:txBody>
          <a:bodyPr/>
          <a:lstStyle/>
          <a:p>
            <a:r>
              <a:rPr lang="en-US"/>
              <a:t>Click to edit Master title style</a:t>
            </a:r>
            <a:endParaRPr lang="en-IN" dirty="0"/>
          </a:p>
        </p:txBody>
      </p:sp>
      <p:sp>
        <p:nvSpPr>
          <p:cNvPr id="5" name="Date Placeholder 4">
            <a:extLst>
              <a:ext uri="{FF2B5EF4-FFF2-40B4-BE49-F238E27FC236}">
                <a16:creationId xmlns:a16="http://schemas.microsoft.com/office/drawing/2014/main" id="{F7C6C201-4266-412C-8AC9-E9BCA52E5053}"/>
              </a:ext>
            </a:extLst>
          </p:cNvPr>
          <p:cNvSpPr>
            <a:spLocks noGrp="1"/>
          </p:cNvSpPr>
          <p:nvPr>
            <p:ph type="dt" sz="half" idx="10"/>
          </p:nvPr>
        </p:nvSpPr>
        <p:spPr/>
        <p:txBody>
          <a:bodyPr/>
          <a:lstStyle/>
          <a:p>
            <a:endParaRPr lang="en-IN" dirty="0"/>
          </a:p>
        </p:txBody>
      </p:sp>
      <p:sp>
        <p:nvSpPr>
          <p:cNvPr id="6" name="Footer Placeholder 5">
            <a:extLst>
              <a:ext uri="{FF2B5EF4-FFF2-40B4-BE49-F238E27FC236}">
                <a16:creationId xmlns:a16="http://schemas.microsoft.com/office/drawing/2014/main" id="{8B847EA0-0639-4962-AADA-DCC10C6CED96}"/>
              </a:ext>
            </a:extLst>
          </p:cNvPr>
          <p:cNvSpPr>
            <a:spLocks noGrp="1"/>
          </p:cNvSpPr>
          <p:nvPr>
            <p:ph type="ftr" sz="quarter" idx="11"/>
          </p:nvPr>
        </p:nvSpPr>
        <p:spPr/>
        <p:txBody>
          <a:bodyPr/>
          <a:lstStyle/>
          <a:p>
            <a:endParaRPr lang="en-IN" dirty="0"/>
          </a:p>
        </p:txBody>
      </p:sp>
      <p:sp>
        <p:nvSpPr>
          <p:cNvPr id="7" name="Slide Number Placeholder 6">
            <a:extLst>
              <a:ext uri="{FF2B5EF4-FFF2-40B4-BE49-F238E27FC236}">
                <a16:creationId xmlns:a16="http://schemas.microsoft.com/office/drawing/2014/main" id="{D24ACDF8-C435-48D3-BF23-1B763DEDD9DB}"/>
              </a:ext>
            </a:extLst>
          </p:cNvPr>
          <p:cNvSpPr>
            <a:spLocks noGrp="1"/>
          </p:cNvSpPr>
          <p:nvPr>
            <p:ph type="sldNum" sz="quarter" idx="12"/>
          </p:nvPr>
        </p:nvSpPr>
        <p:spPr/>
        <p:txBody>
          <a:bodyPr/>
          <a:lstStyle/>
          <a:p>
            <a:fld id="{A5163908-529D-4A49-892F-D37C4044DFD8}" type="slidenum">
              <a:rPr lang="en-IN" smtClean="0"/>
              <a:pPr/>
              <a:t>‹#›</a:t>
            </a:fld>
            <a:endParaRPr lang="en-IN"/>
          </a:p>
        </p:txBody>
      </p:sp>
    </p:spTree>
    <p:extLst>
      <p:ext uri="{BB962C8B-B14F-4D97-AF65-F5344CB8AC3E}">
        <p14:creationId xmlns:p14="http://schemas.microsoft.com/office/powerpoint/2010/main" val="336932500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p:cSld name="Blue Title Only">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961335A-8C71-4906-B035-4841327EAB24}"/>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F961335A-8C71-4906-B035-4841327EAB24}"/>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7BB393-155A-4310-8B8C-54BB9A9AEEAC}"/>
              </a:ext>
            </a:extLst>
          </p:cNvPr>
          <p:cNvSpPr/>
          <p:nvPr>
            <p:custDataLst>
              <p:tags r:id="rId2"/>
            </p:custDataLst>
          </p:nvPr>
        </p:nvSpPr>
        <p:spPr>
          <a:xfrm>
            <a:off x="0" y="0"/>
            <a:ext cx="211667"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BFF479DA-8DD6-4320-946F-6447CE9AABD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IN" dirty="0"/>
          </a:p>
        </p:txBody>
      </p:sp>
      <p:sp>
        <p:nvSpPr>
          <p:cNvPr id="5" name="Date Placeholder 4">
            <a:extLst>
              <a:ext uri="{FF2B5EF4-FFF2-40B4-BE49-F238E27FC236}">
                <a16:creationId xmlns:a16="http://schemas.microsoft.com/office/drawing/2014/main" id="{F7C6C201-4266-412C-8AC9-E9BCA52E5053}"/>
              </a:ext>
            </a:extLst>
          </p:cNvPr>
          <p:cNvSpPr>
            <a:spLocks noGrp="1"/>
          </p:cNvSpPr>
          <p:nvPr>
            <p:ph type="dt" sz="half" idx="10"/>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8B847EA0-0639-4962-AADA-DCC10C6CED96}"/>
              </a:ext>
            </a:extLst>
          </p:cNvPr>
          <p:cNvSpPr>
            <a:spLocks noGrp="1"/>
          </p:cNvSpPr>
          <p:nvPr>
            <p:ph type="ftr" sz="quarter" idx="11"/>
          </p:nvPr>
        </p:nvSpPr>
        <p:spPr/>
        <p:txBody>
          <a:bodyPr/>
          <a:lstStyle>
            <a:lvl1pPr>
              <a:defRPr>
                <a:solidFill>
                  <a:schemeClr val="bg1"/>
                </a:solidFill>
              </a:defRPr>
            </a:lvl1pPr>
          </a:lstStyle>
          <a:p>
            <a:endParaRPr lang="en-IN" dirty="0"/>
          </a:p>
        </p:txBody>
      </p:sp>
      <p:sp>
        <p:nvSpPr>
          <p:cNvPr id="7" name="Slide Number Placeholder 6">
            <a:extLst>
              <a:ext uri="{FF2B5EF4-FFF2-40B4-BE49-F238E27FC236}">
                <a16:creationId xmlns:a16="http://schemas.microsoft.com/office/drawing/2014/main" id="{D24ACDF8-C435-48D3-BF23-1B763DEDD9DB}"/>
              </a:ext>
            </a:extLst>
          </p:cNvPr>
          <p:cNvSpPr>
            <a:spLocks noGrp="1"/>
          </p:cNvSpPr>
          <p:nvPr>
            <p:ph type="sldNum" sz="quarter" idx="12"/>
          </p:nvPr>
        </p:nvSpPr>
        <p:spPr/>
        <p:txBody>
          <a:bodyPr/>
          <a:lstStyle>
            <a:lvl1pPr>
              <a:defRPr>
                <a:solidFill>
                  <a:schemeClr val="bg1"/>
                </a:solidFill>
              </a:defRPr>
            </a:lvl1pPr>
          </a:lstStyle>
          <a:p>
            <a:fld id="{A5163908-529D-4A49-892F-D37C4044DFD8}" type="slidenum">
              <a:rPr lang="en-IN" smtClean="0"/>
              <a:pPr/>
              <a:t>‹#›</a:t>
            </a:fld>
            <a:endParaRPr lang="en-IN"/>
          </a:p>
        </p:txBody>
      </p:sp>
      <p:pic>
        <p:nvPicPr>
          <p:cNvPr id="8" name="Picture 7">
            <a:extLst>
              <a:ext uri="{FF2B5EF4-FFF2-40B4-BE49-F238E27FC236}">
                <a16:creationId xmlns:a16="http://schemas.microsoft.com/office/drawing/2014/main" id="{EB71E562-413B-4F0D-A2C0-64A59DCF28CC}"/>
              </a:ext>
            </a:extLst>
          </p:cNvPr>
          <p:cNvPicPr>
            <a:picLocks noChangeAspect="1"/>
          </p:cNvPicPr>
          <p:nvPr/>
        </p:nvPicPr>
        <p:blipFill>
          <a:blip r:embed="rId6" cstate="email">
            <a:alphaModFix/>
            <a:extLst>
              <a:ext uri="{28A0092B-C50C-407E-A947-70E740481C1C}">
                <a14:useLocalDpi xmlns:a14="http://schemas.microsoft.com/office/drawing/2010/main"/>
              </a:ext>
            </a:extLst>
          </a:blip>
          <a:stretch>
            <a:fillRect/>
          </a:stretch>
        </p:blipFill>
        <p:spPr>
          <a:xfrm>
            <a:off x="11041017" y="288001"/>
            <a:ext cx="480000" cy="613041"/>
          </a:xfrm>
          <a:prstGeom prst="rect">
            <a:avLst/>
          </a:prstGeom>
          <a:noFill/>
        </p:spPr>
      </p:pic>
    </p:spTree>
    <p:extLst>
      <p:ext uri="{BB962C8B-B14F-4D97-AF65-F5344CB8AC3E}">
        <p14:creationId xmlns:p14="http://schemas.microsoft.com/office/powerpoint/2010/main" val="184832662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A04ADFE-9A66-4402-ADB9-F737C99AC817}"/>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3" name="Object 2" hidden="1">
                        <a:extLst>
                          <a:ext uri="{FF2B5EF4-FFF2-40B4-BE49-F238E27FC236}">
                            <a16:creationId xmlns:a16="http://schemas.microsoft.com/office/drawing/2014/main" id="{5A04ADFE-9A66-4402-ADB9-F737C99AC817}"/>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C9F324-D96D-43C9-9F1D-74F1A749ED0A}"/>
              </a:ext>
            </a:extLst>
          </p:cNvPr>
          <p:cNvSpPr/>
          <p:nvPr>
            <p:custDataLst>
              <p:tags r:id="rId2"/>
            </p:custDataLst>
          </p:nvPr>
        </p:nvSpPr>
        <p:spPr>
          <a:xfrm>
            <a:off x="0" y="0"/>
            <a:ext cx="211667"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dirty="0">
              <a:latin typeface="Calibri Light" panose="020F0302020204030204" pitchFamily="34" charset="0"/>
              <a:ea typeface="+mj-ea"/>
              <a:cs typeface="+mj-cs"/>
              <a:sym typeface="Calibri Light" panose="020F0302020204030204" pitchFamily="34" charset="0"/>
            </a:endParaRPr>
          </a:p>
        </p:txBody>
      </p:sp>
      <p:sp>
        <p:nvSpPr>
          <p:cNvPr id="5" name="Title 4">
            <a:extLst>
              <a:ext uri="{FF2B5EF4-FFF2-40B4-BE49-F238E27FC236}">
                <a16:creationId xmlns:a16="http://schemas.microsoft.com/office/drawing/2014/main" id="{AD6FF390-C074-41B4-BFDD-16F0AF26BAA5}"/>
              </a:ext>
            </a:extLst>
          </p:cNvPr>
          <p:cNvSpPr>
            <a:spLocks noGrp="1"/>
          </p:cNvSpPr>
          <p:nvPr>
            <p:ph type="title"/>
          </p:nvPr>
        </p:nvSpPr>
        <p:spPr/>
        <p:txBody>
          <a:bodyPr/>
          <a:lstStyle/>
          <a:p>
            <a:r>
              <a:rPr lang="en-US"/>
              <a:t>Click to edit Master title style</a:t>
            </a:r>
            <a:endParaRPr lang="en-IN"/>
          </a:p>
        </p:txBody>
      </p:sp>
      <p:sp>
        <p:nvSpPr>
          <p:cNvPr id="6" name="Date Placeholder 5">
            <a:extLst>
              <a:ext uri="{FF2B5EF4-FFF2-40B4-BE49-F238E27FC236}">
                <a16:creationId xmlns:a16="http://schemas.microsoft.com/office/drawing/2014/main" id="{8262478C-A2B9-4776-BE79-6136821C6D1B}"/>
              </a:ext>
            </a:extLst>
          </p:cNvPr>
          <p:cNvSpPr>
            <a:spLocks noGrp="1"/>
          </p:cNvSpPr>
          <p:nvPr>
            <p:ph type="dt" sz="half" idx="14"/>
          </p:nvPr>
        </p:nvSpPr>
        <p:spPr/>
        <p:txBody>
          <a:bodyPr/>
          <a:lstStyle/>
          <a:p>
            <a:endParaRPr lang="en-IN" dirty="0"/>
          </a:p>
        </p:txBody>
      </p:sp>
      <p:sp>
        <p:nvSpPr>
          <p:cNvPr id="7" name="Footer Placeholder 6">
            <a:extLst>
              <a:ext uri="{FF2B5EF4-FFF2-40B4-BE49-F238E27FC236}">
                <a16:creationId xmlns:a16="http://schemas.microsoft.com/office/drawing/2014/main" id="{B446DDBD-3CF8-4852-AFCD-6916157B8301}"/>
              </a:ext>
            </a:extLst>
          </p:cNvPr>
          <p:cNvSpPr>
            <a:spLocks noGrp="1"/>
          </p:cNvSpPr>
          <p:nvPr>
            <p:ph type="ftr" sz="quarter" idx="15"/>
          </p:nvPr>
        </p:nvSpPr>
        <p:spPr/>
        <p:txBody>
          <a:bodyPr/>
          <a:lstStyle/>
          <a:p>
            <a:endParaRPr lang="en-IN" dirty="0"/>
          </a:p>
        </p:txBody>
      </p:sp>
      <p:sp>
        <p:nvSpPr>
          <p:cNvPr id="8" name="Slide Number Placeholder 7">
            <a:extLst>
              <a:ext uri="{FF2B5EF4-FFF2-40B4-BE49-F238E27FC236}">
                <a16:creationId xmlns:a16="http://schemas.microsoft.com/office/drawing/2014/main" id="{99191BF6-7645-4AA5-BBDA-A5098F6872EC}"/>
              </a:ext>
            </a:extLst>
          </p:cNvPr>
          <p:cNvSpPr>
            <a:spLocks noGrp="1"/>
          </p:cNvSpPr>
          <p:nvPr>
            <p:ph type="sldNum" sz="quarter" idx="16"/>
          </p:nvPr>
        </p:nvSpPr>
        <p:spPr/>
        <p:txBody>
          <a:bodyPr/>
          <a:lstStyle/>
          <a:p>
            <a:fld id="{A5163908-529D-4A49-892F-D37C4044DFD8}" type="slidenum">
              <a:rPr lang="en-IN" smtClean="0"/>
              <a:pPr/>
              <a:t>‹#›</a:t>
            </a:fld>
            <a:endParaRPr lang="en-IN"/>
          </a:p>
        </p:txBody>
      </p:sp>
      <p:sp>
        <p:nvSpPr>
          <p:cNvPr id="9" name="Text Placeholder 8">
            <a:extLst>
              <a:ext uri="{FF2B5EF4-FFF2-40B4-BE49-F238E27FC236}">
                <a16:creationId xmlns:a16="http://schemas.microsoft.com/office/drawing/2014/main" id="{C35C9F09-7021-4051-A9D1-030CD6FC330E}"/>
              </a:ext>
            </a:extLst>
          </p:cNvPr>
          <p:cNvSpPr>
            <a:spLocks noGrp="1"/>
          </p:cNvSpPr>
          <p:nvPr>
            <p:ph type="body" sz="quarter" idx="17"/>
          </p:nvPr>
        </p:nvSpPr>
        <p:spPr>
          <a:xfrm>
            <a:off x="673100" y="1623484"/>
            <a:ext cx="5088467" cy="4614333"/>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4809A377-7525-43E7-B08A-D3AD27D17047}"/>
              </a:ext>
            </a:extLst>
          </p:cNvPr>
          <p:cNvSpPr>
            <a:spLocks noGrp="1"/>
          </p:cNvSpPr>
          <p:nvPr>
            <p:ph type="body" sz="quarter" idx="18"/>
          </p:nvPr>
        </p:nvSpPr>
        <p:spPr>
          <a:xfrm>
            <a:off x="6432551" y="1623484"/>
            <a:ext cx="5088467" cy="4614333"/>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22104240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p:cSld name="Blue Two Content">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A04ADFE-9A66-4402-ADB9-F737C99AC817}"/>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3" name="Object 2" hidden="1">
                        <a:extLst>
                          <a:ext uri="{FF2B5EF4-FFF2-40B4-BE49-F238E27FC236}">
                            <a16:creationId xmlns:a16="http://schemas.microsoft.com/office/drawing/2014/main" id="{5A04ADFE-9A66-4402-ADB9-F737C99AC817}"/>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C9F324-D96D-43C9-9F1D-74F1A749ED0A}"/>
              </a:ext>
            </a:extLst>
          </p:cNvPr>
          <p:cNvSpPr/>
          <p:nvPr>
            <p:custDataLst>
              <p:tags r:id="rId2"/>
            </p:custDataLst>
          </p:nvPr>
        </p:nvSpPr>
        <p:spPr>
          <a:xfrm>
            <a:off x="0" y="0"/>
            <a:ext cx="211667"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dirty="0">
              <a:latin typeface="Calibri Light" panose="020F0302020204030204" pitchFamily="34" charset="0"/>
              <a:ea typeface="+mj-ea"/>
              <a:cs typeface="+mj-cs"/>
              <a:sym typeface="Calibri Light" panose="020F0302020204030204" pitchFamily="34" charset="0"/>
            </a:endParaRPr>
          </a:p>
        </p:txBody>
      </p:sp>
      <p:sp>
        <p:nvSpPr>
          <p:cNvPr id="5" name="Title 4">
            <a:extLst>
              <a:ext uri="{FF2B5EF4-FFF2-40B4-BE49-F238E27FC236}">
                <a16:creationId xmlns:a16="http://schemas.microsoft.com/office/drawing/2014/main" id="{AD6FF390-C074-41B4-BFDD-16F0AF26BAA5}"/>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IN"/>
          </a:p>
        </p:txBody>
      </p:sp>
      <p:sp>
        <p:nvSpPr>
          <p:cNvPr id="6" name="Date Placeholder 5">
            <a:extLst>
              <a:ext uri="{FF2B5EF4-FFF2-40B4-BE49-F238E27FC236}">
                <a16:creationId xmlns:a16="http://schemas.microsoft.com/office/drawing/2014/main" id="{8262478C-A2B9-4776-BE79-6136821C6D1B}"/>
              </a:ext>
            </a:extLst>
          </p:cNvPr>
          <p:cNvSpPr>
            <a:spLocks noGrp="1"/>
          </p:cNvSpPr>
          <p:nvPr>
            <p:ph type="dt" sz="half" idx="14"/>
          </p:nvPr>
        </p:nvSpPr>
        <p:spPr/>
        <p:txBody>
          <a:bodyPr/>
          <a:lstStyle>
            <a:lvl1pPr>
              <a:defRPr>
                <a:solidFill>
                  <a:schemeClr val="bg1"/>
                </a:solidFill>
              </a:defRPr>
            </a:lvl1pPr>
          </a:lstStyle>
          <a:p>
            <a:endParaRPr lang="en-IN" dirty="0"/>
          </a:p>
        </p:txBody>
      </p:sp>
      <p:sp>
        <p:nvSpPr>
          <p:cNvPr id="7" name="Footer Placeholder 6">
            <a:extLst>
              <a:ext uri="{FF2B5EF4-FFF2-40B4-BE49-F238E27FC236}">
                <a16:creationId xmlns:a16="http://schemas.microsoft.com/office/drawing/2014/main" id="{B446DDBD-3CF8-4852-AFCD-6916157B8301}"/>
              </a:ext>
            </a:extLst>
          </p:cNvPr>
          <p:cNvSpPr>
            <a:spLocks noGrp="1"/>
          </p:cNvSpPr>
          <p:nvPr>
            <p:ph type="ftr" sz="quarter" idx="15"/>
          </p:nvPr>
        </p:nvSpPr>
        <p:spPr/>
        <p:txBody>
          <a:bodyPr/>
          <a:lstStyle>
            <a:lvl1pPr>
              <a:defRPr>
                <a:solidFill>
                  <a:schemeClr val="bg1"/>
                </a:solidFill>
              </a:defRPr>
            </a:lvl1pPr>
          </a:lstStyle>
          <a:p>
            <a:endParaRPr lang="en-IN" dirty="0"/>
          </a:p>
        </p:txBody>
      </p:sp>
      <p:sp>
        <p:nvSpPr>
          <p:cNvPr id="8" name="Slide Number Placeholder 7">
            <a:extLst>
              <a:ext uri="{FF2B5EF4-FFF2-40B4-BE49-F238E27FC236}">
                <a16:creationId xmlns:a16="http://schemas.microsoft.com/office/drawing/2014/main" id="{99191BF6-7645-4AA5-BBDA-A5098F6872EC}"/>
              </a:ext>
            </a:extLst>
          </p:cNvPr>
          <p:cNvSpPr>
            <a:spLocks noGrp="1"/>
          </p:cNvSpPr>
          <p:nvPr>
            <p:ph type="sldNum" sz="quarter" idx="16"/>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9" name="Text Placeholder 8">
            <a:extLst>
              <a:ext uri="{FF2B5EF4-FFF2-40B4-BE49-F238E27FC236}">
                <a16:creationId xmlns:a16="http://schemas.microsoft.com/office/drawing/2014/main" id="{C35C9F09-7021-4051-A9D1-030CD6FC330E}"/>
              </a:ext>
            </a:extLst>
          </p:cNvPr>
          <p:cNvSpPr>
            <a:spLocks noGrp="1"/>
          </p:cNvSpPr>
          <p:nvPr>
            <p:ph type="body" sz="quarter" idx="17"/>
          </p:nvPr>
        </p:nvSpPr>
        <p:spPr>
          <a:xfrm>
            <a:off x="673100" y="1623484"/>
            <a:ext cx="5088467" cy="4614333"/>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4809A377-7525-43E7-B08A-D3AD27D17047}"/>
              </a:ext>
            </a:extLst>
          </p:cNvPr>
          <p:cNvSpPr>
            <a:spLocks noGrp="1"/>
          </p:cNvSpPr>
          <p:nvPr>
            <p:ph type="body" sz="quarter" idx="18"/>
          </p:nvPr>
        </p:nvSpPr>
        <p:spPr>
          <a:xfrm>
            <a:off x="6432551" y="1623484"/>
            <a:ext cx="5088467" cy="4614333"/>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0" name="Picture 9">
            <a:extLst>
              <a:ext uri="{FF2B5EF4-FFF2-40B4-BE49-F238E27FC236}">
                <a16:creationId xmlns:a16="http://schemas.microsoft.com/office/drawing/2014/main" id="{EE4AB85C-6D68-43DC-9254-2702C4AC327B}"/>
              </a:ext>
            </a:extLst>
          </p:cNvPr>
          <p:cNvPicPr>
            <a:picLocks noChangeAspect="1"/>
          </p:cNvPicPr>
          <p:nvPr/>
        </p:nvPicPr>
        <p:blipFill>
          <a:blip r:embed="rId6" cstate="email">
            <a:alphaModFix/>
            <a:extLst>
              <a:ext uri="{28A0092B-C50C-407E-A947-70E740481C1C}">
                <a14:useLocalDpi xmlns:a14="http://schemas.microsoft.com/office/drawing/2010/main"/>
              </a:ext>
            </a:extLst>
          </a:blip>
          <a:stretch>
            <a:fillRect/>
          </a:stretch>
        </p:blipFill>
        <p:spPr>
          <a:xfrm>
            <a:off x="11041017" y="288001"/>
            <a:ext cx="480000" cy="613041"/>
          </a:xfrm>
          <a:prstGeom prst="rect">
            <a:avLst/>
          </a:prstGeom>
          <a:noFill/>
        </p:spPr>
      </p:pic>
    </p:spTree>
    <p:extLst>
      <p:ext uri="{BB962C8B-B14F-4D97-AF65-F5344CB8AC3E}">
        <p14:creationId xmlns:p14="http://schemas.microsoft.com/office/powerpoint/2010/main" val="344615510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Vertical image -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BF4024-250B-4DF0-88FD-894C7422FA51}"/>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BF4024-250B-4DF0-88FD-894C7422FA51}"/>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D240ED2-4EC0-4518-89F1-BBB2F52D7439}"/>
              </a:ext>
            </a:extLst>
          </p:cNvPr>
          <p:cNvSpPr/>
          <p:nvPr>
            <p:custDataLst>
              <p:tags r:id="rId2"/>
            </p:custDataLst>
          </p:nvPr>
        </p:nvSpPr>
        <p:spPr>
          <a:xfrm>
            <a:off x="0" y="0"/>
            <a:ext cx="211667"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dirty="0">
              <a:latin typeface="Calibri Light" panose="020F0302020204030204" pitchFamily="34" charset="0"/>
              <a:ea typeface="+mj-ea"/>
              <a:cs typeface="+mj-cs"/>
              <a:sym typeface="Calibri Light" panose="020F0302020204030204" pitchFamily="34" charset="0"/>
            </a:endParaRPr>
          </a:p>
        </p:txBody>
      </p:sp>
      <p:sp>
        <p:nvSpPr>
          <p:cNvPr id="6" name="Picture Placeholder 2"/>
          <p:cNvSpPr>
            <a:spLocks noGrp="1"/>
          </p:cNvSpPr>
          <p:nvPr>
            <p:ph type="pic" sz="quarter" idx="14"/>
          </p:nvPr>
        </p:nvSpPr>
        <p:spPr>
          <a:xfrm>
            <a:off x="0" y="0"/>
            <a:ext cx="4656667" cy="6851904"/>
          </a:xfrm>
          <a:prstGeom prst="rect">
            <a:avLst/>
          </a:prstGeom>
          <a:solidFill>
            <a:schemeClr val="bg1">
              <a:lumMod val="85000"/>
            </a:schemeClr>
          </a:solidFill>
        </p:spPr>
        <p:txBody>
          <a:bodyPr/>
          <a:lstStyle>
            <a:lvl1pPr marL="0" indent="0">
              <a:buNone/>
              <a:defRPr sz="1733">
                <a:solidFill>
                  <a:schemeClr val="tx1"/>
                </a:solidFill>
              </a:defRPr>
            </a:lvl1pPr>
          </a:lstStyle>
          <a:p>
            <a:r>
              <a:rPr lang="en-US"/>
              <a:t>Click icon to add picture</a:t>
            </a:r>
            <a:endParaRPr lang="en-US" dirty="0"/>
          </a:p>
        </p:txBody>
      </p:sp>
      <p:sp>
        <p:nvSpPr>
          <p:cNvPr id="2" name="Title 1">
            <a:extLst>
              <a:ext uri="{FF2B5EF4-FFF2-40B4-BE49-F238E27FC236}">
                <a16:creationId xmlns:a16="http://schemas.microsoft.com/office/drawing/2014/main" id="{8CB71538-B430-4B25-AB35-31746FF03029}"/>
              </a:ext>
            </a:extLst>
          </p:cNvPr>
          <p:cNvSpPr>
            <a:spLocks noGrp="1"/>
          </p:cNvSpPr>
          <p:nvPr>
            <p:ph type="title"/>
          </p:nvPr>
        </p:nvSpPr>
        <p:spPr>
          <a:xfrm>
            <a:off x="5327915" y="507999"/>
            <a:ext cx="5376069" cy="931335"/>
          </a:xfrm>
        </p:spPr>
        <p:txBody>
          <a:bodyPr/>
          <a:lstStyle/>
          <a:p>
            <a:r>
              <a:rPr lang="en-US"/>
              <a:t>Click to edit Master title style</a:t>
            </a:r>
            <a:endParaRPr lang="en-IN" dirty="0"/>
          </a:p>
        </p:txBody>
      </p:sp>
      <p:sp>
        <p:nvSpPr>
          <p:cNvPr id="5" name="Date Placeholder 4">
            <a:extLst>
              <a:ext uri="{FF2B5EF4-FFF2-40B4-BE49-F238E27FC236}">
                <a16:creationId xmlns:a16="http://schemas.microsoft.com/office/drawing/2014/main" id="{F342523A-C070-4FDB-86F7-7875D41CCDAE}"/>
              </a:ext>
            </a:extLst>
          </p:cNvPr>
          <p:cNvSpPr>
            <a:spLocks noGrp="1"/>
          </p:cNvSpPr>
          <p:nvPr>
            <p:ph type="dt" sz="half" idx="16"/>
          </p:nvPr>
        </p:nvSpPr>
        <p:spPr/>
        <p:txBody>
          <a:bodyPr/>
          <a:lstStyle/>
          <a:p>
            <a:endParaRPr lang="en-IN" dirty="0"/>
          </a:p>
        </p:txBody>
      </p:sp>
      <p:sp>
        <p:nvSpPr>
          <p:cNvPr id="7" name="Footer Placeholder 6">
            <a:extLst>
              <a:ext uri="{FF2B5EF4-FFF2-40B4-BE49-F238E27FC236}">
                <a16:creationId xmlns:a16="http://schemas.microsoft.com/office/drawing/2014/main" id="{910264BD-5203-49E4-BC0F-3E4178D54B1D}"/>
              </a:ext>
            </a:extLst>
          </p:cNvPr>
          <p:cNvSpPr>
            <a:spLocks noGrp="1"/>
          </p:cNvSpPr>
          <p:nvPr>
            <p:ph type="ftr" sz="quarter" idx="17"/>
          </p:nvPr>
        </p:nvSpPr>
        <p:spPr/>
        <p:txBody>
          <a:bodyPr/>
          <a:lstStyle/>
          <a:p>
            <a:endParaRPr lang="en-IN" dirty="0"/>
          </a:p>
        </p:txBody>
      </p:sp>
      <p:sp>
        <p:nvSpPr>
          <p:cNvPr id="8" name="Slide Number Placeholder 7">
            <a:extLst>
              <a:ext uri="{FF2B5EF4-FFF2-40B4-BE49-F238E27FC236}">
                <a16:creationId xmlns:a16="http://schemas.microsoft.com/office/drawing/2014/main" id="{3E744C28-1BF7-4E7F-A965-D914E61E58F3}"/>
              </a:ext>
            </a:extLst>
          </p:cNvPr>
          <p:cNvSpPr>
            <a:spLocks noGrp="1"/>
          </p:cNvSpPr>
          <p:nvPr>
            <p:ph type="sldNum" sz="quarter" idx="18"/>
          </p:nvPr>
        </p:nvSpPr>
        <p:spPr/>
        <p:txBody>
          <a:bodyPr/>
          <a:lstStyle/>
          <a:p>
            <a:fld id="{A5163908-529D-4A49-892F-D37C4044DFD8}" type="slidenum">
              <a:rPr lang="en-IN" smtClean="0"/>
              <a:pPr/>
              <a:t>‹#›</a:t>
            </a:fld>
            <a:endParaRPr lang="en-IN"/>
          </a:p>
        </p:txBody>
      </p:sp>
      <p:sp>
        <p:nvSpPr>
          <p:cNvPr id="12" name="Text Placeholder 11">
            <a:extLst>
              <a:ext uri="{FF2B5EF4-FFF2-40B4-BE49-F238E27FC236}">
                <a16:creationId xmlns:a16="http://schemas.microsoft.com/office/drawing/2014/main" id="{0A17CC56-2B12-4A59-950F-3DCB9600CEDE}"/>
              </a:ext>
            </a:extLst>
          </p:cNvPr>
          <p:cNvSpPr>
            <a:spLocks noGrp="1"/>
          </p:cNvSpPr>
          <p:nvPr>
            <p:ph type="body" sz="quarter" idx="19"/>
          </p:nvPr>
        </p:nvSpPr>
        <p:spPr>
          <a:xfrm>
            <a:off x="5327915" y="1623483"/>
            <a:ext cx="6193104" cy="4614335"/>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1927168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p:cSld name="Vertical image - 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493118-70BE-49DA-9C6C-347B4D8A8BC0}"/>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5" name="Object 4" hidden="1">
                        <a:extLst>
                          <a:ext uri="{FF2B5EF4-FFF2-40B4-BE49-F238E27FC236}">
                            <a16:creationId xmlns:a16="http://schemas.microsoft.com/office/drawing/2014/main" id="{DD493118-70BE-49DA-9C6C-347B4D8A8BC0}"/>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1B156F3-CF8C-4CDD-A03E-A24D93085D28}"/>
              </a:ext>
            </a:extLst>
          </p:cNvPr>
          <p:cNvSpPr/>
          <p:nvPr>
            <p:custDataLst>
              <p:tags r:id="rId2"/>
            </p:custDataLst>
          </p:nvPr>
        </p:nvSpPr>
        <p:spPr>
          <a:xfrm>
            <a:off x="0" y="0"/>
            <a:ext cx="211667"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dirty="0">
              <a:latin typeface="Calibri Light" panose="020F0302020204030204" pitchFamily="34" charset="0"/>
              <a:ea typeface="+mj-ea"/>
              <a:cs typeface="+mj-cs"/>
              <a:sym typeface="Calibri Light" panose="020F0302020204030204" pitchFamily="34" charset="0"/>
            </a:endParaRPr>
          </a:p>
        </p:txBody>
      </p:sp>
      <p:sp>
        <p:nvSpPr>
          <p:cNvPr id="6" name="Picture Placeholder 2"/>
          <p:cNvSpPr>
            <a:spLocks noGrp="1"/>
          </p:cNvSpPr>
          <p:nvPr>
            <p:ph type="pic" sz="quarter" idx="14"/>
          </p:nvPr>
        </p:nvSpPr>
        <p:spPr>
          <a:xfrm>
            <a:off x="7535333" y="0"/>
            <a:ext cx="4656667" cy="6851904"/>
          </a:xfrm>
          <a:prstGeom prst="rect">
            <a:avLst/>
          </a:prstGeom>
          <a:solidFill>
            <a:schemeClr val="bg1">
              <a:lumMod val="85000"/>
            </a:schemeClr>
          </a:solidFill>
        </p:spPr>
        <p:txBody>
          <a:bodyPr/>
          <a:lstStyle>
            <a:lvl1pPr marL="0" indent="0">
              <a:buNone/>
              <a:defRPr sz="1733">
                <a:solidFill>
                  <a:schemeClr val="tx1"/>
                </a:solidFill>
              </a:defRPr>
            </a:lvl1pPr>
          </a:lstStyle>
          <a:p>
            <a:r>
              <a:rPr lang="en-US"/>
              <a:t>Click icon to add picture</a:t>
            </a:r>
            <a:endParaRPr lang="en-US" dirty="0"/>
          </a:p>
        </p:txBody>
      </p:sp>
      <p:sp>
        <p:nvSpPr>
          <p:cNvPr id="3" name="Title 2">
            <a:extLst>
              <a:ext uri="{FF2B5EF4-FFF2-40B4-BE49-F238E27FC236}">
                <a16:creationId xmlns:a16="http://schemas.microsoft.com/office/drawing/2014/main" id="{7923F61C-4E8C-4FD1-B6ED-B2BBE09DECD2}"/>
              </a:ext>
            </a:extLst>
          </p:cNvPr>
          <p:cNvSpPr>
            <a:spLocks noGrp="1"/>
          </p:cNvSpPr>
          <p:nvPr>
            <p:ph type="title"/>
          </p:nvPr>
        </p:nvSpPr>
        <p:spPr>
          <a:xfrm>
            <a:off x="673102" y="507999"/>
            <a:ext cx="6047433" cy="931335"/>
          </a:xfrm>
        </p:spPr>
        <p:txBody>
          <a:bodyPr/>
          <a:lstStyle/>
          <a:p>
            <a:r>
              <a:rPr lang="en-US"/>
              <a:t>Click to edit Master title style</a:t>
            </a:r>
            <a:endParaRPr lang="en-IN" dirty="0"/>
          </a:p>
        </p:txBody>
      </p:sp>
      <p:sp>
        <p:nvSpPr>
          <p:cNvPr id="2" name="Date Placeholder 1">
            <a:extLst>
              <a:ext uri="{FF2B5EF4-FFF2-40B4-BE49-F238E27FC236}">
                <a16:creationId xmlns:a16="http://schemas.microsoft.com/office/drawing/2014/main" id="{9615EEC5-0A06-4B5F-809B-FA1044DD4102}"/>
              </a:ext>
            </a:extLst>
          </p:cNvPr>
          <p:cNvSpPr>
            <a:spLocks noGrp="1"/>
          </p:cNvSpPr>
          <p:nvPr>
            <p:ph type="dt" sz="half" idx="16"/>
          </p:nvPr>
        </p:nvSpPr>
        <p:spPr/>
        <p:txBody>
          <a:bodyPr/>
          <a:lstStyle/>
          <a:p>
            <a:endParaRPr lang="en-IN" dirty="0"/>
          </a:p>
        </p:txBody>
      </p:sp>
      <p:sp>
        <p:nvSpPr>
          <p:cNvPr id="7" name="Footer Placeholder 6">
            <a:extLst>
              <a:ext uri="{FF2B5EF4-FFF2-40B4-BE49-F238E27FC236}">
                <a16:creationId xmlns:a16="http://schemas.microsoft.com/office/drawing/2014/main" id="{131F658F-CD8F-4E6E-BDBA-CBEEDB568400}"/>
              </a:ext>
            </a:extLst>
          </p:cNvPr>
          <p:cNvSpPr>
            <a:spLocks noGrp="1"/>
          </p:cNvSpPr>
          <p:nvPr>
            <p:ph type="ftr" sz="quarter" idx="17"/>
          </p:nvPr>
        </p:nvSpPr>
        <p:spPr/>
        <p:txBody>
          <a:bodyPr/>
          <a:lstStyle/>
          <a:p>
            <a:endParaRPr lang="en-IN" dirty="0"/>
          </a:p>
        </p:txBody>
      </p:sp>
      <p:sp>
        <p:nvSpPr>
          <p:cNvPr id="11" name="Slide Number Placeholder 10">
            <a:extLst>
              <a:ext uri="{FF2B5EF4-FFF2-40B4-BE49-F238E27FC236}">
                <a16:creationId xmlns:a16="http://schemas.microsoft.com/office/drawing/2014/main" id="{79D84B06-2D47-45F2-9684-460ADDAA2DA0}"/>
              </a:ext>
            </a:extLst>
          </p:cNvPr>
          <p:cNvSpPr>
            <a:spLocks noGrp="1"/>
          </p:cNvSpPr>
          <p:nvPr>
            <p:ph type="sldNum" sz="quarter" idx="18"/>
          </p:nvPr>
        </p:nvSpPr>
        <p:spPr/>
        <p:txBody>
          <a:bodyPr/>
          <a:lstStyle/>
          <a:p>
            <a:fld id="{A5163908-529D-4A49-892F-D37C4044DFD8}" type="slidenum">
              <a:rPr lang="en-IN" smtClean="0"/>
              <a:pPr/>
              <a:t>‹#›</a:t>
            </a:fld>
            <a:endParaRPr lang="en-IN"/>
          </a:p>
        </p:txBody>
      </p:sp>
      <p:sp>
        <p:nvSpPr>
          <p:cNvPr id="12" name="Text Placeholder 11">
            <a:extLst>
              <a:ext uri="{FF2B5EF4-FFF2-40B4-BE49-F238E27FC236}">
                <a16:creationId xmlns:a16="http://schemas.microsoft.com/office/drawing/2014/main" id="{DA4E067B-840F-47D3-B48B-45596F55FF9C}"/>
              </a:ext>
            </a:extLst>
          </p:cNvPr>
          <p:cNvSpPr>
            <a:spLocks noGrp="1"/>
          </p:cNvSpPr>
          <p:nvPr>
            <p:ph type="body" sz="quarter" idx="19"/>
          </p:nvPr>
        </p:nvSpPr>
        <p:spPr>
          <a:xfrm>
            <a:off x="673100" y="1623484"/>
            <a:ext cx="6047435" cy="4614333"/>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A2ED915-94F6-46CD-826E-92A745D55295}"/>
              </a:ext>
            </a:extLst>
          </p:cNvPr>
          <p:cNvSpPr>
            <a:spLocks noGrp="1"/>
          </p:cNvSpPr>
          <p:nvPr>
            <p:ph type="body" sz="quarter" idx="22" hasCustomPrompt="1"/>
          </p:nvPr>
        </p:nvSpPr>
        <p:spPr>
          <a:xfrm>
            <a:off x="11041019" y="288001"/>
            <a:ext cx="480000" cy="609729"/>
          </a:xfrm>
          <a:blipFill dpi="0" rotWithShape="1">
            <a:blip r:embed="rId6" cstate="email">
              <a:alphaModFix amt="90000"/>
              <a:extLst>
                <a:ext uri="{28A0092B-C50C-407E-A947-70E740481C1C}">
                  <a14:useLocalDpi xmlns:a14="http://schemas.microsoft.com/office/drawing/2010/main"/>
                </a:ext>
              </a:extLst>
            </a:blip>
            <a:srcRect/>
            <a:stretch>
              <a:fillRect/>
            </a:stretch>
          </a:blipFill>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7284186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Horizontal image -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96B7A6-8E09-43BE-AD8E-4D7F6C40B1CE}"/>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E796B7A6-8E09-43BE-AD8E-4D7F6C40B1CE}"/>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80C839-211D-4D2C-84AA-B3FFFB3A69E6}"/>
              </a:ext>
            </a:extLst>
          </p:cNvPr>
          <p:cNvSpPr/>
          <p:nvPr>
            <p:custDataLst>
              <p:tags r:id="rId2"/>
            </p:custDataLst>
          </p:nvPr>
        </p:nvSpPr>
        <p:spPr>
          <a:xfrm>
            <a:off x="0" y="0"/>
            <a:ext cx="211667"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dirty="0">
              <a:latin typeface="Calibri Light" panose="020F0302020204030204" pitchFamily="34" charset="0"/>
              <a:ea typeface="+mj-ea"/>
              <a:cs typeface="+mj-cs"/>
              <a:sym typeface="Calibri Light" panose="020F0302020204030204" pitchFamily="34" charset="0"/>
            </a:endParaRPr>
          </a:p>
        </p:txBody>
      </p:sp>
      <p:sp>
        <p:nvSpPr>
          <p:cNvPr id="6" name="Picture Placeholder 2"/>
          <p:cNvSpPr>
            <a:spLocks noGrp="1"/>
          </p:cNvSpPr>
          <p:nvPr>
            <p:ph type="pic" sz="quarter" idx="14"/>
          </p:nvPr>
        </p:nvSpPr>
        <p:spPr>
          <a:xfrm>
            <a:off x="3" y="1623483"/>
            <a:ext cx="7542507" cy="4614335"/>
          </a:xfrm>
          <a:prstGeom prst="rect">
            <a:avLst/>
          </a:prstGeom>
          <a:solidFill>
            <a:schemeClr val="bg1">
              <a:lumMod val="85000"/>
            </a:schemeClr>
          </a:solidFill>
        </p:spPr>
        <p:txBody>
          <a:bodyPr/>
          <a:lstStyle>
            <a:lvl1pPr marL="0" indent="0">
              <a:buNone/>
              <a:defRPr sz="1733">
                <a:solidFill>
                  <a:schemeClr val="tx1"/>
                </a:solidFill>
              </a:defRPr>
            </a:lvl1pPr>
          </a:lstStyle>
          <a:p>
            <a:r>
              <a:rPr lang="en-US"/>
              <a:t>Click icon to add picture</a:t>
            </a:r>
            <a:endParaRPr lang="en-US" dirty="0"/>
          </a:p>
        </p:txBody>
      </p:sp>
      <p:sp>
        <p:nvSpPr>
          <p:cNvPr id="7" name="Title 6">
            <a:extLst>
              <a:ext uri="{FF2B5EF4-FFF2-40B4-BE49-F238E27FC236}">
                <a16:creationId xmlns:a16="http://schemas.microsoft.com/office/drawing/2014/main" id="{A41FA11C-355A-42A0-8ACC-631313FC9678}"/>
              </a:ext>
            </a:extLst>
          </p:cNvPr>
          <p:cNvSpPr>
            <a:spLocks noGrp="1"/>
          </p:cNvSpPr>
          <p:nvPr>
            <p:ph type="title"/>
          </p:nvPr>
        </p:nvSpPr>
        <p:spPr/>
        <p:txBody>
          <a:bodyPr/>
          <a:lstStyle/>
          <a:p>
            <a:r>
              <a:rPr lang="en-US"/>
              <a:t>Click to edit Master title style</a:t>
            </a:r>
            <a:endParaRPr lang="en-IN"/>
          </a:p>
        </p:txBody>
      </p:sp>
      <p:sp>
        <p:nvSpPr>
          <p:cNvPr id="8" name="Date Placeholder 7">
            <a:extLst>
              <a:ext uri="{FF2B5EF4-FFF2-40B4-BE49-F238E27FC236}">
                <a16:creationId xmlns:a16="http://schemas.microsoft.com/office/drawing/2014/main" id="{A361182E-6B7A-4849-BC57-86A86014FF88}"/>
              </a:ext>
            </a:extLst>
          </p:cNvPr>
          <p:cNvSpPr>
            <a:spLocks noGrp="1"/>
          </p:cNvSpPr>
          <p:nvPr>
            <p:ph type="dt" sz="half" idx="17"/>
          </p:nvPr>
        </p:nvSpPr>
        <p:spPr/>
        <p:txBody>
          <a:bodyPr/>
          <a:lstStyle/>
          <a:p>
            <a:endParaRPr lang="en-IN" dirty="0"/>
          </a:p>
        </p:txBody>
      </p:sp>
      <p:sp>
        <p:nvSpPr>
          <p:cNvPr id="9" name="Footer Placeholder 8">
            <a:extLst>
              <a:ext uri="{FF2B5EF4-FFF2-40B4-BE49-F238E27FC236}">
                <a16:creationId xmlns:a16="http://schemas.microsoft.com/office/drawing/2014/main" id="{E52FD04A-862C-4934-BC73-93BBD939EFDA}"/>
              </a:ext>
            </a:extLst>
          </p:cNvPr>
          <p:cNvSpPr>
            <a:spLocks noGrp="1"/>
          </p:cNvSpPr>
          <p:nvPr>
            <p:ph type="ftr" sz="quarter" idx="18"/>
          </p:nvPr>
        </p:nvSpPr>
        <p:spPr/>
        <p:txBody>
          <a:bodyPr/>
          <a:lstStyle/>
          <a:p>
            <a:endParaRPr lang="en-IN" dirty="0"/>
          </a:p>
        </p:txBody>
      </p:sp>
      <p:sp>
        <p:nvSpPr>
          <p:cNvPr id="10" name="Slide Number Placeholder 9">
            <a:extLst>
              <a:ext uri="{FF2B5EF4-FFF2-40B4-BE49-F238E27FC236}">
                <a16:creationId xmlns:a16="http://schemas.microsoft.com/office/drawing/2014/main" id="{6BB82D07-B33E-49CB-AC52-C6579322403D}"/>
              </a:ext>
            </a:extLst>
          </p:cNvPr>
          <p:cNvSpPr>
            <a:spLocks noGrp="1"/>
          </p:cNvSpPr>
          <p:nvPr>
            <p:ph type="sldNum" sz="quarter" idx="19"/>
          </p:nvPr>
        </p:nvSpPr>
        <p:spPr/>
        <p:txBody>
          <a:bodyPr/>
          <a:lstStyle/>
          <a:p>
            <a:fld id="{A5163908-529D-4A49-892F-D37C4044DFD8}" type="slidenum">
              <a:rPr lang="en-IN" smtClean="0"/>
              <a:pPr/>
              <a:t>‹#›</a:t>
            </a:fld>
            <a:endParaRPr lang="en-IN"/>
          </a:p>
        </p:txBody>
      </p:sp>
      <p:sp>
        <p:nvSpPr>
          <p:cNvPr id="11" name="Text Placeholder 10">
            <a:extLst>
              <a:ext uri="{FF2B5EF4-FFF2-40B4-BE49-F238E27FC236}">
                <a16:creationId xmlns:a16="http://schemas.microsoft.com/office/drawing/2014/main" id="{04820880-CEF8-4B01-8B09-8EC1A7E2F09F}"/>
              </a:ext>
            </a:extLst>
          </p:cNvPr>
          <p:cNvSpPr>
            <a:spLocks noGrp="1"/>
          </p:cNvSpPr>
          <p:nvPr>
            <p:ph type="body" sz="quarter" idx="20"/>
          </p:nvPr>
        </p:nvSpPr>
        <p:spPr>
          <a:xfrm>
            <a:off x="7829529" y="1623483"/>
            <a:ext cx="3691488" cy="4614335"/>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35210346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Horizontal image - 2">
    <p:spTree>
      <p:nvGrpSpPr>
        <p:cNvPr id="1" name=""/>
        <p:cNvGrpSpPr/>
        <p:nvPr/>
      </p:nvGrpSpPr>
      <p:grpSpPr>
        <a:xfrm>
          <a:off x="0" y="0"/>
          <a:ext cx="0" cy="0"/>
          <a:chOff x="0" y="0"/>
          <a:chExt cx="0" cy="0"/>
        </a:xfrm>
      </p:grpSpPr>
      <p:sp>
        <p:nvSpPr>
          <p:cNvPr id="6" name="Picture Placeholder 2"/>
          <p:cNvSpPr>
            <a:spLocks noGrp="1"/>
          </p:cNvSpPr>
          <p:nvPr>
            <p:ph type="pic" sz="quarter" idx="14"/>
          </p:nvPr>
        </p:nvSpPr>
        <p:spPr>
          <a:xfrm>
            <a:off x="4670157" y="1623484"/>
            <a:ext cx="7521844" cy="4614333"/>
          </a:xfrm>
          <a:prstGeom prst="rect">
            <a:avLst/>
          </a:prstGeom>
          <a:solidFill>
            <a:schemeClr val="bg1">
              <a:lumMod val="85000"/>
            </a:schemeClr>
          </a:solidFill>
        </p:spPr>
        <p:txBody>
          <a:bodyPr/>
          <a:lstStyle>
            <a:lvl1pPr marL="0" indent="0">
              <a:buNone/>
              <a:defRPr sz="1733">
                <a:solidFill>
                  <a:schemeClr val="tx1"/>
                </a:solidFill>
              </a:defRPr>
            </a:lvl1pPr>
          </a:lstStyle>
          <a:p>
            <a:r>
              <a:rPr lang="en-US"/>
              <a:t>Click icon to add picture</a:t>
            </a:r>
            <a:endParaRPr lang="en-US" dirty="0"/>
          </a:p>
        </p:txBody>
      </p:sp>
      <p:sp>
        <p:nvSpPr>
          <p:cNvPr id="3" name="Title 2">
            <a:extLst>
              <a:ext uri="{FF2B5EF4-FFF2-40B4-BE49-F238E27FC236}">
                <a16:creationId xmlns:a16="http://schemas.microsoft.com/office/drawing/2014/main" id="{E4250E1E-97E8-4411-B532-AD7CE1F30888}"/>
              </a:ext>
            </a:extLst>
          </p:cNvPr>
          <p:cNvSpPr>
            <a:spLocks noGrp="1"/>
          </p:cNvSpPr>
          <p:nvPr>
            <p:ph type="title"/>
          </p:nvPr>
        </p:nvSpPr>
        <p:spPr/>
        <p:txBody>
          <a:bodyPr/>
          <a:lstStyle/>
          <a:p>
            <a:r>
              <a:rPr lang="en-US"/>
              <a:t>Click to edit Master title style</a:t>
            </a:r>
            <a:endParaRPr lang="en-IN"/>
          </a:p>
        </p:txBody>
      </p:sp>
      <p:sp>
        <p:nvSpPr>
          <p:cNvPr id="5" name="Date Placeholder 4">
            <a:extLst>
              <a:ext uri="{FF2B5EF4-FFF2-40B4-BE49-F238E27FC236}">
                <a16:creationId xmlns:a16="http://schemas.microsoft.com/office/drawing/2014/main" id="{27AA891F-E92C-403A-BFCC-535E846FAADC}"/>
              </a:ext>
            </a:extLst>
          </p:cNvPr>
          <p:cNvSpPr>
            <a:spLocks noGrp="1"/>
          </p:cNvSpPr>
          <p:nvPr>
            <p:ph type="dt" sz="half" idx="16"/>
          </p:nvPr>
        </p:nvSpPr>
        <p:spPr/>
        <p:txBody>
          <a:bodyPr/>
          <a:lstStyle/>
          <a:p>
            <a:endParaRPr lang="en-IN" dirty="0"/>
          </a:p>
        </p:txBody>
      </p:sp>
      <p:sp>
        <p:nvSpPr>
          <p:cNvPr id="7" name="Footer Placeholder 6">
            <a:extLst>
              <a:ext uri="{FF2B5EF4-FFF2-40B4-BE49-F238E27FC236}">
                <a16:creationId xmlns:a16="http://schemas.microsoft.com/office/drawing/2014/main" id="{E82573C8-E590-4CEE-84C0-E3B118D75FAE}"/>
              </a:ext>
            </a:extLst>
          </p:cNvPr>
          <p:cNvSpPr>
            <a:spLocks noGrp="1"/>
          </p:cNvSpPr>
          <p:nvPr>
            <p:ph type="ftr" sz="quarter" idx="17"/>
          </p:nvPr>
        </p:nvSpPr>
        <p:spPr/>
        <p:txBody>
          <a:bodyPr/>
          <a:lstStyle/>
          <a:p>
            <a:endParaRPr lang="en-IN" dirty="0"/>
          </a:p>
        </p:txBody>
      </p:sp>
      <p:sp>
        <p:nvSpPr>
          <p:cNvPr id="8" name="Slide Number Placeholder 7">
            <a:extLst>
              <a:ext uri="{FF2B5EF4-FFF2-40B4-BE49-F238E27FC236}">
                <a16:creationId xmlns:a16="http://schemas.microsoft.com/office/drawing/2014/main" id="{3D0A0AFB-ED51-4458-A2A2-DDC32D4086EA}"/>
              </a:ext>
            </a:extLst>
          </p:cNvPr>
          <p:cNvSpPr>
            <a:spLocks noGrp="1"/>
          </p:cNvSpPr>
          <p:nvPr>
            <p:ph type="sldNum" sz="quarter" idx="18"/>
          </p:nvPr>
        </p:nvSpPr>
        <p:spPr/>
        <p:txBody>
          <a:bodyPr/>
          <a:lstStyle/>
          <a:p>
            <a:fld id="{A5163908-529D-4A49-892F-D37C4044DFD8}" type="slidenum">
              <a:rPr lang="en-IN" smtClean="0"/>
              <a:pPr/>
              <a:t>‹#›</a:t>
            </a:fld>
            <a:endParaRPr lang="en-IN"/>
          </a:p>
        </p:txBody>
      </p:sp>
      <p:sp>
        <p:nvSpPr>
          <p:cNvPr id="9" name="Text Placeholder 8">
            <a:extLst>
              <a:ext uri="{FF2B5EF4-FFF2-40B4-BE49-F238E27FC236}">
                <a16:creationId xmlns:a16="http://schemas.microsoft.com/office/drawing/2014/main" id="{CD241E64-67CD-4CA0-81D4-1083916DD1B8}"/>
              </a:ext>
            </a:extLst>
          </p:cNvPr>
          <p:cNvSpPr>
            <a:spLocks noGrp="1"/>
          </p:cNvSpPr>
          <p:nvPr>
            <p:ph type="body" sz="quarter" idx="19"/>
          </p:nvPr>
        </p:nvSpPr>
        <p:spPr>
          <a:xfrm>
            <a:off x="673100" y="1623483"/>
            <a:ext cx="3676757" cy="4614335"/>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3441175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2-column images">
    <p:spTree>
      <p:nvGrpSpPr>
        <p:cNvPr id="1" name=""/>
        <p:cNvGrpSpPr/>
        <p:nvPr/>
      </p:nvGrpSpPr>
      <p:grpSpPr>
        <a:xfrm>
          <a:off x="0" y="0"/>
          <a:ext cx="0" cy="0"/>
          <a:chOff x="0" y="0"/>
          <a:chExt cx="0" cy="0"/>
        </a:xfrm>
      </p:grpSpPr>
      <p:sp>
        <p:nvSpPr>
          <p:cNvPr id="8" name="Picture Placeholder 3"/>
          <p:cNvSpPr>
            <a:spLocks noGrp="1"/>
          </p:cNvSpPr>
          <p:nvPr>
            <p:ph type="pic" sz="quarter" idx="15"/>
          </p:nvPr>
        </p:nvSpPr>
        <p:spPr>
          <a:xfrm>
            <a:off x="673100" y="1623485"/>
            <a:ext cx="5088467" cy="3128516"/>
          </a:xfrm>
          <a:prstGeom prst="rect">
            <a:avLst/>
          </a:prstGeom>
          <a:solidFill>
            <a:schemeClr val="bg1">
              <a:lumMod val="85000"/>
            </a:schemeClr>
          </a:solidFill>
        </p:spPr>
        <p:txBody>
          <a:bodyPr/>
          <a:lstStyle>
            <a:lvl1pPr marL="0" indent="0">
              <a:buNone/>
              <a:defRPr sz="1733"/>
            </a:lvl1pPr>
          </a:lstStyle>
          <a:p>
            <a:r>
              <a:rPr lang="en-US"/>
              <a:t>Click icon to add picture</a:t>
            </a:r>
            <a:endParaRPr lang="en-US" dirty="0"/>
          </a:p>
        </p:txBody>
      </p:sp>
      <p:sp>
        <p:nvSpPr>
          <p:cNvPr id="14" name="Picture Placeholder 3"/>
          <p:cNvSpPr>
            <a:spLocks noGrp="1"/>
          </p:cNvSpPr>
          <p:nvPr>
            <p:ph type="pic" sz="quarter" idx="16"/>
          </p:nvPr>
        </p:nvSpPr>
        <p:spPr>
          <a:xfrm>
            <a:off x="6432551" y="1623485"/>
            <a:ext cx="5088467" cy="3128516"/>
          </a:xfrm>
          <a:prstGeom prst="rect">
            <a:avLst/>
          </a:prstGeom>
          <a:solidFill>
            <a:schemeClr val="bg1">
              <a:lumMod val="85000"/>
            </a:schemeClr>
          </a:solidFill>
        </p:spPr>
        <p:txBody>
          <a:bodyPr/>
          <a:lstStyle>
            <a:lvl1pPr marL="0" indent="0">
              <a:buNone/>
              <a:defRPr sz="1733"/>
            </a:lvl1pPr>
          </a:lstStyle>
          <a:p>
            <a:r>
              <a:rPr lang="en-US"/>
              <a:t>Click icon to add picture</a:t>
            </a:r>
            <a:endParaRPr lang="en-US" dirty="0"/>
          </a:p>
        </p:txBody>
      </p:sp>
      <p:sp>
        <p:nvSpPr>
          <p:cNvPr id="3" name="Title 2">
            <a:extLst>
              <a:ext uri="{FF2B5EF4-FFF2-40B4-BE49-F238E27FC236}">
                <a16:creationId xmlns:a16="http://schemas.microsoft.com/office/drawing/2014/main" id="{BDAB248D-57C3-42BE-B1A8-E7FC1A3875E4}"/>
              </a:ext>
            </a:extLst>
          </p:cNvPr>
          <p:cNvSpPr>
            <a:spLocks noGrp="1"/>
          </p:cNvSpPr>
          <p:nvPr>
            <p:ph type="title"/>
          </p:nvPr>
        </p:nvSpPr>
        <p:spPr/>
        <p:txBody>
          <a:bodyPr/>
          <a:lstStyle/>
          <a:p>
            <a:r>
              <a:rPr lang="en-US"/>
              <a:t>Click to edit Master title style</a:t>
            </a:r>
            <a:endParaRPr lang="en-IN"/>
          </a:p>
        </p:txBody>
      </p:sp>
      <p:sp>
        <p:nvSpPr>
          <p:cNvPr id="4" name="Date Placeholder 3">
            <a:extLst>
              <a:ext uri="{FF2B5EF4-FFF2-40B4-BE49-F238E27FC236}">
                <a16:creationId xmlns:a16="http://schemas.microsoft.com/office/drawing/2014/main" id="{E67D1C86-B158-41D0-A938-63F01F335763}"/>
              </a:ext>
            </a:extLst>
          </p:cNvPr>
          <p:cNvSpPr>
            <a:spLocks noGrp="1"/>
          </p:cNvSpPr>
          <p:nvPr>
            <p:ph type="dt" sz="half" idx="19"/>
          </p:nvPr>
        </p:nvSpPr>
        <p:spPr/>
        <p:txBody>
          <a:bodyPr/>
          <a:lstStyle/>
          <a:p>
            <a:endParaRPr lang="en-IN" dirty="0"/>
          </a:p>
        </p:txBody>
      </p:sp>
      <p:sp>
        <p:nvSpPr>
          <p:cNvPr id="6" name="Footer Placeholder 5">
            <a:extLst>
              <a:ext uri="{FF2B5EF4-FFF2-40B4-BE49-F238E27FC236}">
                <a16:creationId xmlns:a16="http://schemas.microsoft.com/office/drawing/2014/main" id="{3026D6C4-8F10-4092-B714-9020C41BB820}"/>
              </a:ext>
            </a:extLst>
          </p:cNvPr>
          <p:cNvSpPr>
            <a:spLocks noGrp="1"/>
          </p:cNvSpPr>
          <p:nvPr>
            <p:ph type="ftr" sz="quarter" idx="20"/>
          </p:nvPr>
        </p:nvSpPr>
        <p:spPr/>
        <p:txBody>
          <a:bodyPr/>
          <a:lstStyle/>
          <a:p>
            <a:endParaRPr lang="en-IN" dirty="0"/>
          </a:p>
        </p:txBody>
      </p:sp>
      <p:sp>
        <p:nvSpPr>
          <p:cNvPr id="7" name="Slide Number Placeholder 6">
            <a:extLst>
              <a:ext uri="{FF2B5EF4-FFF2-40B4-BE49-F238E27FC236}">
                <a16:creationId xmlns:a16="http://schemas.microsoft.com/office/drawing/2014/main" id="{4FADD015-4119-4EA1-B431-858F91EA5FD3}"/>
              </a:ext>
            </a:extLst>
          </p:cNvPr>
          <p:cNvSpPr>
            <a:spLocks noGrp="1"/>
          </p:cNvSpPr>
          <p:nvPr>
            <p:ph type="sldNum" sz="quarter" idx="21"/>
          </p:nvPr>
        </p:nvSpPr>
        <p:spPr/>
        <p:txBody>
          <a:bodyPr/>
          <a:lstStyle/>
          <a:p>
            <a:fld id="{A5163908-529D-4A49-892F-D37C4044DFD8}" type="slidenum">
              <a:rPr lang="en-IN" smtClean="0"/>
              <a:pPr/>
              <a:t>‹#›</a:t>
            </a:fld>
            <a:endParaRPr lang="en-IN"/>
          </a:p>
        </p:txBody>
      </p:sp>
      <p:sp>
        <p:nvSpPr>
          <p:cNvPr id="9" name="Text Placeholder 8">
            <a:extLst>
              <a:ext uri="{FF2B5EF4-FFF2-40B4-BE49-F238E27FC236}">
                <a16:creationId xmlns:a16="http://schemas.microsoft.com/office/drawing/2014/main" id="{68BDAA8A-021C-4EC1-B26E-48889996AA3D}"/>
              </a:ext>
            </a:extLst>
          </p:cNvPr>
          <p:cNvSpPr>
            <a:spLocks noGrp="1"/>
          </p:cNvSpPr>
          <p:nvPr>
            <p:ph type="body" sz="quarter" idx="22"/>
          </p:nvPr>
        </p:nvSpPr>
        <p:spPr>
          <a:xfrm>
            <a:off x="673100" y="5004003"/>
            <a:ext cx="5088467" cy="1233816"/>
          </a:xfrm>
        </p:spPr>
        <p:txBody>
          <a:bodyPr/>
          <a:lstStyle/>
          <a:p>
            <a:pPr lvl="0"/>
            <a:r>
              <a:rPr lang="en-US"/>
              <a:t>Click to edit Master text styles</a:t>
            </a:r>
          </a:p>
          <a:p>
            <a:pPr lvl="1"/>
            <a:r>
              <a:rPr lang="en-US"/>
              <a:t>Second level</a:t>
            </a:r>
          </a:p>
          <a:p>
            <a:pPr lvl="2"/>
            <a:r>
              <a:rPr lang="en-US"/>
              <a:t>Third level</a:t>
            </a:r>
          </a:p>
        </p:txBody>
      </p:sp>
      <p:sp>
        <p:nvSpPr>
          <p:cNvPr id="11" name="Text Placeholder 10">
            <a:extLst>
              <a:ext uri="{FF2B5EF4-FFF2-40B4-BE49-F238E27FC236}">
                <a16:creationId xmlns:a16="http://schemas.microsoft.com/office/drawing/2014/main" id="{098F5822-A908-4933-8FD3-A83B190BF6E2}"/>
              </a:ext>
            </a:extLst>
          </p:cNvPr>
          <p:cNvSpPr>
            <a:spLocks noGrp="1"/>
          </p:cNvSpPr>
          <p:nvPr>
            <p:ph type="body" sz="quarter" idx="23"/>
          </p:nvPr>
        </p:nvSpPr>
        <p:spPr>
          <a:xfrm>
            <a:off x="6432551" y="5004003"/>
            <a:ext cx="5088467" cy="1233816"/>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855128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ext and Large Image">
    <p:bg>
      <p:bgPr>
        <a:solidFill>
          <a:schemeClr val="tx2"/>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C1E61418-E972-40CA-AF1C-5059724D8739}"/>
              </a:ext>
            </a:extLst>
          </p:cNvPr>
          <p:cNvSpPr>
            <a:spLocks noGrp="1"/>
          </p:cNvSpPr>
          <p:nvPr>
            <p:ph type="pic" sz="quarter" idx="14"/>
          </p:nvPr>
        </p:nvSpPr>
        <p:spPr>
          <a:xfrm>
            <a:off x="3660000" y="0"/>
            <a:ext cx="8532000" cy="6858000"/>
          </a:xfrm>
          <a:solidFill>
            <a:schemeClr val="bg1">
              <a:lumMod val="85000"/>
            </a:schemeClr>
          </a:solidFill>
        </p:spPr>
        <p:txBody>
          <a:bodyPr/>
          <a:lstStyle/>
          <a:p>
            <a:r>
              <a:rPr lang="en-US"/>
              <a:t>Click icon to add picture</a:t>
            </a:r>
            <a:endParaRPr lang="en-GB"/>
          </a:p>
        </p:txBody>
      </p:sp>
      <p:sp>
        <p:nvSpPr>
          <p:cNvPr id="4" name="Footer Placeholder 3">
            <a:extLst>
              <a:ext uri="{FF2B5EF4-FFF2-40B4-BE49-F238E27FC236}">
                <a16:creationId xmlns:a16="http://schemas.microsoft.com/office/drawing/2014/main" id="{265266B1-3B43-413F-B581-A2BA7F232AAD}"/>
              </a:ext>
            </a:extLst>
          </p:cNvPr>
          <p:cNvSpPr>
            <a:spLocks noGrp="1"/>
          </p:cNvSpPr>
          <p:nvPr>
            <p:ph type="ftr" sz="quarter" idx="11"/>
          </p:nvPr>
        </p:nvSpPr>
        <p:spPr/>
        <p:txBody>
          <a:bodyPr/>
          <a:lstStyle>
            <a:lvl1pPr>
              <a:defRPr>
                <a:solidFill>
                  <a:schemeClr val="bg1"/>
                </a:solidFill>
              </a:defRPr>
            </a:lvl1pPr>
          </a:lstStyle>
          <a:p>
            <a:endParaRPr lang="en-BE"/>
          </a:p>
        </p:txBody>
      </p:sp>
      <p:sp>
        <p:nvSpPr>
          <p:cNvPr id="5" name="Slide Number Placeholder 4">
            <a:extLst>
              <a:ext uri="{FF2B5EF4-FFF2-40B4-BE49-F238E27FC236}">
                <a16:creationId xmlns:a16="http://schemas.microsoft.com/office/drawing/2014/main" id="{114087E5-4709-465C-88EF-C43AFDD767F1}"/>
              </a:ext>
            </a:extLst>
          </p:cNvPr>
          <p:cNvSpPr>
            <a:spLocks noGrp="1"/>
          </p:cNvSpPr>
          <p:nvPr>
            <p:ph type="sldNum" sz="quarter" idx="12"/>
          </p:nvPr>
        </p:nvSpPr>
        <p:spPr/>
        <p:txBody>
          <a:bodyPr/>
          <a:lstStyle>
            <a:lvl1pPr>
              <a:defRPr>
                <a:solidFill>
                  <a:schemeClr val="bg1"/>
                </a:solidFill>
              </a:defRPr>
            </a:lvl1pPr>
          </a:lstStyle>
          <a:p>
            <a:fld id="{9F5F79E4-174E-4D15-B5B9-2923F86E0116}" type="slidenum">
              <a:rPr lang="en-BE" smtClean="0"/>
              <a:t>‹#›</a:t>
            </a:fld>
            <a:endParaRPr lang="en-BE"/>
          </a:p>
        </p:txBody>
      </p:sp>
      <p:sp>
        <p:nvSpPr>
          <p:cNvPr id="7" name="Text Placeholder 6">
            <a:extLst>
              <a:ext uri="{FF2B5EF4-FFF2-40B4-BE49-F238E27FC236}">
                <a16:creationId xmlns:a16="http://schemas.microsoft.com/office/drawing/2014/main" id="{D7F08074-975D-439A-8214-343997E50101}"/>
              </a:ext>
            </a:extLst>
          </p:cNvPr>
          <p:cNvSpPr>
            <a:spLocks noGrp="1"/>
          </p:cNvSpPr>
          <p:nvPr>
            <p:ph type="body" sz="quarter" idx="13"/>
          </p:nvPr>
        </p:nvSpPr>
        <p:spPr>
          <a:xfrm>
            <a:off x="413104" y="1521184"/>
            <a:ext cx="2830327" cy="4494733"/>
          </a:xfrm>
        </p:spPr>
        <p:txBody>
          <a:bodyPr/>
          <a:lstStyle>
            <a:lvl1pPr>
              <a:defRPr>
                <a:solidFill>
                  <a:schemeClr val="bg1"/>
                </a:solidFill>
              </a:defRPr>
            </a:lvl1pPr>
            <a:lvl2pPr>
              <a:defRPr>
                <a:solidFill>
                  <a:schemeClr val="bg1"/>
                </a:solidFill>
              </a:defRPr>
            </a:lvl2pPr>
            <a:lvl3pPr>
              <a:defRPr>
                <a:solidFill>
                  <a:schemeClr val="accent3"/>
                </a:solidFill>
              </a:defRPr>
            </a:lvl3pPr>
            <a:lvl4pPr>
              <a:buClr>
                <a:schemeClr val="accent3"/>
              </a:buClr>
              <a:defRPr>
                <a:solidFill>
                  <a:schemeClr val="bg1"/>
                </a:solidFill>
              </a:defRPr>
            </a:lvl4pPr>
            <a:lvl5pPr>
              <a:buClr>
                <a:schemeClr val="accent3"/>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C4B74708-2400-4449-A566-F6158A62A027}"/>
              </a:ext>
            </a:extLst>
          </p:cNvPr>
          <p:cNvSpPr>
            <a:spLocks noGrp="1"/>
          </p:cNvSpPr>
          <p:nvPr>
            <p:ph type="title"/>
          </p:nvPr>
        </p:nvSpPr>
        <p:spPr>
          <a:xfrm>
            <a:off x="410879" y="410669"/>
            <a:ext cx="2830327" cy="776038"/>
          </a:xfrm>
        </p:spPr>
        <p:txBody>
          <a:bodyPr/>
          <a:lstStyle>
            <a:lvl1pPr>
              <a:defRPr>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126947128"/>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Im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F063C06-AE5B-4F6F-9C37-FBE1184F3CB5}"/>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6" name="Object 5" hidden="1">
                        <a:extLst>
                          <a:ext uri="{FF2B5EF4-FFF2-40B4-BE49-F238E27FC236}">
                            <a16:creationId xmlns:a16="http://schemas.microsoft.com/office/drawing/2014/main" id="{3F063C06-AE5B-4F6F-9C37-FBE1184F3CB5}"/>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DD051A0-039D-42D9-A58B-EA14A08412FD}"/>
              </a:ext>
            </a:extLst>
          </p:cNvPr>
          <p:cNvSpPr/>
          <p:nvPr>
            <p:custDataLst>
              <p:tags r:id="rId2"/>
            </p:custDataLst>
          </p:nvPr>
        </p:nvSpPr>
        <p:spPr>
          <a:xfrm>
            <a:off x="0" y="0"/>
            <a:ext cx="211667"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dirty="0">
              <a:latin typeface="Calibri Light" panose="020F0302020204030204" pitchFamily="34" charset="0"/>
              <a:ea typeface="+mj-ea"/>
              <a:cs typeface="+mj-cs"/>
              <a:sym typeface="Calibri Light" panose="020F0302020204030204" pitchFamily="34" charset="0"/>
            </a:endParaRPr>
          </a:p>
        </p:txBody>
      </p:sp>
      <p:sp>
        <p:nvSpPr>
          <p:cNvPr id="4" name="Picture Placeholder 3"/>
          <p:cNvSpPr>
            <a:spLocks noGrp="1"/>
          </p:cNvSpPr>
          <p:nvPr>
            <p:ph type="pic" sz="quarter" idx="14"/>
          </p:nvPr>
        </p:nvSpPr>
        <p:spPr>
          <a:xfrm>
            <a:off x="673101" y="1623484"/>
            <a:ext cx="10847919" cy="4614333"/>
          </a:xfrm>
          <a:prstGeom prst="rect">
            <a:avLst/>
          </a:prstGeom>
          <a:solidFill>
            <a:schemeClr val="bg1">
              <a:lumMod val="85000"/>
            </a:schemeClr>
          </a:solidFill>
        </p:spPr>
        <p:txBody>
          <a:bodyPr lIns="0" tIns="0" rIns="0" bIns="0"/>
          <a:lstStyle>
            <a:lvl1pPr marL="0" indent="0">
              <a:buNone/>
              <a:defRPr sz="1867"/>
            </a:lvl1pPr>
          </a:lstStyle>
          <a:p>
            <a:r>
              <a:rPr lang="en-US"/>
              <a:t>Click icon to add picture</a:t>
            </a:r>
            <a:endParaRPr lang="en-US" dirty="0"/>
          </a:p>
        </p:txBody>
      </p:sp>
      <p:sp>
        <p:nvSpPr>
          <p:cNvPr id="5" name="Title 4">
            <a:extLst>
              <a:ext uri="{FF2B5EF4-FFF2-40B4-BE49-F238E27FC236}">
                <a16:creationId xmlns:a16="http://schemas.microsoft.com/office/drawing/2014/main" id="{CE0F8291-C16C-4418-9B6D-28D21CA7A5A0}"/>
              </a:ext>
            </a:extLst>
          </p:cNvPr>
          <p:cNvSpPr>
            <a:spLocks noGrp="1"/>
          </p:cNvSpPr>
          <p:nvPr>
            <p:ph type="title"/>
          </p:nvPr>
        </p:nvSpPr>
        <p:spPr/>
        <p:txBody>
          <a:bodyPr/>
          <a:lstStyle/>
          <a:p>
            <a:r>
              <a:rPr lang="en-US"/>
              <a:t>Click to edit Master title style</a:t>
            </a:r>
            <a:endParaRPr lang="en-IN"/>
          </a:p>
        </p:txBody>
      </p:sp>
      <p:sp>
        <p:nvSpPr>
          <p:cNvPr id="7" name="Date Placeholder 6">
            <a:extLst>
              <a:ext uri="{FF2B5EF4-FFF2-40B4-BE49-F238E27FC236}">
                <a16:creationId xmlns:a16="http://schemas.microsoft.com/office/drawing/2014/main" id="{F8BB389B-3B07-4E50-B6D9-4F152C767077}"/>
              </a:ext>
            </a:extLst>
          </p:cNvPr>
          <p:cNvSpPr>
            <a:spLocks noGrp="1"/>
          </p:cNvSpPr>
          <p:nvPr>
            <p:ph type="dt" sz="half" idx="15"/>
          </p:nvPr>
        </p:nvSpPr>
        <p:spPr/>
        <p:txBody>
          <a:bodyPr/>
          <a:lstStyle/>
          <a:p>
            <a:endParaRPr lang="en-IN" dirty="0"/>
          </a:p>
        </p:txBody>
      </p:sp>
      <p:sp>
        <p:nvSpPr>
          <p:cNvPr id="8" name="Footer Placeholder 7">
            <a:extLst>
              <a:ext uri="{FF2B5EF4-FFF2-40B4-BE49-F238E27FC236}">
                <a16:creationId xmlns:a16="http://schemas.microsoft.com/office/drawing/2014/main" id="{086D7D42-1612-4F34-9E0C-4BB0F061DDF3}"/>
              </a:ext>
            </a:extLst>
          </p:cNvPr>
          <p:cNvSpPr>
            <a:spLocks noGrp="1"/>
          </p:cNvSpPr>
          <p:nvPr>
            <p:ph type="ftr" sz="quarter" idx="16"/>
          </p:nvPr>
        </p:nvSpPr>
        <p:spPr/>
        <p:txBody>
          <a:bodyPr/>
          <a:lstStyle/>
          <a:p>
            <a:endParaRPr lang="en-IN" dirty="0"/>
          </a:p>
        </p:txBody>
      </p:sp>
      <p:sp>
        <p:nvSpPr>
          <p:cNvPr id="9" name="Slide Number Placeholder 8">
            <a:extLst>
              <a:ext uri="{FF2B5EF4-FFF2-40B4-BE49-F238E27FC236}">
                <a16:creationId xmlns:a16="http://schemas.microsoft.com/office/drawing/2014/main" id="{8F40F500-5589-4B84-923C-8EFC4E3CAEDD}"/>
              </a:ext>
            </a:extLst>
          </p:cNvPr>
          <p:cNvSpPr>
            <a:spLocks noGrp="1"/>
          </p:cNvSpPr>
          <p:nvPr>
            <p:ph type="sldNum" sz="quarter" idx="17"/>
          </p:nvPr>
        </p:nvSpPr>
        <p:spPr/>
        <p:txBody>
          <a:bodyPr/>
          <a:lstStyle/>
          <a:p>
            <a:fld id="{A5163908-529D-4A49-892F-D37C4044DFD8}" type="slidenum">
              <a:rPr lang="en-IN" smtClean="0"/>
              <a:pPr/>
              <a:t>‹#›</a:t>
            </a:fld>
            <a:endParaRPr lang="en-IN"/>
          </a:p>
        </p:txBody>
      </p:sp>
    </p:spTree>
    <p:extLst>
      <p:ext uri="{BB962C8B-B14F-4D97-AF65-F5344CB8AC3E}">
        <p14:creationId xmlns:p14="http://schemas.microsoft.com/office/powerpoint/2010/main" val="174356538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p:cSld name="Footer Only">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65797D4-FD91-4A72-BFB7-8798A1097FE6}"/>
              </a:ext>
            </a:extLst>
          </p:cNvPr>
          <p:cNvSpPr>
            <a:spLocks noGrp="1"/>
          </p:cNvSpPr>
          <p:nvPr>
            <p:ph type="dt" sz="half" idx="10"/>
          </p:nvPr>
        </p:nvSpPr>
        <p:spPr/>
        <p:txBody>
          <a:bodyPr/>
          <a:lstStyle/>
          <a:p>
            <a:endParaRPr lang="en-IN" dirty="0"/>
          </a:p>
        </p:txBody>
      </p:sp>
      <p:sp>
        <p:nvSpPr>
          <p:cNvPr id="3" name="Footer Placeholder 2">
            <a:extLst>
              <a:ext uri="{FF2B5EF4-FFF2-40B4-BE49-F238E27FC236}">
                <a16:creationId xmlns:a16="http://schemas.microsoft.com/office/drawing/2014/main" id="{AEB80F89-4AE5-4088-80FE-245322572BB3}"/>
              </a:ext>
            </a:extLst>
          </p:cNvPr>
          <p:cNvSpPr>
            <a:spLocks noGrp="1"/>
          </p:cNvSpPr>
          <p:nvPr>
            <p:ph type="ftr" sz="quarter" idx="11"/>
          </p:nvPr>
        </p:nvSpPr>
        <p:spPr/>
        <p:txBody>
          <a:bodyPr/>
          <a:lstStyle/>
          <a:p>
            <a:endParaRPr lang="en-IN" dirty="0"/>
          </a:p>
        </p:txBody>
      </p:sp>
      <p:sp>
        <p:nvSpPr>
          <p:cNvPr id="4" name="Slide Number Placeholder 3">
            <a:extLst>
              <a:ext uri="{FF2B5EF4-FFF2-40B4-BE49-F238E27FC236}">
                <a16:creationId xmlns:a16="http://schemas.microsoft.com/office/drawing/2014/main" id="{368167E6-9B12-4AF6-B568-50379A338E9F}"/>
              </a:ext>
            </a:extLst>
          </p:cNvPr>
          <p:cNvSpPr>
            <a:spLocks noGrp="1"/>
          </p:cNvSpPr>
          <p:nvPr>
            <p:ph type="sldNum" sz="quarter" idx="12"/>
          </p:nvPr>
        </p:nvSpPr>
        <p:spPr/>
        <p:txBody>
          <a:bodyPr/>
          <a:lstStyle/>
          <a:p>
            <a:fld id="{A5163908-529D-4A49-892F-D37C4044DFD8}" type="slidenum">
              <a:rPr lang="en-IN" smtClean="0"/>
              <a:pPr/>
              <a:t>‹#›</a:t>
            </a:fld>
            <a:endParaRPr lang="en-IN"/>
          </a:p>
        </p:txBody>
      </p:sp>
    </p:spTree>
    <p:extLst>
      <p:ext uri="{BB962C8B-B14F-4D97-AF65-F5344CB8AC3E}">
        <p14:creationId xmlns:p14="http://schemas.microsoft.com/office/powerpoint/2010/main" val="34276592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p:cSld name="Full bleed im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389AD4B-CD2A-4E02-85A1-532A4A2512EA}"/>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2" name="Object 1" hidden="1">
                        <a:extLst>
                          <a:ext uri="{FF2B5EF4-FFF2-40B4-BE49-F238E27FC236}">
                            <a16:creationId xmlns:a16="http://schemas.microsoft.com/office/drawing/2014/main" id="{3389AD4B-CD2A-4E02-85A1-532A4A2512EA}"/>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4" name="Picture Placeholder 3">
            <a:extLst>
              <a:ext uri="{FF2B5EF4-FFF2-40B4-BE49-F238E27FC236}">
                <a16:creationId xmlns:a16="http://schemas.microsoft.com/office/drawing/2014/main" id="{E97ACB5B-4858-4068-9665-FC3C21C10656}"/>
              </a:ext>
            </a:extLst>
          </p:cNvPr>
          <p:cNvSpPr>
            <a:spLocks noGrp="1"/>
          </p:cNvSpPr>
          <p:nvPr>
            <p:ph type="pic" sz="quarter" idx="22" hasCustomPrompt="1"/>
          </p:nvPr>
        </p:nvSpPr>
        <p:spPr>
          <a:xfrm>
            <a:off x="0" y="0"/>
            <a:ext cx="12192000" cy="6858000"/>
          </a:xfrm>
          <a:solidFill>
            <a:schemeClr val="bg1">
              <a:lumMod val="85000"/>
            </a:schemeClr>
          </a:solidFill>
        </p:spPr>
        <p:txBody>
          <a:bodyPr/>
          <a:lstStyle>
            <a:lvl1pPr marL="0" indent="0">
              <a:buNone/>
              <a:defRPr/>
            </a:lvl1pPr>
          </a:lstStyle>
          <a:p>
            <a:r>
              <a:rPr lang="en-US" dirty="0"/>
              <a:t>Click icon to insert photo (16:9)</a:t>
            </a:r>
          </a:p>
        </p:txBody>
      </p:sp>
      <p:sp>
        <p:nvSpPr>
          <p:cNvPr id="5" name="Text Placeholder 9">
            <a:extLst>
              <a:ext uri="{FF2B5EF4-FFF2-40B4-BE49-F238E27FC236}">
                <a16:creationId xmlns:a16="http://schemas.microsoft.com/office/drawing/2014/main" id="{1F548E2F-0354-46E1-A24B-261AE848986D}"/>
              </a:ext>
            </a:extLst>
          </p:cNvPr>
          <p:cNvSpPr>
            <a:spLocks noGrp="1"/>
          </p:cNvSpPr>
          <p:nvPr>
            <p:ph type="body" sz="quarter" idx="23" hasCustomPrompt="1"/>
          </p:nvPr>
        </p:nvSpPr>
        <p:spPr>
          <a:xfrm>
            <a:off x="11041019" y="288001"/>
            <a:ext cx="480000" cy="609729"/>
          </a:xfrm>
          <a:blipFill dpi="0" rotWithShape="1">
            <a:blip r:embed="rId5" cstate="email">
              <a:alphaModFix amt="90000"/>
              <a:extLst>
                <a:ext uri="{28A0092B-C50C-407E-A947-70E740481C1C}">
                  <a14:useLocalDpi xmlns:a14="http://schemas.microsoft.com/office/drawing/2010/main"/>
                </a:ext>
              </a:extLst>
            </a:blip>
            <a:srcRect/>
            <a:stretch>
              <a:fillRect/>
            </a:stretch>
          </a:blipFill>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162426829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p:cSld name="Full bleed video">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389AD4B-CD2A-4E02-85A1-532A4A2512EA}"/>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2" name="Object 1" hidden="1">
                        <a:extLst>
                          <a:ext uri="{FF2B5EF4-FFF2-40B4-BE49-F238E27FC236}">
                            <a16:creationId xmlns:a16="http://schemas.microsoft.com/office/drawing/2014/main" id="{3389AD4B-CD2A-4E02-85A1-532A4A2512EA}"/>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4" name="Media Placeholder 3">
            <a:extLst>
              <a:ext uri="{FF2B5EF4-FFF2-40B4-BE49-F238E27FC236}">
                <a16:creationId xmlns:a16="http://schemas.microsoft.com/office/drawing/2014/main" id="{462C7498-3AB5-4406-913C-71CCEC8866D0}"/>
              </a:ext>
            </a:extLst>
          </p:cNvPr>
          <p:cNvSpPr>
            <a:spLocks noGrp="1"/>
          </p:cNvSpPr>
          <p:nvPr>
            <p:ph type="media" sz="quarter" idx="22" hasCustomPrompt="1"/>
          </p:nvPr>
        </p:nvSpPr>
        <p:spPr>
          <a:xfrm>
            <a:off x="0" y="0"/>
            <a:ext cx="12192000" cy="6858000"/>
          </a:xfrm>
          <a:solidFill>
            <a:schemeClr val="bg1">
              <a:lumMod val="85000"/>
            </a:schemeClr>
          </a:solidFill>
        </p:spPr>
        <p:txBody>
          <a:bodyPr/>
          <a:lstStyle>
            <a:lvl1pPr marL="0" indent="0">
              <a:buNone/>
              <a:defRPr/>
            </a:lvl1pPr>
          </a:lstStyle>
          <a:p>
            <a:r>
              <a:rPr lang="en-US" dirty="0"/>
              <a:t>Click icon to insert video (16:9)</a:t>
            </a:r>
          </a:p>
        </p:txBody>
      </p:sp>
    </p:spTree>
    <p:extLst>
      <p:ext uri="{BB962C8B-B14F-4D97-AF65-F5344CB8AC3E}">
        <p14:creationId xmlns:p14="http://schemas.microsoft.com/office/powerpoint/2010/main" val="258512541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Divider white">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1104897" y="2052000"/>
            <a:ext cx="8637751" cy="1620000"/>
          </a:xfrm>
          <a:prstGeom prst="rect">
            <a:avLst/>
          </a:prstGeom>
        </p:spPr>
        <p:txBody>
          <a:bodyPr lIns="0" tIns="0" rIns="0" bIns="0"/>
          <a:lstStyle>
            <a:lvl1pPr marL="0" indent="0" algn="l">
              <a:lnSpc>
                <a:spcPct val="100000"/>
              </a:lnSpc>
              <a:spcBef>
                <a:spcPts val="0"/>
              </a:spcBef>
              <a:buFontTx/>
              <a:buNone/>
              <a:defRPr sz="4800">
                <a:solidFill>
                  <a:schemeClr val="tx1"/>
                </a:solidFill>
                <a:latin typeface="+mj-lt"/>
              </a:defRPr>
            </a:lvl1pPr>
            <a:lvl2pPr>
              <a:defRPr sz="6400"/>
            </a:lvl2pPr>
            <a:lvl3pPr>
              <a:defRPr sz="6400"/>
            </a:lvl3pPr>
            <a:lvl4pPr>
              <a:defRPr sz="6400"/>
            </a:lvl4pPr>
            <a:lvl5pPr>
              <a:defRPr sz="6400"/>
            </a:lvl5pPr>
          </a:lstStyle>
          <a:p>
            <a:pPr lvl="0"/>
            <a:r>
              <a:rPr lang="en-US" noProof="0" dirty="0"/>
              <a:t>Click to add title</a:t>
            </a:r>
          </a:p>
        </p:txBody>
      </p:sp>
    </p:spTree>
    <p:extLst>
      <p:ext uri="{BB962C8B-B14F-4D97-AF65-F5344CB8AC3E}">
        <p14:creationId xmlns:p14="http://schemas.microsoft.com/office/powerpoint/2010/main" val="77905874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p:cSld name="Full bleed divider dark blue">
    <p:bg>
      <p:bgPr>
        <a:gradFill>
          <a:gsLst>
            <a:gs pos="0">
              <a:srgbClr val="003478"/>
            </a:gs>
            <a:gs pos="100000">
              <a:srgbClr val="0089C4"/>
            </a:gs>
          </a:gsLst>
          <a:lin ang="2100000" scaled="1"/>
        </a:gra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1104897" y="2052000"/>
            <a:ext cx="8637751" cy="1620000"/>
          </a:xfrm>
          <a:prstGeom prst="rect">
            <a:avLst/>
          </a:prstGeom>
        </p:spPr>
        <p:txBody>
          <a:bodyPr lIns="0" tIns="0" rIns="0" bIns="0"/>
          <a:lstStyle>
            <a:lvl1pPr marL="0" indent="0" algn="l">
              <a:lnSpc>
                <a:spcPct val="100000"/>
              </a:lnSpc>
              <a:spcBef>
                <a:spcPts val="0"/>
              </a:spcBef>
              <a:buClr>
                <a:schemeClr val="bg1"/>
              </a:buClr>
              <a:buFont typeface="Arial" panose="020B0604020202020204" pitchFamily="34" charset="0"/>
              <a:buNone/>
              <a:defRPr sz="4800">
                <a:solidFill>
                  <a:schemeClr val="bg1"/>
                </a:solidFill>
                <a:latin typeface="+mj-lt"/>
              </a:defRPr>
            </a:lvl1pPr>
            <a:lvl2pPr>
              <a:defRPr sz="6400"/>
            </a:lvl2pPr>
            <a:lvl3pPr>
              <a:defRPr sz="6400"/>
            </a:lvl3pPr>
            <a:lvl4pPr>
              <a:defRPr sz="6400"/>
            </a:lvl4pPr>
            <a:lvl5pPr>
              <a:defRPr sz="6400"/>
            </a:lvl5pPr>
          </a:lstStyle>
          <a:p>
            <a:pPr lvl="0"/>
            <a:r>
              <a:rPr lang="en-US" noProof="0" dirty="0"/>
              <a:t>Click to add title</a:t>
            </a:r>
          </a:p>
        </p:txBody>
      </p:sp>
      <p:pic>
        <p:nvPicPr>
          <p:cNvPr id="6" name="Picture 5">
            <a:extLst>
              <a:ext uri="{FF2B5EF4-FFF2-40B4-BE49-F238E27FC236}">
                <a16:creationId xmlns:a16="http://schemas.microsoft.com/office/drawing/2014/main" id="{A380518A-9ACF-8844-AFD1-AB184AC65BDC}"/>
              </a:ext>
            </a:extLst>
          </p:cNvPr>
          <p:cNvPicPr>
            <a:picLocks noChangeAspect="1"/>
          </p:cNvPicPr>
          <p:nvPr/>
        </p:nvPicPr>
        <p:blipFill>
          <a:blip r:embed="rId2" cstate="email">
            <a:alphaModFix/>
            <a:extLst>
              <a:ext uri="{28A0092B-C50C-407E-A947-70E740481C1C}">
                <a14:useLocalDpi xmlns:a14="http://schemas.microsoft.com/office/drawing/2010/main"/>
              </a:ext>
            </a:extLst>
          </a:blip>
          <a:stretch>
            <a:fillRect/>
          </a:stretch>
        </p:blipFill>
        <p:spPr>
          <a:xfrm>
            <a:off x="11041017" y="288001"/>
            <a:ext cx="480000" cy="613041"/>
          </a:xfrm>
          <a:prstGeom prst="rect">
            <a:avLst/>
          </a:prstGeom>
          <a:noFill/>
        </p:spPr>
      </p:pic>
    </p:spTree>
    <p:extLst>
      <p:ext uri="{BB962C8B-B14F-4D97-AF65-F5344CB8AC3E}">
        <p14:creationId xmlns:p14="http://schemas.microsoft.com/office/powerpoint/2010/main" val="44622035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p:cSld name="Full bleed photo overlay lef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1F58990-F6FE-47C5-BC21-2A45263505CD}"/>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2" name="Object 1" hidden="1">
                        <a:extLst>
                          <a:ext uri="{FF2B5EF4-FFF2-40B4-BE49-F238E27FC236}">
                            <a16:creationId xmlns:a16="http://schemas.microsoft.com/office/drawing/2014/main" id="{B1F58990-F6FE-47C5-BC21-2A45263505CD}"/>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4" name="Picture Placeholder 3"/>
          <p:cNvSpPr>
            <a:spLocks noGrp="1"/>
          </p:cNvSpPr>
          <p:nvPr>
            <p:ph type="pic" sz="quarter" idx="14"/>
          </p:nvPr>
        </p:nvSpPr>
        <p:spPr>
          <a:xfrm>
            <a:off x="0" y="0"/>
            <a:ext cx="12192000" cy="6858000"/>
          </a:xfrm>
          <a:prstGeom prst="rect">
            <a:avLst/>
          </a:prstGeom>
          <a:solidFill>
            <a:schemeClr val="bg1">
              <a:lumMod val="85000"/>
            </a:schemeClr>
          </a:solidFill>
        </p:spPr>
        <p:txBody>
          <a:bodyPr/>
          <a:lstStyle>
            <a:lvl1pPr marL="0" indent="0">
              <a:buNone/>
              <a:defRPr sz="1333"/>
            </a:lvl1pPr>
          </a:lstStyle>
          <a:p>
            <a:r>
              <a:rPr lang="en-US" noProof="0"/>
              <a:t>Click icon to add picture</a:t>
            </a:r>
            <a:endParaRPr lang="en-US" noProof="0" dirty="0"/>
          </a:p>
        </p:txBody>
      </p:sp>
      <p:sp>
        <p:nvSpPr>
          <p:cNvPr id="13" name="Text Placeholder 12"/>
          <p:cNvSpPr>
            <a:spLocks noGrp="1"/>
          </p:cNvSpPr>
          <p:nvPr>
            <p:ph type="body" sz="quarter" idx="15" hasCustomPrompt="1"/>
          </p:nvPr>
        </p:nvSpPr>
        <p:spPr bwMode="gray">
          <a:xfrm>
            <a:off x="0" y="0"/>
            <a:ext cx="4656667" cy="6858000"/>
          </a:xfrm>
          <a:prstGeom prst="rect">
            <a:avLst/>
          </a:prstGeom>
          <a:solidFill>
            <a:srgbClr val="004D79">
              <a:alpha val="89804"/>
            </a:srgbClr>
          </a:solidFill>
        </p:spPr>
        <p:txBody>
          <a:bodyPr vert="horz"/>
          <a:lstStyle>
            <a:lvl1pPr marL="0" indent="0">
              <a:buFontTx/>
              <a:buNone/>
              <a:defRPr>
                <a:ln>
                  <a:noFill/>
                </a:ln>
              </a:defRPr>
            </a:lvl1pPr>
          </a:lstStyle>
          <a:p>
            <a:pPr lvl="0"/>
            <a:r>
              <a:rPr lang="en-US" dirty="0"/>
              <a:t> </a:t>
            </a:r>
          </a:p>
        </p:txBody>
      </p:sp>
      <p:sp>
        <p:nvSpPr>
          <p:cNvPr id="3" name="Text Placeholder 2"/>
          <p:cNvSpPr>
            <a:spLocks noGrp="1"/>
          </p:cNvSpPr>
          <p:nvPr>
            <p:ph type="body" sz="quarter" idx="10" hasCustomPrompt="1"/>
          </p:nvPr>
        </p:nvSpPr>
        <p:spPr bwMode="white">
          <a:xfrm>
            <a:off x="423334" y="1625597"/>
            <a:ext cx="3801533" cy="4250616"/>
          </a:xfrm>
          <a:prstGeom prst="rect">
            <a:avLst/>
          </a:prstGeom>
        </p:spPr>
        <p:txBody>
          <a:bodyPr lIns="0" tIns="0" rIns="0" bIns="0"/>
          <a:lstStyle>
            <a:lvl1pPr marL="0" indent="0" algn="l">
              <a:lnSpc>
                <a:spcPct val="100000"/>
              </a:lnSpc>
              <a:spcBef>
                <a:spcPts val="0"/>
              </a:spcBef>
              <a:buClr>
                <a:schemeClr val="bg1"/>
              </a:buClr>
              <a:buFont typeface="Arial" panose="020B0604020202020204" pitchFamily="34" charset="0"/>
              <a:buNone/>
              <a:defRPr sz="4800" baseline="0">
                <a:solidFill>
                  <a:schemeClr val="bg1"/>
                </a:solidFill>
                <a:latin typeface="+mj-lt"/>
              </a:defRPr>
            </a:lvl1pPr>
          </a:lstStyle>
          <a:p>
            <a:pPr lvl="0"/>
            <a:r>
              <a:rPr lang="en-US" noProof="0" dirty="0"/>
              <a:t>Click to add text</a:t>
            </a:r>
          </a:p>
          <a:p>
            <a:pPr lvl="0"/>
            <a:endParaRPr lang="en-US" noProof="0" dirty="0"/>
          </a:p>
          <a:p>
            <a:pPr lvl="0"/>
            <a:endParaRPr lang="en-US" noProof="0" dirty="0"/>
          </a:p>
          <a:p>
            <a:pPr lvl="0"/>
            <a:endParaRPr lang="en-US" noProof="0" dirty="0"/>
          </a:p>
        </p:txBody>
      </p:sp>
      <p:sp>
        <p:nvSpPr>
          <p:cNvPr id="7" name="Text Placeholder 9">
            <a:extLst>
              <a:ext uri="{FF2B5EF4-FFF2-40B4-BE49-F238E27FC236}">
                <a16:creationId xmlns:a16="http://schemas.microsoft.com/office/drawing/2014/main" id="{AB25F741-4DE1-41E1-8A68-93B346DCAEF5}"/>
              </a:ext>
            </a:extLst>
          </p:cNvPr>
          <p:cNvSpPr>
            <a:spLocks noGrp="1"/>
          </p:cNvSpPr>
          <p:nvPr>
            <p:ph type="body" sz="quarter" idx="22" hasCustomPrompt="1"/>
          </p:nvPr>
        </p:nvSpPr>
        <p:spPr>
          <a:xfrm>
            <a:off x="11041019" y="288001"/>
            <a:ext cx="480000" cy="609729"/>
          </a:xfrm>
          <a:blipFill dpi="0" rotWithShape="1">
            <a:blip r:embed="rId5" cstate="email">
              <a:alphaModFix amt="90000"/>
              <a:extLst>
                <a:ext uri="{28A0092B-C50C-407E-A947-70E740481C1C}">
                  <a14:useLocalDpi xmlns:a14="http://schemas.microsoft.com/office/drawing/2010/main"/>
                </a:ext>
              </a:extLst>
            </a:blip>
            <a:srcRect/>
            <a:stretch>
              <a:fillRect/>
            </a:stretch>
          </a:blipFill>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34213530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p:cSld name="Full bleed photo overlay righ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2622BA5-BC34-4A58-9264-E2D05A0F24AA}"/>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2" name="Object 1" hidden="1">
                        <a:extLst>
                          <a:ext uri="{FF2B5EF4-FFF2-40B4-BE49-F238E27FC236}">
                            <a16:creationId xmlns:a16="http://schemas.microsoft.com/office/drawing/2014/main" id="{92622BA5-BC34-4A58-9264-E2D05A0F24AA}"/>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4" name="Picture Placeholder 3"/>
          <p:cNvSpPr>
            <a:spLocks noGrp="1"/>
          </p:cNvSpPr>
          <p:nvPr>
            <p:ph type="pic" sz="quarter" idx="14"/>
          </p:nvPr>
        </p:nvSpPr>
        <p:spPr>
          <a:xfrm>
            <a:off x="0" y="0"/>
            <a:ext cx="12192000" cy="6858000"/>
          </a:xfrm>
          <a:prstGeom prst="rect">
            <a:avLst/>
          </a:prstGeom>
          <a:solidFill>
            <a:schemeClr val="bg1">
              <a:lumMod val="85000"/>
            </a:schemeClr>
          </a:solidFill>
        </p:spPr>
        <p:txBody>
          <a:bodyPr/>
          <a:lstStyle>
            <a:lvl1pPr marL="0" indent="0">
              <a:buNone/>
              <a:defRPr sz="1333"/>
            </a:lvl1pPr>
          </a:lstStyle>
          <a:p>
            <a:r>
              <a:rPr lang="en-US" noProof="0"/>
              <a:t>Click icon to add picture</a:t>
            </a:r>
            <a:endParaRPr lang="en-US" noProof="0" dirty="0"/>
          </a:p>
        </p:txBody>
      </p:sp>
      <p:sp>
        <p:nvSpPr>
          <p:cNvPr id="10" name="Text Placeholder 12"/>
          <p:cNvSpPr>
            <a:spLocks noGrp="1"/>
          </p:cNvSpPr>
          <p:nvPr>
            <p:ph type="body" sz="quarter" idx="15" hasCustomPrompt="1"/>
          </p:nvPr>
        </p:nvSpPr>
        <p:spPr bwMode="gray">
          <a:xfrm>
            <a:off x="7535335" y="0"/>
            <a:ext cx="4656667" cy="6858000"/>
          </a:xfrm>
          <a:prstGeom prst="rect">
            <a:avLst/>
          </a:prstGeom>
          <a:solidFill>
            <a:schemeClr val="accent1">
              <a:lumMod val="75000"/>
              <a:alpha val="90000"/>
            </a:schemeClr>
          </a:solidFill>
        </p:spPr>
        <p:txBody>
          <a:bodyPr vert="horz"/>
          <a:lstStyle>
            <a:lvl1pPr marL="0" indent="0">
              <a:buFontTx/>
              <a:buNone/>
              <a:defRPr>
                <a:ln>
                  <a:noFill/>
                </a:ln>
              </a:defRPr>
            </a:lvl1pPr>
          </a:lstStyle>
          <a:p>
            <a:pPr lvl="0"/>
            <a:r>
              <a:rPr lang="en-US" dirty="0"/>
              <a:t> </a:t>
            </a:r>
          </a:p>
        </p:txBody>
      </p:sp>
      <p:sp>
        <p:nvSpPr>
          <p:cNvPr id="3" name="Text Placeholder 2"/>
          <p:cNvSpPr>
            <a:spLocks noGrp="1"/>
          </p:cNvSpPr>
          <p:nvPr>
            <p:ph type="body" sz="quarter" idx="10" hasCustomPrompt="1"/>
          </p:nvPr>
        </p:nvSpPr>
        <p:spPr bwMode="white">
          <a:xfrm>
            <a:off x="7952002" y="1625600"/>
            <a:ext cx="3820897" cy="4251325"/>
          </a:xfrm>
          <a:prstGeom prst="rect">
            <a:avLst/>
          </a:prstGeom>
        </p:spPr>
        <p:txBody>
          <a:bodyPr lIns="0" tIns="0" rIns="0" bIns="0"/>
          <a:lstStyle>
            <a:lvl1pPr marL="0" indent="0" algn="l">
              <a:lnSpc>
                <a:spcPct val="100000"/>
              </a:lnSpc>
              <a:spcBef>
                <a:spcPts val="0"/>
              </a:spcBef>
              <a:buClr>
                <a:schemeClr val="bg1"/>
              </a:buClr>
              <a:buFont typeface="Arial" panose="020B0604020202020204" pitchFamily="34" charset="0"/>
              <a:buNone/>
              <a:defRPr sz="4800" baseline="0">
                <a:solidFill>
                  <a:schemeClr val="bg1"/>
                </a:solidFill>
                <a:latin typeface="+mj-lt"/>
              </a:defRPr>
            </a:lvl1pPr>
          </a:lstStyle>
          <a:p>
            <a:pPr lvl="0"/>
            <a:r>
              <a:rPr lang="en-US" noProof="0" dirty="0"/>
              <a:t>Click to add text</a:t>
            </a:r>
          </a:p>
          <a:p>
            <a:pPr lvl="0"/>
            <a:endParaRPr lang="en-US" noProof="0" dirty="0"/>
          </a:p>
        </p:txBody>
      </p:sp>
      <p:sp>
        <p:nvSpPr>
          <p:cNvPr id="8" name="Text Placeholder 9">
            <a:extLst>
              <a:ext uri="{FF2B5EF4-FFF2-40B4-BE49-F238E27FC236}">
                <a16:creationId xmlns:a16="http://schemas.microsoft.com/office/drawing/2014/main" id="{24DD6326-33BA-4174-807D-738A31A70017}"/>
              </a:ext>
            </a:extLst>
          </p:cNvPr>
          <p:cNvSpPr>
            <a:spLocks noGrp="1"/>
          </p:cNvSpPr>
          <p:nvPr>
            <p:ph type="body" sz="quarter" idx="22" hasCustomPrompt="1"/>
          </p:nvPr>
        </p:nvSpPr>
        <p:spPr>
          <a:xfrm>
            <a:off x="11041019" y="288001"/>
            <a:ext cx="480000" cy="609729"/>
          </a:xfrm>
          <a:blipFill>
            <a:blip r:embed="rId5" cstate="email">
              <a:extLst>
                <a:ext uri="{28A0092B-C50C-407E-A947-70E740481C1C}">
                  <a14:useLocalDpi xmlns:a14="http://schemas.microsoft.com/office/drawing/2010/main"/>
                </a:ext>
              </a:extLst>
            </a:blip>
            <a:stretch>
              <a:fillRect/>
            </a:stretch>
          </a:blipFill>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2240204172"/>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p:cSld name="Full bleed photo overlay bot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7DA24CE-89CA-4008-85D4-D98FA9672B39}"/>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2" name="Object 1" hidden="1">
                        <a:extLst>
                          <a:ext uri="{FF2B5EF4-FFF2-40B4-BE49-F238E27FC236}">
                            <a16:creationId xmlns:a16="http://schemas.microsoft.com/office/drawing/2014/main" id="{C7DA24CE-89CA-4008-85D4-D98FA9672B39}"/>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4" name="Picture Placeholder 3"/>
          <p:cNvSpPr>
            <a:spLocks noGrp="1"/>
          </p:cNvSpPr>
          <p:nvPr>
            <p:ph type="pic" sz="quarter" idx="14"/>
          </p:nvPr>
        </p:nvSpPr>
        <p:spPr>
          <a:xfrm>
            <a:off x="0" y="0"/>
            <a:ext cx="12192000" cy="6858000"/>
          </a:xfrm>
          <a:prstGeom prst="rect">
            <a:avLst/>
          </a:prstGeom>
          <a:solidFill>
            <a:schemeClr val="bg1">
              <a:lumMod val="85000"/>
            </a:schemeClr>
          </a:solidFill>
        </p:spPr>
        <p:txBody>
          <a:bodyPr/>
          <a:lstStyle>
            <a:lvl1pPr marL="0" indent="0">
              <a:buNone/>
              <a:defRPr sz="1333"/>
            </a:lvl1pPr>
          </a:lstStyle>
          <a:p>
            <a:r>
              <a:rPr lang="en-US"/>
              <a:t>Click icon to add picture</a:t>
            </a:r>
            <a:endParaRPr lang="en-US" dirty="0"/>
          </a:p>
        </p:txBody>
      </p:sp>
      <p:sp>
        <p:nvSpPr>
          <p:cNvPr id="11" name="Text Placeholder 12"/>
          <p:cNvSpPr>
            <a:spLocks noGrp="1"/>
          </p:cNvSpPr>
          <p:nvPr>
            <p:ph type="body" sz="quarter" idx="15" hasCustomPrompt="1"/>
          </p:nvPr>
        </p:nvSpPr>
        <p:spPr bwMode="gray">
          <a:xfrm>
            <a:off x="0" y="5245103"/>
            <a:ext cx="12192000" cy="1612900"/>
          </a:xfrm>
          <a:prstGeom prst="rect">
            <a:avLst/>
          </a:prstGeom>
          <a:solidFill>
            <a:schemeClr val="accent1">
              <a:lumMod val="75000"/>
              <a:alpha val="90000"/>
            </a:schemeClr>
          </a:solidFill>
        </p:spPr>
        <p:txBody>
          <a:bodyPr vert="horz"/>
          <a:lstStyle>
            <a:lvl1pPr marL="0" indent="0">
              <a:buFontTx/>
              <a:buNone/>
              <a:defRPr>
                <a:ln>
                  <a:noFill/>
                </a:ln>
              </a:defRPr>
            </a:lvl1pPr>
          </a:lstStyle>
          <a:p>
            <a:pPr lvl="0"/>
            <a:r>
              <a:rPr lang="en-US" dirty="0"/>
              <a:t> </a:t>
            </a:r>
          </a:p>
        </p:txBody>
      </p:sp>
      <p:sp>
        <p:nvSpPr>
          <p:cNvPr id="3" name="Text Placeholder 2"/>
          <p:cNvSpPr>
            <a:spLocks noGrp="1"/>
          </p:cNvSpPr>
          <p:nvPr>
            <p:ph type="body" sz="quarter" idx="10" hasCustomPrompt="1"/>
          </p:nvPr>
        </p:nvSpPr>
        <p:spPr bwMode="white">
          <a:xfrm>
            <a:off x="673100" y="5624422"/>
            <a:ext cx="10847917" cy="869949"/>
          </a:xfrm>
          <a:prstGeom prst="rect">
            <a:avLst/>
          </a:prstGeom>
        </p:spPr>
        <p:txBody>
          <a:bodyPr lIns="0" tIns="0" rIns="0" bIns="0"/>
          <a:lstStyle>
            <a:lvl1pPr marL="0" indent="0" algn="l">
              <a:lnSpc>
                <a:spcPct val="100000"/>
              </a:lnSpc>
              <a:spcBef>
                <a:spcPts val="0"/>
              </a:spcBef>
              <a:buClr>
                <a:schemeClr val="bg1"/>
              </a:buClr>
              <a:buFont typeface="Arial" panose="020B0604020202020204" pitchFamily="34" charset="0"/>
              <a:buNone/>
              <a:defRPr sz="4800" baseline="0">
                <a:solidFill>
                  <a:schemeClr val="bg1"/>
                </a:solidFill>
                <a:latin typeface="+mj-lt"/>
              </a:defRPr>
            </a:lvl1pPr>
          </a:lstStyle>
          <a:p>
            <a:pPr lvl="0"/>
            <a:r>
              <a:rPr lang="en-US" noProof="0" dirty="0"/>
              <a:t>Click to add text</a:t>
            </a:r>
          </a:p>
          <a:p>
            <a:pPr lvl="0"/>
            <a:endParaRPr lang="en-US" noProof="0" dirty="0"/>
          </a:p>
        </p:txBody>
      </p:sp>
      <p:sp>
        <p:nvSpPr>
          <p:cNvPr id="8" name="Text Placeholder 9">
            <a:extLst>
              <a:ext uri="{FF2B5EF4-FFF2-40B4-BE49-F238E27FC236}">
                <a16:creationId xmlns:a16="http://schemas.microsoft.com/office/drawing/2014/main" id="{9A5C95AE-299F-431B-AB66-08FC9F22E319}"/>
              </a:ext>
            </a:extLst>
          </p:cNvPr>
          <p:cNvSpPr>
            <a:spLocks noGrp="1"/>
          </p:cNvSpPr>
          <p:nvPr>
            <p:ph type="body" sz="quarter" idx="22" hasCustomPrompt="1"/>
          </p:nvPr>
        </p:nvSpPr>
        <p:spPr>
          <a:xfrm>
            <a:off x="11041019" y="288001"/>
            <a:ext cx="480000" cy="609729"/>
          </a:xfrm>
          <a:blipFill dpi="0" rotWithShape="1">
            <a:blip r:embed="rId5" cstate="email">
              <a:alphaModFix amt="90000"/>
              <a:extLst>
                <a:ext uri="{28A0092B-C50C-407E-A947-70E740481C1C}">
                  <a14:useLocalDpi xmlns:a14="http://schemas.microsoft.com/office/drawing/2010/main"/>
                </a:ext>
              </a:extLst>
            </a:blip>
            <a:srcRect/>
            <a:stretch>
              <a:fillRect/>
            </a:stretch>
          </a:blipFill>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3094136205"/>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p:cSld name="Full bleed photo small overlay lef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ABAA68A-08EA-496D-B665-88DDACBC07B3}"/>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2" name="Object 1" hidden="1">
                        <a:extLst>
                          <a:ext uri="{FF2B5EF4-FFF2-40B4-BE49-F238E27FC236}">
                            <a16:creationId xmlns:a16="http://schemas.microsoft.com/office/drawing/2014/main" id="{EABAA68A-08EA-496D-B665-88DDACBC07B3}"/>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4" name="Picture Placeholder 3"/>
          <p:cNvSpPr>
            <a:spLocks noGrp="1"/>
          </p:cNvSpPr>
          <p:nvPr>
            <p:ph type="pic" sz="quarter" idx="14"/>
          </p:nvPr>
        </p:nvSpPr>
        <p:spPr>
          <a:xfrm>
            <a:off x="0" y="0"/>
            <a:ext cx="12192000" cy="6858000"/>
          </a:xfrm>
          <a:prstGeom prst="rect">
            <a:avLst/>
          </a:prstGeom>
          <a:solidFill>
            <a:schemeClr val="bg1">
              <a:lumMod val="85000"/>
            </a:schemeClr>
          </a:solidFill>
        </p:spPr>
        <p:txBody>
          <a:bodyPr/>
          <a:lstStyle>
            <a:lvl1pPr marL="0" indent="0">
              <a:buNone/>
              <a:defRPr sz="1333"/>
            </a:lvl1pPr>
          </a:lstStyle>
          <a:p>
            <a:r>
              <a:rPr lang="en-US" noProof="0"/>
              <a:t>Click icon to add picture</a:t>
            </a:r>
            <a:endParaRPr lang="en-US" noProof="0" dirty="0"/>
          </a:p>
        </p:txBody>
      </p:sp>
      <p:sp>
        <p:nvSpPr>
          <p:cNvPr id="3" name="Text Placeholder 2"/>
          <p:cNvSpPr>
            <a:spLocks noGrp="1"/>
          </p:cNvSpPr>
          <p:nvPr>
            <p:ph type="body" sz="quarter" idx="10" hasCustomPrompt="1"/>
          </p:nvPr>
        </p:nvSpPr>
        <p:spPr bwMode="gray">
          <a:xfrm>
            <a:off x="673100" y="3239400"/>
            <a:ext cx="4680000" cy="2628000"/>
          </a:xfrm>
          <a:prstGeom prst="rect">
            <a:avLst/>
          </a:prstGeom>
          <a:solidFill>
            <a:srgbClr val="004D79">
              <a:alpha val="90000"/>
            </a:srgbClr>
          </a:solidFill>
        </p:spPr>
        <p:txBody>
          <a:bodyPr lIns="134955" tIns="134955" rIns="134955" bIns="134955"/>
          <a:lstStyle>
            <a:lvl1pPr marL="0" indent="0" algn="l">
              <a:lnSpc>
                <a:spcPct val="100000"/>
              </a:lnSpc>
              <a:spcBef>
                <a:spcPts val="0"/>
              </a:spcBef>
              <a:buClr>
                <a:schemeClr val="bg1"/>
              </a:buClr>
              <a:buFont typeface="Arial" panose="020B0604020202020204" pitchFamily="34" charset="0"/>
              <a:buNone/>
              <a:defRPr sz="4800" baseline="0">
                <a:solidFill>
                  <a:schemeClr val="bg1"/>
                </a:solidFill>
                <a:latin typeface="+mj-lt"/>
              </a:defRPr>
            </a:lvl1pPr>
          </a:lstStyle>
          <a:p>
            <a:pPr lvl="0"/>
            <a:r>
              <a:rPr lang="en-US" noProof="0" dirty="0"/>
              <a:t>Click to add text</a:t>
            </a:r>
          </a:p>
        </p:txBody>
      </p:sp>
      <p:sp>
        <p:nvSpPr>
          <p:cNvPr id="7" name="Text Placeholder 9">
            <a:extLst>
              <a:ext uri="{FF2B5EF4-FFF2-40B4-BE49-F238E27FC236}">
                <a16:creationId xmlns:a16="http://schemas.microsoft.com/office/drawing/2014/main" id="{EEFB6CD9-7626-429B-A638-CA2C3907F2F5}"/>
              </a:ext>
            </a:extLst>
          </p:cNvPr>
          <p:cNvSpPr>
            <a:spLocks noGrp="1"/>
          </p:cNvSpPr>
          <p:nvPr>
            <p:ph type="body" sz="quarter" idx="22" hasCustomPrompt="1"/>
          </p:nvPr>
        </p:nvSpPr>
        <p:spPr>
          <a:xfrm>
            <a:off x="11041019" y="288001"/>
            <a:ext cx="480000" cy="609729"/>
          </a:xfrm>
          <a:blipFill dpi="0" rotWithShape="1">
            <a:blip r:embed="rId5" cstate="email">
              <a:alphaModFix amt="90000"/>
              <a:extLst>
                <a:ext uri="{28A0092B-C50C-407E-A947-70E740481C1C}">
                  <a14:useLocalDpi xmlns:a14="http://schemas.microsoft.com/office/drawing/2010/main"/>
                </a:ext>
              </a:extLst>
            </a:blip>
            <a:srcRect/>
            <a:stretch>
              <a:fillRect/>
            </a:stretch>
          </a:blipFill>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28388168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wo Content Dark Righ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D86AC41-762B-4924-A899-F81343A12E1E}"/>
              </a:ext>
            </a:extLst>
          </p:cNvPr>
          <p:cNvSpPr/>
          <p:nvPr/>
        </p:nvSpPr>
        <p:spPr>
          <a:xfrm>
            <a:off x="6096001" y="4"/>
            <a:ext cx="6096000" cy="6858000"/>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42"/>
          </a:p>
        </p:txBody>
      </p:sp>
      <p:sp>
        <p:nvSpPr>
          <p:cNvPr id="3" name="Content Placeholder 2"/>
          <p:cNvSpPr>
            <a:spLocks noGrp="1"/>
          </p:cNvSpPr>
          <p:nvPr>
            <p:ph sz="half" idx="1"/>
          </p:nvPr>
        </p:nvSpPr>
        <p:spPr>
          <a:xfrm>
            <a:off x="410878" y="1521184"/>
            <a:ext cx="5292112" cy="44947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86790" y="1521184"/>
            <a:ext cx="5292112" cy="4494733"/>
          </a:xfrm>
        </p:spPr>
        <p:txBody>
          <a:bodyPr/>
          <a:lstStyle>
            <a:lvl1pPr>
              <a:defRPr>
                <a:solidFill>
                  <a:schemeClr val="bg1"/>
                </a:solidFill>
              </a:defRPr>
            </a:lvl1pPr>
            <a:lvl2pPr>
              <a:defRPr>
                <a:solidFill>
                  <a:schemeClr val="bg1"/>
                </a:solidFill>
              </a:defRPr>
            </a:lvl2pPr>
            <a:lvl3pPr>
              <a:defRPr>
                <a:solidFill>
                  <a:schemeClr val="accent3"/>
                </a:solidFill>
              </a:defRPr>
            </a:lvl3pPr>
            <a:lvl4pPr>
              <a:buClr>
                <a:schemeClr val="accent3"/>
              </a:buClr>
              <a:defRPr>
                <a:solidFill>
                  <a:schemeClr val="bg1"/>
                </a:solidFill>
              </a:defRPr>
            </a:lvl4pPr>
            <a:lvl5pPr>
              <a:buClr>
                <a:schemeClr val="accent3"/>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endParaRPr lang="en-BE"/>
          </a:p>
        </p:txBody>
      </p:sp>
      <p:sp>
        <p:nvSpPr>
          <p:cNvPr id="7" name="Slide Number Placeholder 6"/>
          <p:cNvSpPr>
            <a:spLocks noGrp="1"/>
          </p:cNvSpPr>
          <p:nvPr>
            <p:ph type="sldNum" sz="quarter" idx="12"/>
          </p:nvPr>
        </p:nvSpPr>
        <p:spPr/>
        <p:txBody>
          <a:bodyPr/>
          <a:lstStyle/>
          <a:p>
            <a:fld id="{9F5F79E4-174E-4D15-B5B9-2923F86E0116}" type="slidenum">
              <a:rPr lang="en-BE" smtClean="0"/>
              <a:t>‹#›</a:t>
            </a:fld>
            <a:endParaRPr lang="en-BE"/>
          </a:p>
        </p:txBody>
      </p:sp>
      <p:sp>
        <p:nvSpPr>
          <p:cNvPr id="8" name="Title 7">
            <a:extLst>
              <a:ext uri="{FF2B5EF4-FFF2-40B4-BE49-F238E27FC236}">
                <a16:creationId xmlns:a16="http://schemas.microsoft.com/office/drawing/2014/main" id="{97185569-060C-4071-87A6-3F288164C3BB}"/>
              </a:ext>
            </a:extLst>
          </p:cNvPr>
          <p:cNvSpPr>
            <a:spLocks noGrp="1"/>
          </p:cNvSpPr>
          <p:nvPr>
            <p:ph type="title"/>
          </p:nvPr>
        </p:nvSpPr>
        <p:spPr>
          <a:xfrm>
            <a:off x="410879" y="410669"/>
            <a:ext cx="5292111" cy="776038"/>
          </a:xfrm>
        </p:spPr>
        <p:txBody>
          <a:bodyPr/>
          <a:lstStyle/>
          <a:p>
            <a:r>
              <a:rPr lang="en-US"/>
              <a:t>Click to edit Master title style</a:t>
            </a:r>
            <a:endParaRPr lang="en-GB"/>
          </a:p>
        </p:txBody>
      </p:sp>
      <p:sp>
        <p:nvSpPr>
          <p:cNvPr id="19" name="Freeform 5">
            <a:extLst>
              <a:ext uri="{FF2B5EF4-FFF2-40B4-BE49-F238E27FC236}">
                <a16:creationId xmlns:a16="http://schemas.microsoft.com/office/drawing/2014/main" id="{4CBF1DDE-7DD3-4D1C-9B77-141EBB861B03}"/>
              </a:ext>
            </a:extLst>
          </p:cNvPr>
          <p:cNvSpPr>
            <a:spLocks noChangeAspect="1" noEditPoints="1"/>
          </p:cNvSpPr>
          <p:nvPr/>
        </p:nvSpPr>
        <p:spPr bwMode="auto">
          <a:xfrm>
            <a:off x="11163612" y="6336092"/>
            <a:ext cx="612000" cy="106642"/>
          </a:xfrm>
          <a:custGeom>
            <a:avLst/>
            <a:gdLst>
              <a:gd name="T0" fmla="*/ 2108 w 2301"/>
              <a:gd name="T1" fmla="*/ 43 h 400"/>
              <a:gd name="T2" fmla="*/ 2257 w 2301"/>
              <a:gd name="T3" fmla="*/ 121 h 400"/>
              <a:gd name="T4" fmla="*/ 2154 w 2301"/>
              <a:gd name="T5" fmla="*/ 289 h 400"/>
              <a:gd name="T6" fmla="*/ 2261 w 2301"/>
              <a:gd name="T7" fmla="*/ 295 h 400"/>
              <a:gd name="T8" fmla="*/ 2301 w 2301"/>
              <a:gd name="T9" fmla="*/ 300 h 400"/>
              <a:gd name="T10" fmla="*/ 2108 w 2301"/>
              <a:gd name="T11" fmla="*/ 167 h 400"/>
              <a:gd name="T12" fmla="*/ 548 w 2301"/>
              <a:gd name="T13" fmla="*/ 121 h 400"/>
              <a:gd name="T14" fmla="*/ 643 w 2301"/>
              <a:gd name="T15" fmla="*/ 43 h 400"/>
              <a:gd name="T16" fmla="*/ 746 w 2301"/>
              <a:gd name="T17" fmla="*/ 167 h 400"/>
              <a:gd name="T18" fmla="*/ 729 w 2301"/>
              <a:gd name="T19" fmla="*/ 342 h 400"/>
              <a:gd name="T20" fmla="*/ 789 w 2301"/>
              <a:gd name="T21" fmla="*/ 296 h 400"/>
              <a:gd name="T22" fmla="*/ 622 w 2301"/>
              <a:gd name="T23" fmla="*/ 371 h 400"/>
              <a:gd name="T24" fmla="*/ 1997 w 2301"/>
              <a:gd name="T25" fmla="*/ 297 h 400"/>
              <a:gd name="T26" fmla="*/ 1822 w 2301"/>
              <a:gd name="T27" fmla="*/ 327 h 400"/>
              <a:gd name="T28" fmla="*/ 1954 w 2301"/>
              <a:gd name="T29" fmla="*/ 213 h 400"/>
              <a:gd name="T30" fmla="*/ 1962 w 2301"/>
              <a:gd name="T31" fmla="*/ 141 h 400"/>
              <a:gd name="T32" fmla="*/ 1885 w 2301"/>
              <a:gd name="T33" fmla="*/ 400 h 400"/>
              <a:gd name="T34" fmla="*/ 0 w 2301"/>
              <a:gd name="T35" fmla="*/ 389 h 400"/>
              <a:gd name="T36" fmla="*/ 19 w 2301"/>
              <a:gd name="T37" fmla="*/ 167 h 400"/>
              <a:gd name="T38" fmla="*/ 125 w 2301"/>
              <a:gd name="T39" fmla="*/ 126 h 400"/>
              <a:gd name="T40" fmla="*/ 206 w 2301"/>
              <a:gd name="T41" fmla="*/ 395 h 400"/>
              <a:gd name="T42" fmla="*/ 381 w 2301"/>
              <a:gd name="T43" fmla="*/ 116 h 400"/>
              <a:gd name="T44" fmla="*/ 266 w 2301"/>
              <a:gd name="T45" fmla="*/ 126 h 400"/>
              <a:gd name="T46" fmla="*/ 272 w 2301"/>
              <a:gd name="T47" fmla="*/ 395 h 400"/>
              <a:gd name="T48" fmla="*/ 312 w 2301"/>
              <a:gd name="T49" fmla="*/ 250 h 400"/>
              <a:gd name="T50" fmla="*/ 313 w 2301"/>
              <a:gd name="T51" fmla="*/ 228 h 400"/>
              <a:gd name="T52" fmla="*/ 313 w 2301"/>
              <a:gd name="T53" fmla="*/ 215 h 400"/>
              <a:gd name="T54" fmla="*/ 316 w 2301"/>
              <a:gd name="T55" fmla="*/ 206 h 400"/>
              <a:gd name="T56" fmla="*/ 319 w 2301"/>
              <a:gd name="T57" fmla="*/ 197 h 400"/>
              <a:gd name="T58" fmla="*/ 327 w 2301"/>
              <a:gd name="T59" fmla="*/ 186 h 400"/>
              <a:gd name="T60" fmla="*/ 447 w 2301"/>
              <a:gd name="T61" fmla="*/ 389 h 400"/>
              <a:gd name="T62" fmla="*/ 493 w 2301"/>
              <a:gd name="T63" fmla="*/ 228 h 400"/>
              <a:gd name="T64" fmla="*/ 142 w 2301"/>
              <a:gd name="T65" fmla="*/ 38 h 400"/>
              <a:gd name="T66" fmla="*/ 1292 w 2301"/>
              <a:gd name="T67" fmla="*/ 116 h 400"/>
              <a:gd name="T68" fmla="*/ 1177 w 2301"/>
              <a:gd name="T69" fmla="*/ 126 h 400"/>
              <a:gd name="T70" fmla="*/ 1183 w 2301"/>
              <a:gd name="T71" fmla="*/ 395 h 400"/>
              <a:gd name="T72" fmla="*/ 1223 w 2301"/>
              <a:gd name="T73" fmla="*/ 250 h 400"/>
              <a:gd name="T74" fmla="*/ 1224 w 2301"/>
              <a:gd name="T75" fmla="*/ 228 h 400"/>
              <a:gd name="T76" fmla="*/ 1224 w 2301"/>
              <a:gd name="T77" fmla="*/ 215 h 400"/>
              <a:gd name="T78" fmla="*/ 1227 w 2301"/>
              <a:gd name="T79" fmla="*/ 206 h 400"/>
              <a:gd name="T80" fmla="*/ 1230 w 2301"/>
              <a:gd name="T81" fmla="*/ 197 h 400"/>
              <a:gd name="T82" fmla="*/ 1238 w 2301"/>
              <a:gd name="T83" fmla="*/ 186 h 400"/>
              <a:gd name="T84" fmla="*/ 1386 w 2301"/>
              <a:gd name="T85" fmla="*/ 179 h 400"/>
              <a:gd name="T86" fmla="*/ 1002 w 2301"/>
              <a:gd name="T87" fmla="*/ 126 h 400"/>
              <a:gd name="T88" fmla="*/ 956 w 2301"/>
              <a:gd name="T89" fmla="*/ 170 h 400"/>
              <a:gd name="T90" fmla="*/ 981 w 2301"/>
              <a:gd name="T91" fmla="*/ 400 h 400"/>
              <a:gd name="T92" fmla="*/ 981 w 2301"/>
              <a:gd name="T93" fmla="*/ 354 h 400"/>
              <a:gd name="T94" fmla="*/ 1692 w 2301"/>
              <a:gd name="T95" fmla="*/ 232 h 400"/>
              <a:gd name="T96" fmla="*/ 1646 w 2301"/>
              <a:gd name="T97" fmla="*/ 149 h 400"/>
              <a:gd name="T98" fmla="*/ 1648 w 2301"/>
              <a:gd name="T99" fmla="*/ 258 h 400"/>
              <a:gd name="T100" fmla="*/ 1536 w 2301"/>
              <a:gd name="T101" fmla="*/ 120 h 400"/>
              <a:gd name="T102" fmla="*/ 1646 w 2301"/>
              <a:gd name="T103" fmla="*/ 390 h 400"/>
              <a:gd name="T104" fmla="*/ 1692 w 2301"/>
              <a:gd name="T105" fmla="*/ 242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01" h="400">
                <a:moveTo>
                  <a:pt x="2054" y="162"/>
                </a:moveTo>
                <a:cubicBezTo>
                  <a:pt x="2054" y="126"/>
                  <a:pt x="2054" y="126"/>
                  <a:pt x="2054" y="126"/>
                </a:cubicBezTo>
                <a:cubicBezTo>
                  <a:pt x="2054" y="122"/>
                  <a:pt x="2055" y="121"/>
                  <a:pt x="2059" y="121"/>
                </a:cubicBezTo>
                <a:cubicBezTo>
                  <a:pt x="2108" y="121"/>
                  <a:pt x="2108" y="121"/>
                  <a:pt x="2108" y="121"/>
                </a:cubicBezTo>
                <a:cubicBezTo>
                  <a:pt x="2108" y="43"/>
                  <a:pt x="2108" y="43"/>
                  <a:pt x="2108" y="43"/>
                </a:cubicBezTo>
                <a:cubicBezTo>
                  <a:pt x="2108" y="39"/>
                  <a:pt x="2110" y="38"/>
                  <a:pt x="2113" y="38"/>
                </a:cubicBezTo>
                <a:cubicBezTo>
                  <a:pt x="2149" y="38"/>
                  <a:pt x="2149" y="38"/>
                  <a:pt x="2149" y="38"/>
                </a:cubicBezTo>
                <a:cubicBezTo>
                  <a:pt x="2152" y="38"/>
                  <a:pt x="2154" y="39"/>
                  <a:pt x="2154" y="43"/>
                </a:cubicBezTo>
                <a:cubicBezTo>
                  <a:pt x="2154" y="121"/>
                  <a:pt x="2154" y="121"/>
                  <a:pt x="2154" y="121"/>
                </a:cubicBezTo>
                <a:cubicBezTo>
                  <a:pt x="2257" y="121"/>
                  <a:pt x="2257" y="121"/>
                  <a:pt x="2257" y="121"/>
                </a:cubicBezTo>
                <a:cubicBezTo>
                  <a:pt x="2260" y="121"/>
                  <a:pt x="2262" y="122"/>
                  <a:pt x="2262" y="126"/>
                </a:cubicBezTo>
                <a:cubicBezTo>
                  <a:pt x="2262" y="162"/>
                  <a:pt x="2262" y="162"/>
                  <a:pt x="2262" y="162"/>
                </a:cubicBezTo>
                <a:cubicBezTo>
                  <a:pt x="2262" y="165"/>
                  <a:pt x="2260" y="167"/>
                  <a:pt x="2257" y="167"/>
                </a:cubicBezTo>
                <a:cubicBezTo>
                  <a:pt x="2154" y="167"/>
                  <a:pt x="2154" y="167"/>
                  <a:pt x="2154" y="167"/>
                </a:cubicBezTo>
                <a:cubicBezTo>
                  <a:pt x="2154" y="289"/>
                  <a:pt x="2154" y="289"/>
                  <a:pt x="2154" y="289"/>
                </a:cubicBezTo>
                <a:cubicBezTo>
                  <a:pt x="2154" y="311"/>
                  <a:pt x="2158" y="326"/>
                  <a:pt x="2166" y="336"/>
                </a:cubicBezTo>
                <a:cubicBezTo>
                  <a:pt x="2174" y="348"/>
                  <a:pt x="2186" y="353"/>
                  <a:pt x="2204" y="353"/>
                </a:cubicBezTo>
                <a:cubicBezTo>
                  <a:pt x="2221" y="353"/>
                  <a:pt x="2232" y="351"/>
                  <a:pt x="2240" y="342"/>
                </a:cubicBezTo>
                <a:cubicBezTo>
                  <a:pt x="2248" y="333"/>
                  <a:pt x="2252" y="319"/>
                  <a:pt x="2255" y="300"/>
                </a:cubicBezTo>
                <a:cubicBezTo>
                  <a:pt x="2255" y="297"/>
                  <a:pt x="2257" y="295"/>
                  <a:pt x="2261" y="295"/>
                </a:cubicBezTo>
                <a:cubicBezTo>
                  <a:pt x="2296" y="295"/>
                  <a:pt x="2296" y="295"/>
                  <a:pt x="2296" y="295"/>
                </a:cubicBezTo>
                <a:cubicBezTo>
                  <a:pt x="2298" y="295"/>
                  <a:pt x="2298" y="295"/>
                  <a:pt x="2298" y="295"/>
                </a:cubicBezTo>
                <a:cubicBezTo>
                  <a:pt x="2298" y="295"/>
                  <a:pt x="2299" y="295"/>
                  <a:pt x="2300" y="296"/>
                </a:cubicBezTo>
                <a:cubicBezTo>
                  <a:pt x="2300" y="296"/>
                  <a:pt x="2301" y="297"/>
                  <a:pt x="2301" y="297"/>
                </a:cubicBezTo>
                <a:cubicBezTo>
                  <a:pt x="2301" y="298"/>
                  <a:pt x="2301" y="299"/>
                  <a:pt x="2301" y="300"/>
                </a:cubicBezTo>
                <a:cubicBezTo>
                  <a:pt x="2301" y="327"/>
                  <a:pt x="2295" y="350"/>
                  <a:pt x="2276" y="371"/>
                </a:cubicBezTo>
                <a:cubicBezTo>
                  <a:pt x="2259" y="390"/>
                  <a:pt x="2235" y="400"/>
                  <a:pt x="2205" y="400"/>
                </a:cubicBezTo>
                <a:cubicBezTo>
                  <a:pt x="2173" y="400"/>
                  <a:pt x="2149" y="390"/>
                  <a:pt x="2133" y="371"/>
                </a:cubicBezTo>
                <a:cubicBezTo>
                  <a:pt x="2116" y="353"/>
                  <a:pt x="2108" y="325"/>
                  <a:pt x="2108" y="289"/>
                </a:cubicBezTo>
                <a:cubicBezTo>
                  <a:pt x="2108" y="167"/>
                  <a:pt x="2108" y="167"/>
                  <a:pt x="2108" y="167"/>
                </a:cubicBezTo>
                <a:cubicBezTo>
                  <a:pt x="2059" y="167"/>
                  <a:pt x="2059" y="167"/>
                  <a:pt x="2059" y="167"/>
                </a:cubicBezTo>
                <a:cubicBezTo>
                  <a:pt x="2055" y="167"/>
                  <a:pt x="2054" y="165"/>
                  <a:pt x="2054" y="162"/>
                </a:cubicBezTo>
                <a:moveTo>
                  <a:pt x="543" y="162"/>
                </a:moveTo>
                <a:cubicBezTo>
                  <a:pt x="543" y="126"/>
                  <a:pt x="543" y="126"/>
                  <a:pt x="543" y="126"/>
                </a:cubicBezTo>
                <a:cubicBezTo>
                  <a:pt x="543" y="122"/>
                  <a:pt x="545" y="121"/>
                  <a:pt x="548" y="121"/>
                </a:cubicBezTo>
                <a:cubicBezTo>
                  <a:pt x="597" y="121"/>
                  <a:pt x="597" y="121"/>
                  <a:pt x="597" y="121"/>
                </a:cubicBezTo>
                <a:cubicBezTo>
                  <a:pt x="597" y="43"/>
                  <a:pt x="597" y="43"/>
                  <a:pt x="597" y="43"/>
                </a:cubicBezTo>
                <a:cubicBezTo>
                  <a:pt x="597" y="39"/>
                  <a:pt x="599" y="38"/>
                  <a:pt x="603" y="38"/>
                </a:cubicBezTo>
                <a:cubicBezTo>
                  <a:pt x="638" y="38"/>
                  <a:pt x="638" y="38"/>
                  <a:pt x="638" y="38"/>
                </a:cubicBezTo>
                <a:cubicBezTo>
                  <a:pt x="642" y="38"/>
                  <a:pt x="643" y="39"/>
                  <a:pt x="643" y="43"/>
                </a:cubicBezTo>
                <a:cubicBezTo>
                  <a:pt x="643" y="121"/>
                  <a:pt x="643" y="121"/>
                  <a:pt x="643" y="121"/>
                </a:cubicBezTo>
                <a:cubicBezTo>
                  <a:pt x="746" y="121"/>
                  <a:pt x="746" y="121"/>
                  <a:pt x="746" y="121"/>
                </a:cubicBezTo>
                <a:cubicBezTo>
                  <a:pt x="750" y="121"/>
                  <a:pt x="751" y="122"/>
                  <a:pt x="751" y="126"/>
                </a:cubicBezTo>
                <a:cubicBezTo>
                  <a:pt x="751" y="162"/>
                  <a:pt x="751" y="162"/>
                  <a:pt x="751" y="162"/>
                </a:cubicBezTo>
                <a:cubicBezTo>
                  <a:pt x="751" y="165"/>
                  <a:pt x="750" y="167"/>
                  <a:pt x="746" y="167"/>
                </a:cubicBezTo>
                <a:cubicBezTo>
                  <a:pt x="644" y="167"/>
                  <a:pt x="644" y="167"/>
                  <a:pt x="644" y="167"/>
                </a:cubicBezTo>
                <a:cubicBezTo>
                  <a:pt x="644" y="289"/>
                  <a:pt x="644" y="289"/>
                  <a:pt x="644" y="289"/>
                </a:cubicBezTo>
                <a:cubicBezTo>
                  <a:pt x="644" y="311"/>
                  <a:pt x="648" y="326"/>
                  <a:pt x="655" y="336"/>
                </a:cubicBezTo>
                <a:cubicBezTo>
                  <a:pt x="663" y="348"/>
                  <a:pt x="675" y="353"/>
                  <a:pt x="694" y="353"/>
                </a:cubicBezTo>
                <a:cubicBezTo>
                  <a:pt x="711" y="353"/>
                  <a:pt x="721" y="351"/>
                  <a:pt x="729" y="342"/>
                </a:cubicBezTo>
                <a:cubicBezTo>
                  <a:pt x="737" y="333"/>
                  <a:pt x="741" y="319"/>
                  <a:pt x="744" y="300"/>
                </a:cubicBezTo>
                <a:cubicBezTo>
                  <a:pt x="745" y="297"/>
                  <a:pt x="746" y="295"/>
                  <a:pt x="750" y="295"/>
                </a:cubicBezTo>
                <a:cubicBezTo>
                  <a:pt x="785" y="295"/>
                  <a:pt x="785" y="295"/>
                  <a:pt x="785" y="295"/>
                </a:cubicBezTo>
                <a:cubicBezTo>
                  <a:pt x="787" y="295"/>
                  <a:pt x="787" y="295"/>
                  <a:pt x="787" y="295"/>
                </a:cubicBezTo>
                <a:cubicBezTo>
                  <a:pt x="788" y="295"/>
                  <a:pt x="788" y="295"/>
                  <a:pt x="789" y="296"/>
                </a:cubicBezTo>
                <a:cubicBezTo>
                  <a:pt x="790" y="296"/>
                  <a:pt x="790" y="297"/>
                  <a:pt x="790" y="297"/>
                </a:cubicBezTo>
                <a:cubicBezTo>
                  <a:pt x="790" y="298"/>
                  <a:pt x="790" y="299"/>
                  <a:pt x="790" y="300"/>
                </a:cubicBezTo>
                <a:cubicBezTo>
                  <a:pt x="790" y="327"/>
                  <a:pt x="784" y="350"/>
                  <a:pt x="765" y="371"/>
                </a:cubicBezTo>
                <a:cubicBezTo>
                  <a:pt x="748" y="390"/>
                  <a:pt x="725" y="400"/>
                  <a:pt x="694" y="400"/>
                </a:cubicBezTo>
                <a:cubicBezTo>
                  <a:pt x="662" y="400"/>
                  <a:pt x="639" y="390"/>
                  <a:pt x="622" y="371"/>
                </a:cubicBezTo>
                <a:cubicBezTo>
                  <a:pt x="606" y="353"/>
                  <a:pt x="597" y="325"/>
                  <a:pt x="597" y="289"/>
                </a:cubicBezTo>
                <a:cubicBezTo>
                  <a:pt x="597" y="167"/>
                  <a:pt x="597" y="167"/>
                  <a:pt x="597" y="167"/>
                </a:cubicBezTo>
                <a:cubicBezTo>
                  <a:pt x="548" y="167"/>
                  <a:pt x="548" y="167"/>
                  <a:pt x="548" y="167"/>
                </a:cubicBezTo>
                <a:cubicBezTo>
                  <a:pt x="545" y="167"/>
                  <a:pt x="543" y="165"/>
                  <a:pt x="543" y="162"/>
                </a:cubicBezTo>
                <a:moveTo>
                  <a:pt x="1997" y="297"/>
                </a:moveTo>
                <a:cubicBezTo>
                  <a:pt x="1965" y="297"/>
                  <a:pt x="1965" y="297"/>
                  <a:pt x="1965" y="297"/>
                </a:cubicBezTo>
                <a:cubicBezTo>
                  <a:pt x="1958" y="297"/>
                  <a:pt x="1956" y="301"/>
                  <a:pt x="1955" y="304"/>
                </a:cubicBezTo>
                <a:cubicBezTo>
                  <a:pt x="1950" y="319"/>
                  <a:pt x="1942" y="331"/>
                  <a:pt x="1929" y="340"/>
                </a:cubicBezTo>
                <a:cubicBezTo>
                  <a:pt x="1917" y="349"/>
                  <a:pt x="1902" y="354"/>
                  <a:pt x="1885" y="354"/>
                </a:cubicBezTo>
                <a:cubicBezTo>
                  <a:pt x="1860" y="354"/>
                  <a:pt x="1837" y="345"/>
                  <a:pt x="1822" y="327"/>
                </a:cubicBezTo>
                <a:cubicBezTo>
                  <a:pt x="1807" y="309"/>
                  <a:pt x="1799" y="286"/>
                  <a:pt x="1799" y="258"/>
                </a:cubicBezTo>
                <a:cubicBezTo>
                  <a:pt x="1799" y="230"/>
                  <a:pt x="1807" y="206"/>
                  <a:pt x="1822" y="188"/>
                </a:cubicBezTo>
                <a:cubicBezTo>
                  <a:pt x="1837" y="170"/>
                  <a:pt x="1860" y="162"/>
                  <a:pt x="1885" y="162"/>
                </a:cubicBezTo>
                <a:cubicBezTo>
                  <a:pt x="1902" y="162"/>
                  <a:pt x="1916" y="166"/>
                  <a:pt x="1928" y="175"/>
                </a:cubicBezTo>
                <a:cubicBezTo>
                  <a:pt x="1941" y="184"/>
                  <a:pt x="1949" y="197"/>
                  <a:pt x="1954" y="213"/>
                </a:cubicBezTo>
                <a:cubicBezTo>
                  <a:pt x="1955" y="215"/>
                  <a:pt x="1957" y="219"/>
                  <a:pt x="1964" y="219"/>
                </a:cubicBezTo>
                <a:cubicBezTo>
                  <a:pt x="1996" y="219"/>
                  <a:pt x="1996" y="219"/>
                  <a:pt x="1996" y="219"/>
                </a:cubicBezTo>
                <a:cubicBezTo>
                  <a:pt x="1999" y="219"/>
                  <a:pt x="2002" y="217"/>
                  <a:pt x="2002" y="213"/>
                </a:cubicBezTo>
                <a:cubicBezTo>
                  <a:pt x="2002" y="211"/>
                  <a:pt x="2002" y="209"/>
                  <a:pt x="2001" y="207"/>
                </a:cubicBezTo>
                <a:cubicBezTo>
                  <a:pt x="1994" y="179"/>
                  <a:pt x="1982" y="157"/>
                  <a:pt x="1962" y="141"/>
                </a:cubicBezTo>
                <a:cubicBezTo>
                  <a:pt x="1942" y="125"/>
                  <a:pt x="1916" y="117"/>
                  <a:pt x="1885" y="117"/>
                </a:cubicBezTo>
                <a:cubicBezTo>
                  <a:pt x="1845" y="117"/>
                  <a:pt x="1812" y="130"/>
                  <a:pt x="1788" y="157"/>
                </a:cubicBezTo>
                <a:cubicBezTo>
                  <a:pt x="1765" y="183"/>
                  <a:pt x="1753" y="217"/>
                  <a:pt x="1753" y="258"/>
                </a:cubicBezTo>
                <a:cubicBezTo>
                  <a:pt x="1753" y="299"/>
                  <a:pt x="1765" y="333"/>
                  <a:pt x="1789" y="360"/>
                </a:cubicBezTo>
                <a:cubicBezTo>
                  <a:pt x="1812" y="386"/>
                  <a:pt x="1845" y="400"/>
                  <a:pt x="1885" y="400"/>
                </a:cubicBezTo>
                <a:cubicBezTo>
                  <a:pt x="1916" y="400"/>
                  <a:pt x="1942" y="392"/>
                  <a:pt x="1962" y="376"/>
                </a:cubicBezTo>
                <a:cubicBezTo>
                  <a:pt x="1982" y="360"/>
                  <a:pt x="1995" y="337"/>
                  <a:pt x="2003" y="309"/>
                </a:cubicBezTo>
                <a:cubicBezTo>
                  <a:pt x="2003" y="307"/>
                  <a:pt x="2003" y="305"/>
                  <a:pt x="2003" y="303"/>
                </a:cubicBezTo>
                <a:cubicBezTo>
                  <a:pt x="2003" y="300"/>
                  <a:pt x="2002" y="297"/>
                  <a:pt x="1997" y="297"/>
                </a:cubicBezTo>
                <a:moveTo>
                  <a:pt x="0" y="389"/>
                </a:moveTo>
                <a:cubicBezTo>
                  <a:pt x="0" y="354"/>
                  <a:pt x="0" y="354"/>
                  <a:pt x="0" y="354"/>
                </a:cubicBezTo>
                <a:cubicBezTo>
                  <a:pt x="0" y="351"/>
                  <a:pt x="2" y="349"/>
                  <a:pt x="6" y="349"/>
                </a:cubicBezTo>
                <a:cubicBezTo>
                  <a:pt x="78" y="349"/>
                  <a:pt x="78" y="349"/>
                  <a:pt x="78" y="349"/>
                </a:cubicBezTo>
                <a:cubicBezTo>
                  <a:pt x="78" y="167"/>
                  <a:pt x="78" y="167"/>
                  <a:pt x="78" y="167"/>
                </a:cubicBezTo>
                <a:cubicBezTo>
                  <a:pt x="19" y="167"/>
                  <a:pt x="19" y="167"/>
                  <a:pt x="19" y="167"/>
                </a:cubicBezTo>
                <a:cubicBezTo>
                  <a:pt x="16" y="167"/>
                  <a:pt x="14" y="165"/>
                  <a:pt x="14" y="162"/>
                </a:cubicBezTo>
                <a:cubicBezTo>
                  <a:pt x="14" y="126"/>
                  <a:pt x="14" y="126"/>
                  <a:pt x="14" y="126"/>
                </a:cubicBezTo>
                <a:cubicBezTo>
                  <a:pt x="14" y="122"/>
                  <a:pt x="16" y="121"/>
                  <a:pt x="19" y="121"/>
                </a:cubicBezTo>
                <a:cubicBezTo>
                  <a:pt x="119" y="121"/>
                  <a:pt x="119" y="121"/>
                  <a:pt x="119" y="121"/>
                </a:cubicBezTo>
                <a:cubicBezTo>
                  <a:pt x="122" y="121"/>
                  <a:pt x="124" y="122"/>
                  <a:pt x="125" y="126"/>
                </a:cubicBezTo>
                <a:cubicBezTo>
                  <a:pt x="125" y="349"/>
                  <a:pt x="125" y="349"/>
                  <a:pt x="125" y="349"/>
                </a:cubicBezTo>
                <a:cubicBezTo>
                  <a:pt x="206" y="349"/>
                  <a:pt x="206" y="349"/>
                  <a:pt x="206" y="349"/>
                </a:cubicBezTo>
                <a:cubicBezTo>
                  <a:pt x="209" y="349"/>
                  <a:pt x="211" y="351"/>
                  <a:pt x="211" y="354"/>
                </a:cubicBezTo>
                <a:cubicBezTo>
                  <a:pt x="211" y="389"/>
                  <a:pt x="211" y="389"/>
                  <a:pt x="211" y="389"/>
                </a:cubicBezTo>
                <a:cubicBezTo>
                  <a:pt x="211" y="393"/>
                  <a:pt x="210" y="395"/>
                  <a:pt x="206" y="395"/>
                </a:cubicBezTo>
                <a:cubicBezTo>
                  <a:pt x="6" y="395"/>
                  <a:pt x="6" y="395"/>
                  <a:pt x="6" y="395"/>
                </a:cubicBezTo>
                <a:cubicBezTo>
                  <a:pt x="2" y="395"/>
                  <a:pt x="0" y="393"/>
                  <a:pt x="0" y="389"/>
                </a:cubicBezTo>
                <a:moveTo>
                  <a:pt x="493" y="227"/>
                </a:moveTo>
                <a:cubicBezTo>
                  <a:pt x="493" y="199"/>
                  <a:pt x="485" y="173"/>
                  <a:pt x="463" y="149"/>
                </a:cubicBezTo>
                <a:cubicBezTo>
                  <a:pt x="444" y="128"/>
                  <a:pt x="411" y="116"/>
                  <a:pt x="381" y="116"/>
                </a:cubicBezTo>
                <a:cubicBezTo>
                  <a:pt x="332" y="116"/>
                  <a:pt x="312" y="150"/>
                  <a:pt x="312" y="150"/>
                </a:cubicBezTo>
                <a:cubicBezTo>
                  <a:pt x="312" y="126"/>
                  <a:pt x="312" y="126"/>
                  <a:pt x="312" y="126"/>
                </a:cubicBezTo>
                <a:cubicBezTo>
                  <a:pt x="312" y="122"/>
                  <a:pt x="311" y="121"/>
                  <a:pt x="307" y="121"/>
                </a:cubicBezTo>
                <a:cubicBezTo>
                  <a:pt x="272" y="121"/>
                  <a:pt x="272" y="121"/>
                  <a:pt x="272" y="121"/>
                </a:cubicBezTo>
                <a:cubicBezTo>
                  <a:pt x="268" y="121"/>
                  <a:pt x="266" y="122"/>
                  <a:pt x="266" y="126"/>
                </a:cubicBezTo>
                <a:cubicBezTo>
                  <a:pt x="266" y="231"/>
                  <a:pt x="266" y="231"/>
                  <a:pt x="266" y="231"/>
                </a:cubicBezTo>
                <a:cubicBezTo>
                  <a:pt x="266" y="235"/>
                  <a:pt x="266" y="238"/>
                  <a:pt x="266" y="242"/>
                </a:cubicBezTo>
                <a:cubicBezTo>
                  <a:pt x="266" y="244"/>
                  <a:pt x="266" y="247"/>
                  <a:pt x="266" y="250"/>
                </a:cubicBezTo>
                <a:cubicBezTo>
                  <a:pt x="266" y="389"/>
                  <a:pt x="266" y="389"/>
                  <a:pt x="266" y="389"/>
                </a:cubicBezTo>
                <a:cubicBezTo>
                  <a:pt x="266" y="393"/>
                  <a:pt x="268" y="395"/>
                  <a:pt x="272" y="395"/>
                </a:cubicBezTo>
                <a:cubicBezTo>
                  <a:pt x="307" y="395"/>
                  <a:pt x="307" y="395"/>
                  <a:pt x="307" y="395"/>
                </a:cubicBezTo>
                <a:cubicBezTo>
                  <a:pt x="311" y="395"/>
                  <a:pt x="312" y="393"/>
                  <a:pt x="312" y="389"/>
                </a:cubicBezTo>
                <a:cubicBezTo>
                  <a:pt x="312" y="251"/>
                  <a:pt x="312" y="251"/>
                  <a:pt x="312" y="251"/>
                </a:cubicBezTo>
                <a:cubicBezTo>
                  <a:pt x="312" y="250"/>
                  <a:pt x="312" y="250"/>
                  <a:pt x="312" y="250"/>
                </a:cubicBezTo>
                <a:cubicBezTo>
                  <a:pt x="312" y="250"/>
                  <a:pt x="312" y="250"/>
                  <a:pt x="312" y="250"/>
                </a:cubicBezTo>
                <a:cubicBezTo>
                  <a:pt x="312" y="243"/>
                  <a:pt x="312" y="241"/>
                  <a:pt x="312" y="236"/>
                </a:cubicBezTo>
                <a:cubicBezTo>
                  <a:pt x="312" y="235"/>
                  <a:pt x="312" y="235"/>
                  <a:pt x="312" y="235"/>
                </a:cubicBezTo>
                <a:cubicBezTo>
                  <a:pt x="312" y="234"/>
                  <a:pt x="312" y="233"/>
                  <a:pt x="312" y="232"/>
                </a:cubicBezTo>
                <a:cubicBezTo>
                  <a:pt x="312" y="232"/>
                  <a:pt x="312" y="231"/>
                  <a:pt x="312" y="231"/>
                </a:cubicBezTo>
                <a:cubicBezTo>
                  <a:pt x="312" y="230"/>
                  <a:pt x="313" y="229"/>
                  <a:pt x="313" y="228"/>
                </a:cubicBezTo>
                <a:cubicBezTo>
                  <a:pt x="313" y="228"/>
                  <a:pt x="313" y="224"/>
                  <a:pt x="313" y="223"/>
                </a:cubicBezTo>
                <a:cubicBezTo>
                  <a:pt x="313" y="222"/>
                  <a:pt x="313" y="222"/>
                  <a:pt x="313" y="221"/>
                </a:cubicBezTo>
                <a:cubicBezTo>
                  <a:pt x="313" y="220"/>
                  <a:pt x="313" y="220"/>
                  <a:pt x="313" y="219"/>
                </a:cubicBezTo>
                <a:cubicBezTo>
                  <a:pt x="313" y="218"/>
                  <a:pt x="313" y="218"/>
                  <a:pt x="313" y="217"/>
                </a:cubicBezTo>
                <a:cubicBezTo>
                  <a:pt x="313" y="216"/>
                  <a:pt x="313" y="216"/>
                  <a:pt x="313" y="215"/>
                </a:cubicBezTo>
                <a:cubicBezTo>
                  <a:pt x="314" y="215"/>
                  <a:pt x="314" y="214"/>
                  <a:pt x="314" y="213"/>
                </a:cubicBezTo>
                <a:cubicBezTo>
                  <a:pt x="314" y="213"/>
                  <a:pt x="314" y="212"/>
                  <a:pt x="314" y="211"/>
                </a:cubicBezTo>
                <a:cubicBezTo>
                  <a:pt x="314" y="211"/>
                  <a:pt x="314" y="210"/>
                  <a:pt x="315" y="210"/>
                </a:cubicBezTo>
                <a:cubicBezTo>
                  <a:pt x="315" y="209"/>
                  <a:pt x="315" y="208"/>
                  <a:pt x="315" y="208"/>
                </a:cubicBezTo>
                <a:cubicBezTo>
                  <a:pt x="315" y="207"/>
                  <a:pt x="315" y="207"/>
                  <a:pt x="316" y="206"/>
                </a:cubicBezTo>
                <a:cubicBezTo>
                  <a:pt x="316" y="205"/>
                  <a:pt x="316" y="205"/>
                  <a:pt x="316" y="204"/>
                </a:cubicBezTo>
                <a:cubicBezTo>
                  <a:pt x="316" y="203"/>
                  <a:pt x="317" y="203"/>
                  <a:pt x="317" y="202"/>
                </a:cubicBezTo>
                <a:cubicBezTo>
                  <a:pt x="317" y="202"/>
                  <a:pt x="317" y="201"/>
                  <a:pt x="318" y="200"/>
                </a:cubicBezTo>
                <a:cubicBezTo>
                  <a:pt x="318" y="200"/>
                  <a:pt x="318" y="199"/>
                  <a:pt x="319" y="199"/>
                </a:cubicBezTo>
                <a:cubicBezTo>
                  <a:pt x="319" y="198"/>
                  <a:pt x="319" y="197"/>
                  <a:pt x="319" y="197"/>
                </a:cubicBezTo>
                <a:cubicBezTo>
                  <a:pt x="320" y="196"/>
                  <a:pt x="320" y="195"/>
                  <a:pt x="321" y="195"/>
                </a:cubicBezTo>
                <a:cubicBezTo>
                  <a:pt x="321" y="194"/>
                  <a:pt x="321" y="194"/>
                  <a:pt x="322" y="193"/>
                </a:cubicBezTo>
                <a:cubicBezTo>
                  <a:pt x="322" y="192"/>
                  <a:pt x="323" y="192"/>
                  <a:pt x="323" y="191"/>
                </a:cubicBezTo>
                <a:cubicBezTo>
                  <a:pt x="323" y="190"/>
                  <a:pt x="324" y="190"/>
                  <a:pt x="324" y="189"/>
                </a:cubicBezTo>
                <a:cubicBezTo>
                  <a:pt x="325" y="188"/>
                  <a:pt x="326" y="187"/>
                  <a:pt x="327" y="186"/>
                </a:cubicBezTo>
                <a:cubicBezTo>
                  <a:pt x="342" y="168"/>
                  <a:pt x="360" y="162"/>
                  <a:pt x="380" y="162"/>
                </a:cubicBezTo>
                <a:cubicBezTo>
                  <a:pt x="398" y="162"/>
                  <a:pt x="416" y="169"/>
                  <a:pt x="427" y="180"/>
                </a:cubicBezTo>
                <a:cubicBezTo>
                  <a:pt x="439" y="192"/>
                  <a:pt x="447" y="210"/>
                  <a:pt x="447" y="229"/>
                </a:cubicBezTo>
                <a:cubicBezTo>
                  <a:pt x="447" y="254"/>
                  <a:pt x="447" y="254"/>
                  <a:pt x="447" y="254"/>
                </a:cubicBezTo>
                <a:cubicBezTo>
                  <a:pt x="447" y="389"/>
                  <a:pt x="447" y="389"/>
                  <a:pt x="447" y="389"/>
                </a:cubicBezTo>
                <a:cubicBezTo>
                  <a:pt x="447" y="393"/>
                  <a:pt x="449" y="395"/>
                  <a:pt x="453" y="395"/>
                </a:cubicBezTo>
                <a:cubicBezTo>
                  <a:pt x="488" y="395"/>
                  <a:pt x="488" y="395"/>
                  <a:pt x="488" y="395"/>
                </a:cubicBezTo>
                <a:cubicBezTo>
                  <a:pt x="492" y="395"/>
                  <a:pt x="493" y="393"/>
                  <a:pt x="493" y="389"/>
                </a:cubicBezTo>
                <a:cubicBezTo>
                  <a:pt x="493" y="254"/>
                  <a:pt x="493" y="254"/>
                  <a:pt x="493" y="254"/>
                </a:cubicBezTo>
                <a:cubicBezTo>
                  <a:pt x="493" y="228"/>
                  <a:pt x="493" y="228"/>
                  <a:pt x="493" y="228"/>
                </a:cubicBezTo>
                <a:cubicBezTo>
                  <a:pt x="493" y="227"/>
                  <a:pt x="493" y="227"/>
                  <a:pt x="493" y="227"/>
                </a:cubicBezTo>
                <a:close/>
                <a:moveTo>
                  <a:pt x="105" y="0"/>
                </a:moveTo>
                <a:cubicBezTo>
                  <a:pt x="84" y="0"/>
                  <a:pt x="67" y="17"/>
                  <a:pt x="67" y="38"/>
                </a:cubicBezTo>
                <a:cubicBezTo>
                  <a:pt x="67" y="58"/>
                  <a:pt x="84" y="75"/>
                  <a:pt x="105" y="75"/>
                </a:cubicBezTo>
                <a:cubicBezTo>
                  <a:pt x="125" y="75"/>
                  <a:pt x="142" y="58"/>
                  <a:pt x="142" y="38"/>
                </a:cubicBezTo>
                <a:cubicBezTo>
                  <a:pt x="142" y="17"/>
                  <a:pt x="125" y="0"/>
                  <a:pt x="105" y="0"/>
                </a:cubicBezTo>
                <a:moveTo>
                  <a:pt x="1386" y="179"/>
                </a:moveTo>
                <a:cubicBezTo>
                  <a:pt x="1390" y="177"/>
                  <a:pt x="1391" y="173"/>
                  <a:pt x="1389" y="169"/>
                </a:cubicBezTo>
                <a:cubicBezTo>
                  <a:pt x="1385" y="162"/>
                  <a:pt x="1380" y="156"/>
                  <a:pt x="1374" y="149"/>
                </a:cubicBezTo>
                <a:cubicBezTo>
                  <a:pt x="1355" y="128"/>
                  <a:pt x="1322" y="116"/>
                  <a:pt x="1292" y="116"/>
                </a:cubicBezTo>
                <a:cubicBezTo>
                  <a:pt x="1243" y="116"/>
                  <a:pt x="1223" y="150"/>
                  <a:pt x="1223" y="150"/>
                </a:cubicBezTo>
                <a:cubicBezTo>
                  <a:pt x="1223" y="126"/>
                  <a:pt x="1223" y="126"/>
                  <a:pt x="1223" y="126"/>
                </a:cubicBezTo>
                <a:cubicBezTo>
                  <a:pt x="1223" y="123"/>
                  <a:pt x="1221" y="121"/>
                  <a:pt x="1218" y="121"/>
                </a:cubicBezTo>
                <a:cubicBezTo>
                  <a:pt x="1183" y="121"/>
                  <a:pt x="1183" y="121"/>
                  <a:pt x="1183" y="121"/>
                </a:cubicBezTo>
                <a:cubicBezTo>
                  <a:pt x="1179" y="121"/>
                  <a:pt x="1177" y="122"/>
                  <a:pt x="1177" y="126"/>
                </a:cubicBezTo>
                <a:cubicBezTo>
                  <a:pt x="1177" y="231"/>
                  <a:pt x="1177" y="231"/>
                  <a:pt x="1177" y="231"/>
                </a:cubicBezTo>
                <a:cubicBezTo>
                  <a:pt x="1177" y="235"/>
                  <a:pt x="1177" y="238"/>
                  <a:pt x="1177" y="242"/>
                </a:cubicBezTo>
                <a:cubicBezTo>
                  <a:pt x="1177" y="244"/>
                  <a:pt x="1177" y="247"/>
                  <a:pt x="1177" y="250"/>
                </a:cubicBezTo>
                <a:cubicBezTo>
                  <a:pt x="1177" y="389"/>
                  <a:pt x="1177" y="389"/>
                  <a:pt x="1177" y="389"/>
                </a:cubicBezTo>
                <a:cubicBezTo>
                  <a:pt x="1177" y="393"/>
                  <a:pt x="1179" y="395"/>
                  <a:pt x="1183" y="395"/>
                </a:cubicBezTo>
                <a:cubicBezTo>
                  <a:pt x="1218" y="395"/>
                  <a:pt x="1218" y="395"/>
                  <a:pt x="1218" y="395"/>
                </a:cubicBezTo>
                <a:cubicBezTo>
                  <a:pt x="1221" y="395"/>
                  <a:pt x="1223" y="392"/>
                  <a:pt x="1223" y="389"/>
                </a:cubicBezTo>
                <a:cubicBezTo>
                  <a:pt x="1223" y="251"/>
                  <a:pt x="1223" y="251"/>
                  <a:pt x="1223" y="251"/>
                </a:cubicBezTo>
                <a:cubicBezTo>
                  <a:pt x="1223" y="250"/>
                  <a:pt x="1223" y="250"/>
                  <a:pt x="1223" y="250"/>
                </a:cubicBezTo>
                <a:cubicBezTo>
                  <a:pt x="1223" y="250"/>
                  <a:pt x="1223" y="250"/>
                  <a:pt x="1223" y="250"/>
                </a:cubicBezTo>
                <a:cubicBezTo>
                  <a:pt x="1223" y="243"/>
                  <a:pt x="1223" y="241"/>
                  <a:pt x="1223" y="236"/>
                </a:cubicBezTo>
                <a:cubicBezTo>
                  <a:pt x="1223" y="236"/>
                  <a:pt x="1223" y="235"/>
                  <a:pt x="1223" y="235"/>
                </a:cubicBezTo>
                <a:cubicBezTo>
                  <a:pt x="1223" y="234"/>
                  <a:pt x="1223" y="233"/>
                  <a:pt x="1223" y="232"/>
                </a:cubicBezTo>
                <a:cubicBezTo>
                  <a:pt x="1223" y="232"/>
                  <a:pt x="1223" y="231"/>
                  <a:pt x="1223" y="231"/>
                </a:cubicBezTo>
                <a:cubicBezTo>
                  <a:pt x="1223" y="230"/>
                  <a:pt x="1223" y="229"/>
                  <a:pt x="1224" y="228"/>
                </a:cubicBezTo>
                <a:cubicBezTo>
                  <a:pt x="1224" y="228"/>
                  <a:pt x="1224" y="224"/>
                  <a:pt x="1224" y="223"/>
                </a:cubicBezTo>
                <a:cubicBezTo>
                  <a:pt x="1224" y="222"/>
                  <a:pt x="1224" y="222"/>
                  <a:pt x="1224" y="221"/>
                </a:cubicBezTo>
                <a:cubicBezTo>
                  <a:pt x="1224" y="220"/>
                  <a:pt x="1224" y="220"/>
                  <a:pt x="1224" y="219"/>
                </a:cubicBezTo>
                <a:cubicBezTo>
                  <a:pt x="1224" y="218"/>
                  <a:pt x="1224" y="218"/>
                  <a:pt x="1224" y="217"/>
                </a:cubicBezTo>
                <a:cubicBezTo>
                  <a:pt x="1224" y="216"/>
                  <a:pt x="1224" y="216"/>
                  <a:pt x="1224" y="215"/>
                </a:cubicBezTo>
                <a:cubicBezTo>
                  <a:pt x="1225" y="215"/>
                  <a:pt x="1225" y="214"/>
                  <a:pt x="1225" y="213"/>
                </a:cubicBezTo>
                <a:cubicBezTo>
                  <a:pt x="1225" y="213"/>
                  <a:pt x="1225" y="212"/>
                  <a:pt x="1225" y="211"/>
                </a:cubicBezTo>
                <a:cubicBezTo>
                  <a:pt x="1225" y="211"/>
                  <a:pt x="1225" y="210"/>
                  <a:pt x="1226" y="210"/>
                </a:cubicBezTo>
                <a:cubicBezTo>
                  <a:pt x="1226" y="209"/>
                  <a:pt x="1226" y="208"/>
                  <a:pt x="1226" y="208"/>
                </a:cubicBezTo>
                <a:cubicBezTo>
                  <a:pt x="1226" y="207"/>
                  <a:pt x="1226" y="207"/>
                  <a:pt x="1227" y="206"/>
                </a:cubicBezTo>
                <a:cubicBezTo>
                  <a:pt x="1227" y="205"/>
                  <a:pt x="1227" y="205"/>
                  <a:pt x="1227" y="204"/>
                </a:cubicBezTo>
                <a:cubicBezTo>
                  <a:pt x="1227" y="203"/>
                  <a:pt x="1228" y="203"/>
                  <a:pt x="1228" y="202"/>
                </a:cubicBezTo>
                <a:cubicBezTo>
                  <a:pt x="1228" y="202"/>
                  <a:pt x="1228" y="201"/>
                  <a:pt x="1229" y="200"/>
                </a:cubicBezTo>
                <a:cubicBezTo>
                  <a:pt x="1229" y="200"/>
                  <a:pt x="1229" y="199"/>
                  <a:pt x="1230" y="199"/>
                </a:cubicBezTo>
                <a:cubicBezTo>
                  <a:pt x="1230" y="198"/>
                  <a:pt x="1230" y="197"/>
                  <a:pt x="1230" y="197"/>
                </a:cubicBezTo>
                <a:cubicBezTo>
                  <a:pt x="1231" y="196"/>
                  <a:pt x="1231" y="195"/>
                  <a:pt x="1232" y="195"/>
                </a:cubicBezTo>
                <a:cubicBezTo>
                  <a:pt x="1232" y="194"/>
                  <a:pt x="1232" y="194"/>
                  <a:pt x="1232" y="193"/>
                </a:cubicBezTo>
                <a:cubicBezTo>
                  <a:pt x="1233" y="192"/>
                  <a:pt x="1233" y="192"/>
                  <a:pt x="1234" y="191"/>
                </a:cubicBezTo>
                <a:cubicBezTo>
                  <a:pt x="1234" y="190"/>
                  <a:pt x="1235" y="190"/>
                  <a:pt x="1235" y="189"/>
                </a:cubicBezTo>
                <a:cubicBezTo>
                  <a:pt x="1236" y="188"/>
                  <a:pt x="1237" y="187"/>
                  <a:pt x="1238" y="186"/>
                </a:cubicBezTo>
                <a:cubicBezTo>
                  <a:pt x="1253" y="168"/>
                  <a:pt x="1271" y="162"/>
                  <a:pt x="1291" y="162"/>
                </a:cubicBezTo>
                <a:cubicBezTo>
                  <a:pt x="1308" y="162"/>
                  <a:pt x="1328" y="169"/>
                  <a:pt x="1338" y="180"/>
                </a:cubicBezTo>
                <a:cubicBezTo>
                  <a:pt x="1341" y="184"/>
                  <a:pt x="1345" y="188"/>
                  <a:pt x="1348" y="192"/>
                </a:cubicBezTo>
                <a:cubicBezTo>
                  <a:pt x="1350" y="196"/>
                  <a:pt x="1354" y="197"/>
                  <a:pt x="1357" y="195"/>
                </a:cubicBezTo>
                <a:lnTo>
                  <a:pt x="1386" y="179"/>
                </a:lnTo>
                <a:close/>
                <a:moveTo>
                  <a:pt x="1106" y="268"/>
                </a:moveTo>
                <a:cubicBezTo>
                  <a:pt x="1109" y="268"/>
                  <a:pt x="1112" y="265"/>
                  <a:pt x="1112" y="262"/>
                </a:cubicBezTo>
                <a:cubicBezTo>
                  <a:pt x="1112" y="256"/>
                  <a:pt x="1112" y="249"/>
                  <a:pt x="1112" y="246"/>
                </a:cubicBezTo>
                <a:cubicBezTo>
                  <a:pt x="1107" y="184"/>
                  <a:pt x="1065" y="133"/>
                  <a:pt x="1010" y="120"/>
                </a:cubicBezTo>
                <a:cubicBezTo>
                  <a:pt x="1006" y="119"/>
                  <a:pt x="1002" y="122"/>
                  <a:pt x="1002" y="126"/>
                </a:cubicBezTo>
                <a:cubicBezTo>
                  <a:pt x="1002" y="164"/>
                  <a:pt x="1002" y="164"/>
                  <a:pt x="1002" y="164"/>
                </a:cubicBezTo>
                <a:cubicBezTo>
                  <a:pt x="1002" y="166"/>
                  <a:pt x="1004" y="169"/>
                  <a:pt x="1006" y="170"/>
                </a:cubicBezTo>
                <a:cubicBezTo>
                  <a:pt x="1032" y="179"/>
                  <a:pt x="1053" y="201"/>
                  <a:pt x="1062" y="229"/>
                </a:cubicBezTo>
                <a:cubicBezTo>
                  <a:pt x="900" y="229"/>
                  <a:pt x="900" y="229"/>
                  <a:pt x="900" y="229"/>
                </a:cubicBezTo>
                <a:cubicBezTo>
                  <a:pt x="909" y="201"/>
                  <a:pt x="930" y="179"/>
                  <a:pt x="956" y="170"/>
                </a:cubicBezTo>
                <a:cubicBezTo>
                  <a:pt x="958" y="169"/>
                  <a:pt x="960" y="166"/>
                  <a:pt x="960" y="164"/>
                </a:cubicBezTo>
                <a:cubicBezTo>
                  <a:pt x="960" y="126"/>
                  <a:pt x="960" y="126"/>
                  <a:pt x="960" y="126"/>
                </a:cubicBezTo>
                <a:cubicBezTo>
                  <a:pt x="960" y="122"/>
                  <a:pt x="956" y="119"/>
                  <a:pt x="952" y="120"/>
                </a:cubicBezTo>
                <a:cubicBezTo>
                  <a:pt x="893" y="134"/>
                  <a:pt x="850" y="191"/>
                  <a:pt x="850" y="258"/>
                </a:cubicBezTo>
                <a:cubicBezTo>
                  <a:pt x="850" y="337"/>
                  <a:pt x="908" y="400"/>
                  <a:pt x="981" y="400"/>
                </a:cubicBezTo>
                <a:cubicBezTo>
                  <a:pt x="1032" y="400"/>
                  <a:pt x="1076" y="369"/>
                  <a:pt x="1098" y="322"/>
                </a:cubicBezTo>
                <a:cubicBezTo>
                  <a:pt x="1100" y="318"/>
                  <a:pt x="1097" y="313"/>
                  <a:pt x="1092" y="313"/>
                </a:cubicBezTo>
                <a:cubicBezTo>
                  <a:pt x="1055" y="313"/>
                  <a:pt x="1055" y="313"/>
                  <a:pt x="1055" y="313"/>
                </a:cubicBezTo>
                <a:cubicBezTo>
                  <a:pt x="1053" y="313"/>
                  <a:pt x="1051" y="314"/>
                  <a:pt x="1049" y="316"/>
                </a:cubicBezTo>
                <a:cubicBezTo>
                  <a:pt x="1034" y="339"/>
                  <a:pt x="1009" y="354"/>
                  <a:pt x="981" y="354"/>
                </a:cubicBezTo>
                <a:cubicBezTo>
                  <a:pt x="936" y="354"/>
                  <a:pt x="900" y="316"/>
                  <a:pt x="896" y="268"/>
                </a:cubicBezTo>
                <a:cubicBezTo>
                  <a:pt x="1066" y="268"/>
                  <a:pt x="1066" y="268"/>
                  <a:pt x="1066" y="268"/>
                </a:cubicBezTo>
                <a:cubicBezTo>
                  <a:pt x="1066" y="268"/>
                  <a:pt x="1066" y="268"/>
                  <a:pt x="1066" y="268"/>
                </a:cubicBezTo>
                <a:lnTo>
                  <a:pt x="1106" y="268"/>
                </a:lnTo>
                <a:close/>
                <a:moveTo>
                  <a:pt x="1692" y="232"/>
                </a:moveTo>
                <a:cubicBezTo>
                  <a:pt x="1692" y="126"/>
                  <a:pt x="1692" y="126"/>
                  <a:pt x="1692" y="126"/>
                </a:cubicBezTo>
                <a:cubicBezTo>
                  <a:pt x="1692" y="123"/>
                  <a:pt x="1690" y="121"/>
                  <a:pt x="1686" y="121"/>
                </a:cubicBezTo>
                <a:cubicBezTo>
                  <a:pt x="1651" y="121"/>
                  <a:pt x="1651" y="121"/>
                  <a:pt x="1651" y="121"/>
                </a:cubicBezTo>
                <a:cubicBezTo>
                  <a:pt x="1648" y="121"/>
                  <a:pt x="1646" y="123"/>
                  <a:pt x="1646" y="126"/>
                </a:cubicBezTo>
                <a:cubicBezTo>
                  <a:pt x="1646" y="149"/>
                  <a:pt x="1646" y="149"/>
                  <a:pt x="1646" y="149"/>
                </a:cubicBezTo>
                <a:cubicBezTo>
                  <a:pt x="1628" y="133"/>
                  <a:pt x="1607" y="121"/>
                  <a:pt x="1583" y="116"/>
                </a:cubicBezTo>
                <a:cubicBezTo>
                  <a:pt x="1580" y="115"/>
                  <a:pt x="1578" y="117"/>
                  <a:pt x="1578" y="120"/>
                </a:cubicBezTo>
                <a:cubicBezTo>
                  <a:pt x="1578" y="161"/>
                  <a:pt x="1578" y="161"/>
                  <a:pt x="1578" y="161"/>
                </a:cubicBezTo>
                <a:cubicBezTo>
                  <a:pt x="1578" y="163"/>
                  <a:pt x="1579" y="165"/>
                  <a:pt x="1581" y="165"/>
                </a:cubicBezTo>
                <a:cubicBezTo>
                  <a:pt x="1619" y="176"/>
                  <a:pt x="1648" y="213"/>
                  <a:pt x="1648" y="258"/>
                </a:cubicBezTo>
                <a:cubicBezTo>
                  <a:pt x="1648" y="311"/>
                  <a:pt x="1608" y="354"/>
                  <a:pt x="1558" y="354"/>
                </a:cubicBezTo>
                <a:cubicBezTo>
                  <a:pt x="1509" y="354"/>
                  <a:pt x="1469" y="311"/>
                  <a:pt x="1469" y="258"/>
                </a:cubicBezTo>
                <a:cubicBezTo>
                  <a:pt x="1469" y="214"/>
                  <a:pt x="1496" y="178"/>
                  <a:pt x="1533" y="166"/>
                </a:cubicBezTo>
                <a:cubicBezTo>
                  <a:pt x="1535" y="165"/>
                  <a:pt x="1536" y="164"/>
                  <a:pt x="1536" y="162"/>
                </a:cubicBezTo>
                <a:cubicBezTo>
                  <a:pt x="1536" y="120"/>
                  <a:pt x="1536" y="120"/>
                  <a:pt x="1536" y="120"/>
                </a:cubicBezTo>
                <a:cubicBezTo>
                  <a:pt x="1536" y="117"/>
                  <a:pt x="1534" y="115"/>
                  <a:pt x="1531" y="116"/>
                </a:cubicBezTo>
                <a:cubicBezTo>
                  <a:pt x="1469" y="128"/>
                  <a:pt x="1422" y="187"/>
                  <a:pt x="1422" y="257"/>
                </a:cubicBezTo>
                <a:cubicBezTo>
                  <a:pt x="1422" y="336"/>
                  <a:pt x="1482" y="400"/>
                  <a:pt x="1557" y="400"/>
                </a:cubicBezTo>
                <a:cubicBezTo>
                  <a:pt x="1591" y="400"/>
                  <a:pt x="1622" y="386"/>
                  <a:pt x="1646" y="364"/>
                </a:cubicBezTo>
                <a:cubicBezTo>
                  <a:pt x="1646" y="390"/>
                  <a:pt x="1646" y="390"/>
                  <a:pt x="1646" y="390"/>
                </a:cubicBezTo>
                <a:cubicBezTo>
                  <a:pt x="1646" y="393"/>
                  <a:pt x="1648" y="395"/>
                  <a:pt x="1651" y="395"/>
                </a:cubicBezTo>
                <a:cubicBezTo>
                  <a:pt x="1686" y="395"/>
                  <a:pt x="1686" y="395"/>
                  <a:pt x="1686" y="395"/>
                </a:cubicBezTo>
                <a:cubicBezTo>
                  <a:pt x="1690" y="395"/>
                  <a:pt x="1692" y="393"/>
                  <a:pt x="1692" y="390"/>
                </a:cubicBezTo>
                <a:cubicBezTo>
                  <a:pt x="1692" y="250"/>
                  <a:pt x="1692" y="250"/>
                  <a:pt x="1692" y="250"/>
                </a:cubicBezTo>
                <a:cubicBezTo>
                  <a:pt x="1692" y="247"/>
                  <a:pt x="1692" y="245"/>
                  <a:pt x="1692" y="242"/>
                </a:cubicBezTo>
                <a:cubicBezTo>
                  <a:pt x="1692" y="239"/>
                  <a:pt x="1692" y="235"/>
                  <a:pt x="1692" y="232"/>
                </a:cubicBezTo>
              </a:path>
            </a:pathLst>
          </a:custGeom>
          <a:solidFill>
            <a:srgbClr val="FF37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588170937"/>
      </p:ext>
    </p:extLst>
  </p:cSld>
  <p:clrMapOvr>
    <a:masterClrMapping/>
  </p:clrMapOvr>
  <p:transition>
    <p:fade/>
  </p:transition>
  <p:extLst>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p:cSld name="Full bleed photo small overlay righ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6486757-F9A3-4F23-8717-59ECFD7A8981}"/>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2" name="Object 1" hidden="1">
                        <a:extLst>
                          <a:ext uri="{FF2B5EF4-FFF2-40B4-BE49-F238E27FC236}">
                            <a16:creationId xmlns:a16="http://schemas.microsoft.com/office/drawing/2014/main" id="{16486757-F9A3-4F23-8717-59ECFD7A8981}"/>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4" name="Picture Placeholder 3"/>
          <p:cNvSpPr>
            <a:spLocks noGrp="1"/>
          </p:cNvSpPr>
          <p:nvPr>
            <p:ph type="pic" sz="quarter" idx="14"/>
          </p:nvPr>
        </p:nvSpPr>
        <p:spPr>
          <a:xfrm>
            <a:off x="0" y="0"/>
            <a:ext cx="12192000" cy="6858000"/>
          </a:xfrm>
          <a:prstGeom prst="rect">
            <a:avLst/>
          </a:prstGeom>
          <a:solidFill>
            <a:schemeClr val="bg1">
              <a:lumMod val="85000"/>
            </a:schemeClr>
          </a:solidFill>
        </p:spPr>
        <p:txBody>
          <a:bodyPr/>
          <a:lstStyle>
            <a:lvl1pPr marL="0" indent="0">
              <a:buNone/>
              <a:defRPr sz="1333"/>
            </a:lvl1pPr>
          </a:lstStyle>
          <a:p>
            <a:r>
              <a:rPr lang="en-US" noProof="0"/>
              <a:t>Click icon to add picture</a:t>
            </a:r>
            <a:endParaRPr lang="en-US" noProof="0" dirty="0"/>
          </a:p>
        </p:txBody>
      </p:sp>
      <p:sp>
        <p:nvSpPr>
          <p:cNvPr id="5" name="Text Placeholder 2"/>
          <p:cNvSpPr>
            <a:spLocks noGrp="1"/>
          </p:cNvSpPr>
          <p:nvPr>
            <p:ph type="body" sz="quarter" idx="16" hasCustomPrompt="1"/>
          </p:nvPr>
        </p:nvSpPr>
        <p:spPr bwMode="gray">
          <a:xfrm>
            <a:off x="6841017" y="998220"/>
            <a:ext cx="4680000" cy="2628000"/>
          </a:xfrm>
          <a:prstGeom prst="rect">
            <a:avLst/>
          </a:prstGeom>
          <a:solidFill>
            <a:srgbClr val="004D79">
              <a:alpha val="90000"/>
            </a:srgbClr>
          </a:solidFill>
        </p:spPr>
        <p:txBody>
          <a:bodyPr lIns="134955" tIns="134955" rIns="134955" bIns="134955"/>
          <a:lstStyle>
            <a:lvl1pPr marL="0" indent="0" algn="l">
              <a:lnSpc>
                <a:spcPct val="100000"/>
              </a:lnSpc>
              <a:spcBef>
                <a:spcPts val="0"/>
              </a:spcBef>
              <a:buClr>
                <a:schemeClr val="bg1"/>
              </a:buClr>
              <a:buFont typeface="Arial" panose="020B0604020202020204" pitchFamily="34" charset="0"/>
              <a:buNone/>
              <a:defRPr sz="4800" baseline="0">
                <a:solidFill>
                  <a:schemeClr val="bg1"/>
                </a:solidFill>
                <a:latin typeface="+mj-lt"/>
              </a:defRPr>
            </a:lvl1pPr>
          </a:lstStyle>
          <a:p>
            <a:pPr lvl="0"/>
            <a:r>
              <a:rPr lang="en-US" noProof="0" dirty="0"/>
              <a:t>Click to add text</a:t>
            </a:r>
          </a:p>
        </p:txBody>
      </p:sp>
      <p:sp>
        <p:nvSpPr>
          <p:cNvPr id="6" name="Text Placeholder 9">
            <a:extLst>
              <a:ext uri="{FF2B5EF4-FFF2-40B4-BE49-F238E27FC236}">
                <a16:creationId xmlns:a16="http://schemas.microsoft.com/office/drawing/2014/main" id="{B6A7725E-E42D-449C-A552-89E34F170F7C}"/>
              </a:ext>
            </a:extLst>
          </p:cNvPr>
          <p:cNvSpPr>
            <a:spLocks noGrp="1"/>
          </p:cNvSpPr>
          <p:nvPr>
            <p:ph type="body" sz="quarter" idx="22" hasCustomPrompt="1"/>
          </p:nvPr>
        </p:nvSpPr>
        <p:spPr>
          <a:xfrm>
            <a:off x="11041019" y="288001"/>
            <a:ext cx="480000" cy="609729"/>
          </a:xfrm>
          <a:blipFill dpi="0" rotWithShape="1">
            <a:blip r:embed="rId5" cstate="email">
              <a:alphaModFix amt="90000"/>
              <a:extLst>
                <a:ext uri="{28A0092B-C50C-407E-A947-70E740481C1C}">
                  <a14:useLocalDpi xmlns:a14="http://schemas.microsoft.com/office/drawing/2010/main"/>
                </a:ext>
              </a:extLst>
            </a:blip>
            <a:srcRect/>
            <a:stretch>
              <a:fillRect/>
            </a:stretch>
          </a:blipFill>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423540602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Management review – 3 rows top box">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750CE0E-F179-458C-AEB1-36BDA9AF422C}"/>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9" name="Object 8" hidden="1">
                        <a:extLst>
                          <a:ext uri="{FF2B5EF4-FFF2-40B4-BE49-F238E27FC236}">
                            <a16:creationId xmlns:a16="http://schemas.microsoft.com/office/drawing/2014/main" id="{D750CE0E-F179-458C-AEB1-36BDA9AF422C}"/>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FE540E8-853F-49F5-AAA0-593FDDFCB4F6}"/>
              </a:ext>
            </a:extLst>
          </p:cNvPr>
          <p:cNvSpPr/>
          <p:nvPr>
            <p:custDataLst>
              <p:tags r:id="rId2"/>
            </p:custDataLst>
          </p:nvPr>
        </p:nvSpPr>
        <p:spPr>
          <a:xfrm>
            <a:off x="0" y="0"/>
            <a:ext cx="211667"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133"/>
              </a:lnSpc>
              <a:spcBef>
                <a:spcPct val="0"/>
              </a:spcBef>
              <a:spcAft>
                <a:spcPct val="0"/>
              </a:spcAft>
            </a:pPr>
            <a:endParaRPr lang="en-US" sz="2133" b="0" i="0" baseline="0" dirty="0">
              <a:latin typeface="Calibri Light" panose="020F0302020204030204" pitchFamily="34" charset="0"/>
              <a:ea typeface="+mj-ea"/>
              <a:cs typeface="+mj-cs"/>
              <a:sym typeface="Calibri Light" panose="020F0302020204030204" pitchFamily="34" charset="0"/>
            </a:endParaRPr>
          </a:p>
        </p:txBody>
      </p:sp>
      <p:sp>
        <p:nvSpPr>
          <p:cNvPr id="16" name="Titel 4"/>
          <p:cNvSpPr>
            <a:spLocks noGrp="1"/>
          </p:cNvSpPr>
          <p:nvPr>
            <p:ph type="title" hasCustomPrompt="1"/>
          </p:nvPr>
        </p:nvSpPr>
        <p:spPr>
          <a:xfrm>
            <a:off x="3373123" y="52207"/>
            <a:ext cx="6988539" cy="787200"/>
          </a:xfrm>
        </p:spPr>
        <p:txBody>
          <a:bodyPr/>
          <a:lstStyle>
            <a:lvl1pPr algn="l">
              <a:lnSpc>
                <a:spcPts val="2133"/>
              </a:lnSpc>
              <a:defRPr sz="2133"/>
            </a:lvl1pPr>
          </a:lstStyle>
          <a:p>
            <a:r>
              <a:rPr lang="en-US" dirty="0"/>
              <a:t>Click to add text</a:t>
            </a:r>
          </a:p>
        </p:txBody>
      </p:sp>
      <p:sp>
        <p:nvSpPr>
          <p:cNvPr id="10" name="Text Placeholder 2">
            <a:extLst>
              <a:ext uri="{FF2B5EF4-FFF2-40B4-BE49-F238E27FC236}">
                <a16:creationId xmlns:a16="http://schemas.microsoft.com/office/drawing/2014/main" id="{64C2BE2D-951F-4D2E-A248-5E79BA206EF8}"/>
              </a:ext>
            </a:extLst>
          </p:cNvPr>
          <p:cNvSpPr>
            <a:spLocks noGrp="1"/>
          </p:cNvSpPr>
          <p:nvPr>
            <p:ph type="body" sz="quarter" idx="18" hasCustomPrompt="1"/>
          </p:nvPr>
        </p:nvSpPr>
        <p:spPr>
          <a:xfrm>
            <a:off x="125941" y="471161"/>
            <a:ext cx="3133256" cy="172800"/>
          </a:xfrm>
          <a:prstGeom prst="rect">
            <a:avLst/>
          </a:prstGeom>
          <a:ln>
            <a:noFill/>
          </a:ln>
        </p:spPr>
        <p:txBody>
          <a:bodyPr lIns="0" tIns="0" rIns="0" bIns="0" anchor="ctr">
            <a:noAutofit/>
          </a:bodyPr>
          <a:lstStyle>
            <a:lvl1pPr marL="0" indent="0" algn="l">
              <a:lnSpc>
                <a:spcPct val="100000"/>
              </a:lnSpc>
              <a:spcBef>
                <a:spcPts val="0"/>
              </a:spcBef>
              <a:buFontTx/>
              <a:buNone/>
              <a:defRPr sz="1067" b="0" baseline="0">
                <a:solidFill>
                  <a:schemeClr val="tx1"/>
                </a:solidFill>
              </a:defRPr>
            </a:lvl1pPr>
          </a:lstStyle>
          <a:p>
            <a:r>
              <a:rPr lang="en-US" dirty="0"/>
              <a:t>Time period, data scenario</a:t>
            </a:r>
          </a:p>
        </p:txBody>
      </p:sp>
      <p:sp>
        <p:nvSpPr>
          <p:cNvPr id="11" name="Text Placeholder 2">
            <a:extLst>
              <a:ext uri="{FF2B5EF4-FFF2-40B4-BE49-F238E27FC236}">
                <a16:creationId xmlns:a16="http://schemas.microsoft.com/office/drawing/2014/main" id="{1441B2E9-68F4-4A38-9D55-0A1864391805}"/>
              </a:ext>
            </a:extLst>
          </p:cNvPr>
          <p:cNvSpPr>
            <a:spLocks noGrp="1"/>
          </p:cNvSpPr>
          <p:nvPr>
            <p:ph type="body" sz="quarter" idx="24" hasCustomPrompt="1"/>
          </p:nvPr>
        </p:nvSpPr>
        <p:spPr>
          <a:xfrm>
            <a:off x="125941" y="52207"/>
            <a:ext cx="3133256" cy="172800"/>
          </a:xfrm>
          <a:prstGeom prst="rect">
            <a:avLst/>
          </a:prstGeom>
          <a:ln>
            <a:noFill/>
          </a:ln>
        </p:spPr>
        <p:txBody>
          <a:bodyPr lIns="0" tIns="0" rIns="0" bIns="0" anchor="ctr">
            <a:noAutofit/>
          </a:bodyPr>
          <a:lstStyle>
            <a:lvl1pPr marL="0" indent="0" algn="l">
              <a:lnSpc>
                <a:spcPct val="100000"/>
              </a:lnSpc>
              <a:spcBef>
                <a:spcPts val="0"/>
              </a:spcBef>
              <a:buFontTx/>
              <a:buNone/>
              <a:defRPr sz="1067" b="0" baseline="0">
                <a:solidFill>
                  <a:schemeClr val="tx1"/>
                </a:solidFill>
              </a:defRPr>
            </a:lvl1pPr>
          </a:lstStyle>
          <a:p>
            <a:r>
              <a:rPr lang="en-US" dirty="0"/>
              <a:t>Reporting entity</a:t>
            </a:r>
          </a:p>
        </p:txBody>
      </p:sp>
      <p:sp>
        <p:nvSpPr>
          <p:cNvPr id="12" name="Text Placeholder 2">
            <a:extLst>
              <a:ext uri="{FF2B5EF4-FFF2-40B4-BE49-F238E27FC236}">
                <a16:creationId xmlns:a16="http://schemas.microsoft.com/office/drawing/2014/main" id="{6058F3F5-669F-4BEE-968A-F64356A6CDA8}"/>
              </a:ext>
            </a:extLst>
          </p:cNvPr>
          <p:cNvSpPr>
            <a:spLocks noGrp="1"/>
          </p:cNvSpPr>
          <p:nvPr>
            <p:ph type="body" sz="quarter" idx="25" hasCustomPrompt="1"/>
          </p:nvPr>
        </p:nvSpPr>
        <p:spPr>
          <a:xfrm>
            <a:off x="125941" y="261684"/>
            <a:ext cx="3133256" cy="172800"/>
          </a:xfrm>
          <a:prstGeom prst="rect">
            <a:avLst/>
          </a:prstGeom>
          <a:ln>
            <a:noFill/>
          </a:ln>
        </p:spPr>
        <p:txBody>
          <a:bodyPr lIns="0" tIns="0" rIns="0" bIns="0" anchor="ctr">
            <a:noAutofit/>
          </a:bodyPr>
          <a:lstStyle>
            <a:lvl1pPr marL="0" indent="0" algn="l">
              <a:lnSpc>
                <a:spcPct val="100000"/>
              </a:lnSpc>
              <a:spcBef>
                <a:spcPts val="0"/>
              </a:spcBef>
              <a:buFontTx/>
              <a:buNone/>
              <a:defRPr sz="1067" b="1" baseline="0">
                <a:solidFill>
                  <a:schemeClr val="tx1"/>
                </a:solidFill>
              </a:defRPr>
            </a:lvl1pPr>
          </a:lstStyle>
          <a:p>
            <a:r>
              <a:rPr lang="en-US" dirty="0"/>
              <a:t>Content, unit measurement</a:t>
            </a:r>
          </a:p>
        </p:txBody>
      </p:sp>
      <p:sp>
        <p:nvSpPr>
          <p:cNvPr id="2" name="Date Placeholder 1">
            <a:extLst>
              <a:ext uri="{FF2B5EF4-FFF2-40B4-BE49-F238E27FC236}">
                <a16:creationId xmlns:a16="http://schemas.microsoft.com/office/drawing/2014/main" id="{47762C03-275A-4B1F-B234-561444D869D2}"/>
              </a:ext>
            </a:extLst>
          </p:cNvPr>
          <p:cNvSpPr>
            <a:spLocks noGrp="1"/>
          </p:cNvSpPr>
          <p:nvPr>
            <p:ph type="dt" sz="half" idx="26"/>
          </p:nvPr>
        </p:nvSpPr>
        <p:spPr/>
        <p:txBody>
          <a:bodyPr/>
          <a:lstStyle/>
          <a:p>
            <a:endParaRPr lang="en-IN" dirty="0"/>
          </a:p>
        </p:txBody>
      </p:sp>
      <p:sp>
        <p:nvSpPr>
          <p:cNvPr id="4" name="Footer Placeholder 3">
            <a:extLst>
              <a:ext uri="{FF2B5EF4-FFF2-40B4-BE49-F238E27FC236}">
                <a16:creationId xmlns:a16="http://schemas.microsoft.com/office/drawing/2014/main" id="{FA9E35EF-ADB2-4164-B32F-9BDCE33D2151}"/>
              </a:ext>
            </a:extLst>
          </p:cNvPr>
          <p:cNvSpPr>
            <a:spLocks noGrp="1"/>
          </p:cNvSpPr>
          <p:nvPr>
            <p:ph type="ftr" sz="quarter" idx="27"/>
          </p:nvPr>
        </p:nvSpPr>
        <p:spPr/>
        <p:txBody>
          <a:bodyPr/>
          <a:lstStyle/>
          <a:p>
            <a:endParaRPr lang="en-IN" dirty="0"/>
          </a:p>
        </p:txBody>
      </p:sp>
      <p:sp>
        <p:nvSpPr>
          <p:cNvPr id="6" name="Slide Number Placeholder 5">
            <a:extLst>
              <a:ext uri="{FF2B5EF4-FFF2-40B4-BE49-F238E27FC236}">
                <a16:creationId xmlns:a16="http://schemas.microsoft.com/office/drawing/2014/main" id="{0B25F407-F7B2-457F-BADC-5D7E348202A6}"/>
              </a:ext>
            </a:extLst>
          </p:cNvPr>
          <p:cNvSpPr>
            <a:spLocks noGrp="1"/>
          </p:cNvSpPr>
          <p:nvPr>
            <p:ph type="sldNum" sz="quarter" idx="28"/>
          </p:nvPr>
        </p:nvSpPr>
        <p:spPr/>
        <p:txBody>
          <a:bodyPr/>
          <a:lstStyle/>
          <a:p>
            <a:fld id="{A5163908-529D-4A49-892F-D37C4044DFD8}" type="slidenum">
              <a:rPr lang="en-IN" smtClean="0"/>
              <a:pPr/>
              <a:t>‹#›</a:t>
            </a:fld>
            <a:endParaRPr lang="en-IN"/>
          </a:p>
        </p:txBody>
      </p:sp>
      <p:cxnSp>
        <p:nvCxnSpPr>
          <p:cNvPr id="13" name="Straight Connector 17">
            <a:extLst>
              <a:ext uri="{FF2B5EF4-FFF2-40B4-BE49-F238E27FC236}">
                <a16:creationId xmlns:a16="http://schemas.microsoft.com/office/drawing/2014/main" id="{C4A983AC-6F9B-471B-87E8-D4505A31FE4E}"/>
              </a:ext>
            </a:extLst>
          </p:cNvPr>
          <p:cNvCxnSpPr/>
          <p:nvPr>
            <p:custDataLst>
              <p:tags r:id="rId3"/>
            </p:custDataLst>
          </p:nvPr>
        </p:nvCxnSpPr>
        <p:spPr>
          <a:xfrm>
            <a:off x="0" y="1190047"/>
            <a:ext cx="12192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AEA0FB69-E866-4F1C-87F8-ADA6A511DB1B}"/>
              </a:ext>
            </a:extLst>
          </p:cNvPr>
          <p:cNvSpPr>
            <a:spLocks noGrp="1"/>
          </p:cNvSpPr>
          <p:nvPr>
            <p:ph type="body" sz="quarter" idx="29"/>
          </p:nvPr>
        </p:nvSpPr>
        <p:spPr>
          <a:xfrm>
            <a:off x="125942" y="1264357"/>
            <a:ext cx="11940119" cy="5034844"/>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57314069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Management review – 4 rows top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AB418BD-1930-49DC-9A84-017861466996}"/>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4AB418BD-1930-49DC-9A84-017861466996}"/>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894897C-9089-4E46-A4DC-D9375AE2C972}"/>
              </a:ext>
            </a:extLst>
          </p:cNvPr>
          <p:cNvSpPr/>
          <p:nvPr>
            <p:custDataLst>
              <p:tags r:id="rId2"/>
            </p:custDataLst>
          </p:nvPr>
        </p:nvSpPr>
        <p:spPr>
          <a:xfrm>
            <a:off x="0" y="0"/>
            <a:ext cx="211667"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133"/>
              </a:lnSpc>
              <a:spcBef>
                <a:spcPct val="0"/>
              </a:spcBef>
              <a:spcAft>
                <a:spcPct val="0"/>
              </a:spcAft>
            </a:pPr>
            <a:endParaRPr lang="en-US" sz="2133" b="0" i="0" baseline="0" dirty="0">
              <a:latin typeface="Calibri Light" panose="020F0302020204030204" pitchFamily="34" charset="0"/>
              <a:ea typeface="+mj-ea"/>
              <a:cs typeface="+mj-cs"/>
              <a:sym typeface="Calibri Light" panose="020F0302020204030204" pitchFamily="34" charset="0"/>
            </a:endParaRPr>
          </a:p>
        </p:txBody>
      </p:sp>
      <p:sp>
        <p:nvSpPr>
          <p:cNvPr id="22" name="Text Placeholder 2"/>
          <p:cNvSpPr>
            <a:spLocks noGrp="1"/>
          </p:cNvSpPr>
          <p:nvPr>
            <p:ph type="body" sz="quarter" idx="18" hasCustomPrompt="1"/>
          </p:nvPr>
        </p:nvSpPr>
        <p:spPr>
          <a:xfrm>
            <a:off x="125941" y="471161"/>
            <a:ext cx="3133256" cy="172800"/>
          </a:xfrm>
          <a:prstGeom prst="rect">
            <a:avLst/>
          </a:prstGeom>
          <a:ln>
            <a:noFill/>
          </a:ln>
        </p:spPr>
        <p:txBody>
          <a:bodyPr lIns="0" tIns="0" rIns="0" bIns="0" anchor="ctr">
            <a:noAutofit/>
          </a:bodyPr>
          <a:lstStyle>
            <a:lvl1pPr marL="0" indent="0" algn="l">
              <a:lnSpc>
                <a:spcPct val="100000"/>
              </a:lnSpc>
              <a:spcBef>
                <a:spcPts val="0"/>
              </a:spcBef>
              <a:buFontTx/>
              <a:buNone/>
              <a:defRPr sz="1067" b="0" baseline="0">
                <a:solidFill>
                  <a:schemeClr val="tx1"/>
                </a:solidFill>
              </a:defRPr>
            </a:lvl1pPr>
          </a:lstStyle>
          <a:p>
            <a:r>
              <a:rPr lang="en-US" dirty="0"/>
              <a:t>Unit of measurement</a:t>
            </a:r>
          </a:p>
        </p:txBody>
      </p:sp>
      <p:sp>
        <p:nvSpPr>
          <p:cNvPr id="23" name="Text Placeholder 2"/>
          <p:cNvSpPr>
            <a:spLocks noGrp="1"/>
          </p:cNvSpPr>
          <p:nvPr>
            <p:ph type="body" sz="quarter" idx="19" hasCustomPrompt="1"/>
          </p:nvPr>
        </p:nvSpPr>
        <p:spPr>
          <a:xfrm>
            <a:off x="125941" y="680640"/>
            <a:ext cx="3133256" cy="172800"/>
          </a:xfrm>
          <a:prstGeom prst="rect">
            <a:avLst/>
          </a:prstGeom>
          <a:ln>
            <a:noFill/>
          </a:ln>
        </p:spPr>
        <p:txBody>
          <a:bodyPr lIns="0" tIns="0" rIns="0" bIns="0" anchor="ctr">
            <a:noAutofit/>
          </a:bodyPr>
          <a:lstStyle>
            <a:lvl1pPr marL="0" indent="0" algn="l">
              <a:lnSpc>
                <a:spcPct val="100000"/>
              </a:lnSpc>
              <a:spcBef>
                <a:spcPts val="0"/>
              </a:spcBef>
              <a:buFontTx/>
              <a:buNone/>
              <a:defRPr sz="1067" b="0" baseline="0">
                <a:solidFill>
                  <a:schemeClr val="tx1"/>
                </a:solidFill>
              </a:defRPr>
            </a:lvl1pPr>
          </a:lstStyle>
          <a:p>
            <a:r>
              <a:rPr lang="en-US" dirty="0"/>
              <a:t>Period, data scenario</a:t>
            </a:r>
          </a:p>
        </p:txBody>
      </p:sp>
      <p:sp>
        <p:nvSpPr>
          <p:cNvPr id="15" name="Text Placeholder 2"/>
          <p:cNvSpPr>
            <a:spLocks noGrp="1"/>
          </p:cNvSpPr>
          <p:nvPr>
            <p:ph type="body" sz="quarter" idx="21" hasCustomPrompt="1"/>
          </p:nvPr>
        </p:nvSpPr>
        <p:spPr>
          <a:xfrm>
            <a:off x="125941" y="52207"/>
            <a:ext cx="3133256" cy="172800"/>
          </a:xfrm>
          <a:prstGeom prst="rect">
            <a:avLst/>
          </a:prstGeom>
          <a:ln>
            <a:noFill/>
          </a:ln>
        </p:spPr>
        <p:txBody>
          <a:bodyPr lIns="0" tIns="0" rIns="0" bIns="0" anchor="ctr">
            <a:noAutofit/>
          </a:bodyPr>
          <a:lstStyle>
            <a:lvl1pPr marL="0" indent="0" algn="l">
              <a:lnSpc>
                <a:spcPct val="100000"/>
              </a:lnSpc>
              <a:spcBef>
                <a:spcPts val="0"/>
              </a:spcBef>
              <a:buFontTx/>
              <a:buNone/>
              <a:defRPr sz="1067" b="0" baseline="0">
                <a:solidFill>
                  <a:schemeClr val="tx1"/>
                </a:solidFill>
              </a:defRPr>
            </a:lvl1pPr>
          </a:lstStyle>
          <a:p>
            <a:r>
              <a:rPr lang="en-US" dirty="0"/>
              <a:t>Reporting entity</a:t>
            </a:r>
          </a:p>
        </p:txBody>
      </p:sp>
      <p:sp>
        <p:nvSpPr>
          <p:cNvPr id="18" name="Text Placeholder 2"/>
          <p:cNvSpPr>
            <a:spLocks noGrp="1"/>
          </p:cNvSpPr>
          <p:nvPr>
            <p:ph type="body" sz="quarter" idx="22" hasCustomPrompt="1"/>
          </p:nvPr>
        </p:nvSpPr>
        <p:spPr>
          <a:xfrm>
            <a:off x="125941" y="261684"/>
            <a:ext cx="3133256" cy="172800"/>
          </a:xfrm>
          <a:prstGeom prst="rect">
            <a:avLst/>
          </a:prstGeom>
          <a:ln>
            <a:noFill/>
          </a:ln>
        </p:spPr>
        <p:txBody>
          <a:bodyPr lIns="0" tIns="0" rIns="0" bIns="0" anchor="ctr">
            <a:noAutofit/>
          </a:bodyPr>
          <a:lstStyle>
            <a:lvl1pPr marL="0" indent="0" algn="l">
              <a:lnSpc>
                <a:spcPct val="100000"/>
              </a:lnSpc>
              <a:spcBef>
                <a:spcPts val="0"/>
              </a:spcBef>
              <a:buFontTx/>
              <a:buNone/>
              <a:defRPr sz="1067" b="1" baseline="0">
                <a:solidFill>
                  <a:schemeClr val="tx1"/>
                </a:solidFill>
              </a:defRPr>
            </a:lvl1pPr>
          </a:lstStyle>
          <a:p>
            <a:r>
              <a:rPr lang="en-US" dirty="0" err="1"/>
              <a:t>P&amp;L</a:t>
            </a:r>
            <a:r>
              <a:rPr lang="en-US" dirty="0"/>
              <a:t> detail per business</a:t>
            </a:r>
          </a:p>
        </p:txBody>
      </p:sp>
      <p:sp>
        <p:nvSpPr>
          <p:cNvPr id="24" name="Titel 4"/>
          <p:cNvSpPr>
            <a:spLocks noGrp="1"/>
          </p:cNvSpPr>
          <p:nvPr>
            <p:ph type="title" hasCustomPrompt="1"/>
          </p:nvPr>
        </p:nvSpPr>
        <p:spPr>
          <a:xfrm>
            <a:off x="3373123" y="52207"/>
            <a:ext cx="6988539" cy="787200"/>
          </a:xfrm>
        </p:spPr>
        <p:txBody>
          <a:bodyPr/>
          <a:lstStyle>
            <a:lvl1pPr algn="l">
              <a:lnSpc>
                <a:spcPts val="2133"/>
              </a:lnSpc>
              <a:defRPr sz="2133"/>
            </a:lvl1pPr>
          </a:lstStyle>
          <a:p>
            <a:r>
              <a:rPr lang="en-US" dirty="0"/>
              <a:t>Click to add text</a:t>
            </a:r>
          </a:p>
        </p:txBody>
      </p:sp>
      <p:sp>
        <p:nvSpPr>
          <p:cNvPr id="5" name="Date Placeholder 4">
            <a:extLst>
              <a:ext uri="{FF2B5EF4-FFF2-40B4-BE49-F238E27FC236}">
                <a16:creationId xmlns:a16="http://schemas.microsoft.com/office/drawing/2014/main" id="{B55C9809-688D-4100-A0FE-DB6EB41BC208}"/>
              </a:ext>
            </a:extLst>
          </p:cNvPr>
          <p:cNvSpPr>
            <a:spLocks noGrp="1"/>
          </p:cNvSpPr>
          <p:nvPr>
            <p:ph type="dt" sz="half" idx="24"/>
          </p:nvPr>
        </p:nvSpPr>
        <p:spPr/>
        <p:txBody>
          <a:bodyPr/>
          <a:lstStyle/>
          <a:p>
            <a:endParaRPr lang="en-IN" dirty="0"/>
          </a:p>
        </p:txBody>
      </p:sp>
      <p:sp>
        <p:nvSpPr>
          <p:cNvPr id="7" name="Footer Placeholder 6">
            <a:extLst>
              <a:ext uri="{FF2B5EF4-FFF2-40B4-BE49-F238E27FC236}">
                <a16:creationId xmlns:a16="http://schemas.microsoft.com/office/drawing/2014/main" id="{CF164E04-503E-48E0-8056-F4A846A8D609}"/>
              </a:ext>
            </a:extLst>
          </p:cNvPr>
          <p:cNvSpPr>
            <a:spLocks noGrp="1"/>
          </p:cNvSpPr>
          <p:nvPr>
            <p:ph type="ftr" sz="quarter" idx="25"/>
          </p:nvPr>
        </p:nvSpPr>
        <p:spPr/>
        <p:txBody>
          <a:bodyPr/>
          <a:lstStyle/>
          <a:p>
            <a:endParaRPr lang="en-IN" dirty="0"/>
          </a:p>
        </p:txBody>
      </p:sp>
      <p:sp>
        <p:nvSpPr>
          <p:cNvPr id="8" name="Slide Number Placeholder 7">
            <a:extLst>
              <a:ext uri="{FF2B5EF4-FFF2-40B4-BE49-F238E27FC236}">
                <a16:creationId xmlns:a16="http://schemas.microsoft.com/office/drawing/2014/main" id="{A3E3274A-0D5B-4B5E-963A-4AD0C038490E}"/>
              </a:ext>
            </a:extLst>
          </p:cNvPr>
          <p:cNvSpPr>
            <a:spLocks noGrp="1"/>
          </p:cNvSpPr>
          <p:nvPr>
            <p:ph type="sldNum" sz="quarter" idx="26"/>
          </p:nvPr>
        </p:nvSpPr>
        <p:spPr/>
        <p:txBody>
          <a:bodyPr/>
          <a:lstStyle/>
          <a:p>
            <a:fld id="{A5163908-529D-4A49-892F-D37C4044DFD8}" type="slidenum">
              <a:rPr lang="en-IN" smtClean="0"/>
              <a:pPr/>
              <a:t>‹#›</a:t>
            </a:fld>
            <a:endParaRPr lang="en-IN"/>
          </a:p>
        </p:txBody>
      </p:sp>
      <p:cxnSp>
        <p:nvCxnSpPr>
          <p:cNvPr id="14" name="Straight Connector 17">
            <a:extLst>
              <a:ext uri="{FF2B5EF4-FFF2-40B4-BE49-F238E27FC236}">
                <a16:creationId xmlns:a16="http://schemas.microsoft.com/office/drawing/2014/main" id="{073504F8-A36C-4A96-9962-DBD59D731B7C}"/>
              </a:ext>
            </a:extLst>
          </p:cNvPr>
          <p:cNvCxnSpPr/>
          <p:nvPr>
            <p:custDataLst>
              <p:tags r:id="rId3"/>
            </p:custDataLst>
          </p:nvPr>
        </p:nvCxnSpPr>
        <p:spPr>
          <a:xfrm>
            <a:off x="0" y="1190047"/>
            <a:ext cx="12192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197E0385-9465-469B-9CA7-ABB0EB4E4852}"/>
              </a:ext>
            </a:extLst>
          </p:cNvPr>
          <p:cNvSpPr>
            <a:spLocks noGrp="1"/>
          </p:cNvSpPr>
          <p:nvPr>
            <p:ph type="body" sz="quarter" idx="27"/>
          </p:nvPr>
        </p:nvSpPr>
        <p:spPr>
          <a:xfrm>
            <a:off x="125942" y="1264358"/>
            <a:ext cx="11940119" cy="5034844"/>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33472802"/>
      </p:ext>
    </p:extLst>
  </p:cSld>
  <p:clrMapOvr>
    <a:masterClrMapping/>
  </p:clrMapOvr>
  <p:extLst>
    <p:ext uri="{DCECCB84-F9BA-43D5-87BE-67443E8EF086}">
      <p15:sldGuideLst xmlns:p15="http://schemas.microsoft.com/office/powerpoint/2012/main">
        <p15:guide id="1" pos="84">
          <p15:clr>
            <a:srgbClr val="FBAE40"/>
          </p15:clr>
        </p15:guide>
        <p15:guide id="2" orient="horz" pos="712">
          <p15:clr>
            <a:srgbClr val="FBAE40"/>
          </p15:clr>
        </p15:guide>
        <p15:guide id="3" pos="7596">
          <p15:clr>
            <a:srgbClr val="FBAE40"/>
          </p15:clr>
        </p15:guide>
        <p15:guide id="4" orient="horz" pos="5245">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Management review –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C896B7-FACB-4D7B-A4F4-8CE484CBAD4B}"/>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3" name="Object 2" hidden="1">
                        <a:extLst>
                          <a:ext uri="{FF2B5EF4-FFF2-40B4-BE49-F238E27FC236}">
                            <a16:creationId xmlns:a16="http://schemas.microsoft.com/office/drawing/2014/main" id="{70C896B7-FACB-4D7B-A4F4-8CE484CBAD4B}"/>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ADAA302-4954-4070-845B-E3247AC801CE}"/>
              </a:ext>
            </a:extLst>
          </p:cNvPr>
          <p:cNvSpPr/>
          <p:nvPr>
            <p:custDataLst>
              <p:tags r:id="rId2"/>
            </p:custDataLst>
          </p:nvPr>
        </p:nvSpPr>
        <p:spPr>
          <a:xfrm>
            <a:off x="0" y="0"/>
            <a:ext cx="211667"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133"/>
              </a:lnSpc>
              <a:spcBef>
                <a:spcPct val="0"/>
              </a:spcBef>
              <a:spcAft>
                <a:spcPct val="0"/>
              </a:spcAft>
            </a:pPr>
            <a:endParaRPr lang="en-US" sz="2133" b="0" i="0" baseline="0" dirty="0">
              <a:latin typeface="Calibri Light" panose="020F0302020204030204" pitchFamily="34" charset="0"/>
              <a:ea typeface="+mj-ea"/>
              <a:cs typeface="+mj-cs"/>
              <a:sym typeface="Calibri Light" panose="020F0302020204030204" pitchFamily="34" charset="0"/>
            </a:endParaRPr>
          </a:p>
        </p:txBody>
      </p:sp>
      <p:sp>
        <p:nvSpPr>
          <p:cNvPr id="11" name="Titel 4"/>
          <p:cNvSpPr>
            <a:spLocks noGrp="1"/>
          </p:cNvSpPr>
          <p:nvPr>
            <p:ph type="title" hasCustomPrompt="1"/>
          </p:nvPr>
        </p:nvSpPr>
        <p:spPr>
          <a:xfrm>
            <a:off x="3373123" y="52207"/>
            <a:ext cx="6988539" cy="787200"/>
          </a:xfrm>
        </p:spPr>
        <p:txBody>
          <a:bodyPr/>
          <a:lstStyle>
            <a:lvl1pPr algn="l">
              <a:lnSpc>
                <a:spcPts val="2133"/>
              </a:lnSpc>
              <a:defRPr sz="2133"/>
            </a:lvl1pPr>
          </a:lstStyle>
          <a:p>
            <a:r>
              <a:rPr lang="en-US" dirty="0"/>
              <a:t>Click to add text</a:t>
            </a:r>
          </a:p>
        </p:txBody>
      </p:sp>
      <p:sp>
        <p:nvSpPr>
          <p:cNvPr id="12" name="Text Placeholder 2">
            <a:extLst>
              <a:ext uri="{FF2B5EF4-FFF2-40B4-BE49-F238E27FC236}">
                <a16:creationId xmlns:a16="http://schemas.microsoft.com/office/drawing/2014/main" id="{F913354F-6E59-49EF-93BE-EAF0DC89F631}"/>
              </a:ext>
            </a:extLst>
          </p:cNvPr>
          <p:cNvSpPr>
            <a:spLocks noGrp="1"/>
          </p:cNvSpPr>
          <p:nvPr>
            <p:ph type="body" sz="quarter" idx="18" hasCustomPrompt="1"/>
          </p:nvPr>
        </p:nvSpPr>
        <p:spPr>
          <a:xfrm>
            <a:off x="125941" y="471161"/>
            <a:ext cx="3133256" cy="172800"/>
          </a:xfrm>
          <a:prstGeom prst="rect">
            <a:avLst/>
          </a:prstGeom>
          <a:ln>
            <a:noFill/>
          </a:ln>
        </p:spPr>
        <p:txBody>
          <a:bodyPr lIns="0" tIns="0" rIns="0" bIns="0" anchor="ctr">
            <a:noAutofit/>
          </a:bodyPr>
          <a:lstStyle>
            <a:lvl1pPr marL="0" indent="0" algn="l">
              <a:lnSpc>
                <a:spcPct val="100000"/>
              </a:lnSpc>
              <a:spcBef>
                <a:spcPts val="0"/>
              </a:spcBef>
              <a:buFontTx/>
              <a:buNone/>
              <a:defRPr sz="1067" b="0" baseline="0">
                <a:solidFill>
                  <a:schemeClr val="tx1"/>
                </a:solidFill>
              </a:defRPr>
            </a:lvl1pPr>
          </a:lstStyle>
          <a:p>
            <a:r>
              <a:rPr lang="en-US" dirty="0"/>
              <a:t>Unit of measurement</a:t>
            </a:r>
          </a:p>
        </p:txBody>
      </p:sp>
      <p:sp>
        <p:nvSpPr>
          <p:cNvPr id="14" name="Text Placeholder 2">
            <a:extLst>
              <a:ext uri="{FF2B5EF4-FFF2-40B4-BE49-F238E27FC236}">
                <a16:creationId xmlns:a16="http://schemas.microsoft.com/office/drawing/2014/main" id="{17171BA3-E603-4FDD-B59F-EF9A1D5D5393}"/>
              </a:ext>
            </a:extLst>
          </p:cNvPr>
          <p:cNvSpPr>
            <a:spLocks noGrp="1"/>
          </p:cNvSpPr>
          <p:nvPr>
            <p:ph type="body" sz="quarter" idx="19" hasCustomPrompt="1"/>
          </p:nvPr>
        </p:nvSpPr>
        <p:spPr>
          <a:xfrm>
            <a:off x="125941" y="680640"/>
            <a:ext cx="3133256" cy="172800"/>
          </a:xfrm>
          <a:prstGeom prst="rect">
            <a:avLst/>
          </a:prstGeom>
          <a:ln>
            <a:noFill/>
          </a:ln>
        </p:spPr>
        <p:txBody>
          <a:bodyPr lIns="0" tIns="0" rIns="0" bIns="0" anchor="ctr">
            <a:noAutofit/>
          </a:bodyPr>
          <a:lstStyle>
            <a:lvl1pPr marL="0" indent="0" algn="l">
              <a:lnSpc>
                <a:spcPct val="100000"/>
              </a:lnSpc>
              <a:spcBef>
                <a:spcPts val="0"/>
              </a:spcBef>
              <a:buFontTx/>
              <a:buNone/>
              <a:defRPr sz="1067" b="0" baseline="0">
                <a:solidFill>
                  <a:schemeClr val="tx1"/>
                </a:solidFill>
              </a:defRPr>
            </a:lvl1pPr>
          </a:lstStyle>
          <a:p>
            <a:r>
              <a:rPr lang="en-US" dirty="0"/>
              <a:t>Period, data scenario</a:t>
            </a:r>
          </a:p>
        </p:txBody>
      </p:sp>
      <p:sp>
        <p:nvSpPr>
          <p:cNvPr id="16" name="Text Placeholder 2">
            <a:extLst>
              <a:ext uri="{FF2B5EF4-FFF2-40B4-BE49-F238E27FC236}">
                <a16:creationId xmlns:a16="http://schemas.microsoft.com/office/drawing/2014/main" id="{EFD21293-C0ED-4019-808D-8F22DD7C3701}"/>
              </a:ext>
            </a:extLst>
          </p:cNvPr>
          <p:cNvSpPr>
            <a:spLocks noGrp="1"/>
          </p:cNvSpPr>
          <p:nvPr>
            <p:ph type="body" sz="quarter" idx="21" hasCustomPrompt="1"/>
          </p:nvPr>
        </p:nvSpPr>
        <p:spPr>
          <a:xfrm>
            <a:off x="125941" y="52207"/>
            <a:ext cx="3133256" cy="172800"/>
          </a:xfrm>
          <a:prstGeom prst="rect">
            <a:avLst/>
          </a:prstGeom>
          <a:ln>
            <a:noFill/>
          </a:ln>
        </p:spPr>
        <p:txBody>
          <a:bodyPr lIns="0" tIns="0" rIns="0" bIns="0" anchor="ctr">
            <a:noAutofit/>
          </a:bodyPr>
          <a:lstStyle>
            <a:lvl1pPr marL="0" indent="0" algn="l">
              <a:lnSpc>
                <a:spcPct val="100000"/>
              </a:lnSpc>
              <a:spcBef>
                <a:spcPts val="0"/>
              </a:spcBef>
              <a:buFontTx/>
              <a:buNone/>
              <a:defRPr sz="1067" b="0" baseline="0">
                <a:solidFill>
                  <a:schemeClr val="tx1"/>
                </a:solidFill>
              </a:defRPr>
            </a:lvl1pPr>
          </a:lstStyle>
          <a:p>
            <a:r>
              <a:rPr lang="en-US" dirty="0"/>
              <a:t>Reporting entity</a:t>
            </a:r>
          </a:p>
        </p:txBody>
      </p:sp>
      <p:sp>
        <p:nvSpPr>
          <p:cNvPr id="17" name="Text Placeholder 2">
            <a:extLst>
              <a:ext uri="{FF2B5EF4-FFF2-40B4-BE49-F238E27FC236}">
                <a16:creationId xmlns:a16="http://schemas.microsoft.com/office/drawing/2014/main" id="{9CDAF2D5-0296-4D0F-805B-B7D704579806}"/>
              </a:ext>
            </a:extLst>
          </p:cNvPr>
          <p:cNvSpPr>
            <a:spLocks noGrp="1"/>
          </p:cNvSpPr>
          <p:nvPr>
            <p:ph type="body" sz="quarter" idx="22" hasCustomPrompt="1"/>
          </p:nvPr>
        </p:nvSpPr>
        <p:spPr>
          <a:xfrm>
            <a:off x="125941" y="261684"/>
            <a:ext cx="3133256" cy="172800"/>
          </a:xfrm>
          <a:prstGeom prst="rect">
            <a:avLst/>
          </a:prstGeom>
          <a:ln>
            <a:noFill/>
          </a:ln>
        </p:spPr>
        <p:txBody>
          <a:bodyPr lIns="0" tIns="0" rIns="0" bIns="0" anchor="ctr">
            <a:noAutofit/>
          </a:bodyPr>
          <a:lstStyle>
            <a:lvl1pPr marL="0" indent="0" algn="l">
              <a:lnSpc>
                <a:spcPct val="100000"/>
              </a:lnSpc>
              <a:spcBef>
                <a:spcPts val="0"/>
              </a:spcBef>
              <a:buFontTx/>
              <a:buNone/>
              <a:defRPr sz="1067" b="1" baseline="0">
                <a:solidFill>
                  <a:schemeClr val="tx1"/>
                </a:solidFill>
              </a:defRPr>
            </a:lvl1pPr>
          </a:lstStyle>
          <a:p>
            <a:r>
              <a:rPr lang="en-US" dirty="0" err="1"/>
              <a:t>P&amp;L</a:t>
            </a:r>
            <a:r>
              <a:rPr lang="en-US" dirty="0"/>
              <a:t> detail per business</a:t>
            </a:r>
          </a:p>
        </p:txBody>
      </p:sp>
      <p:sp>
        <p:nvSpPr>
          <p:cNvPr id="4" name="Date Placeholder 3">
            <a:extLst>
              <a:ext uri="{FF2B5EF4-FFF2-40B4-BE49-F238E27FC236}">
                <a16:creationId xmlns:a16="http://schemas.microsoft.com/office/drawing/2014/main" id="{2150E6CF-65D4-44D5-BB75-32FC616FF2ED}"/>
              </a:ext>
            </a:extLst>
          </p:cNvPr>
          <p:cNvSpPr>
            <a:spLocks noGrp="1"/>
          </p:cNvSpPr>
          <p:nvPr>
            <p:ph type="dt" sz="half" idx="23"/>
          </p:nvPr>
        </p:nvSpPr>
        <p:spPr/>
        <p:txBody>
          <a:bodyPr/>
          <a:lstStyle/>
          <a:p>
            <a:endParaRPr lang="en-IN" dirty="0"/>
          </a:p>
        </p:txBody>
      </p:sp>
      <p:sp>
        <p:nvSpPr>
          <p:cNvPr id="5" name="Footer Placeholder 4">
            <a:extLst>
              <a:ext uri="{FF2B5EF4-FFF2-40B4-BE49-F238E27FC236}">
                <a16:creationId xmlns:a16="http://schemas.microsoft.com/office/drawing/2014/main" id="{1C3B535E-80AA-4B5F-B505-6AE4D82B2050}"/>
              </a:ext>
            </a:extLst>
          </p:cNvPr>
          <p:cNvSpPr>
            <a:spLocks noGrp="1"/>
          </p:cNvSpPr>
          <p:nvPr>
            <p:ph type="ftr" sz="quarter" idx="24"/>
          </p:nvPr>
        </p:nvSpPr>
        <p:spPr/>
        <p:txBody>
          <a:bodyPr/>
          <a:lstStyle/>
          <a:p>
            <a:endParaRPr lang="en-IN" dirty="0"/>
          </a:p>
        </p:txBody>
      </p:sp>
      <p:sp>
        <p:nvSpPr>
          <p:cNvPr id="6" name="Slide Number Placeholder 5">
            <a:extLst>
              <a:ext uri="{FF2B5EF4-FFF2-40B4-BE49-F238E27FC236}">
                <a16:creationId xmlns:a16="http://schemas.microsoft.com/office/drawing/2014/main" id="{F0779868-A62C-4FF8-88BB-692DFBB3AF38}"/>
              </a:ext>
            </a:extLst>
          </p:cNvPr>
          <p:cNvSpPr>
            <a:spLocks noGrp="1"/>
          </p:cNvSpPr>
          <p:nvPr>
            <p:ph type="sldNum" sz="quarter" idx="25"/>
          </p:nvPr>
        </p:nvSpPr>
        <p:spPr/>
        <p:txBody>
          <a:bodyPr/>
          <a:lstStyle/>
          <a:p>
            <a:fld id="{A5163908-529D-4A49-892F-D37C4044DFD8}" type="slidenum">
              <a:rPr lang="en-IN" smtClean="0"/>
              <a:pPr/>
              <a:t>‹#›</a:t>
            </a:fld>
            <a:endParaRPr lang="en-IN"/>
          </a:p>
        </p:txBody>
      </p:sp>
      <p:cxnSp>
        <p:nvCxnSpPr>
          <p:cNvPr id="13" name="Straight Connector 17">
            <a:extLst>
              <a:ext uri="{FF2B5EF4-FFF2-40B4-BE49-F238E27FC236}">
                <a16:creationId xmlns:a16="http://schemas.microsoft.com/office/drawing/2014/main" id="{8CA4B699-1B76-42B1-970D-8B5F927F5D43}"/>
              </a:ext>
            </a:extLst>
          </p:cNvPr>
          <p:cNvCxnSpPr/>
          <p:nvPr>
            <p:custDataLst>
              <p:tags r:id="rId3"/>
            </p:custDataLst>
          </p:nvPr>
        </p:nvCxnSpPr>
        <p:spPr>
          <a:xfrm>
            <a:off x="0" y="1190047"/>
            <a:ext cx="12192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4575225"/>
      </p:ext>
    </p:extLst>
  </p:cSld>
  <p:clrMapOvr>
    <a:masterClrMapping/>
  </p:clrMapOvr>
  <p:extLst>
    <p:ext uri="{DCECCB84-F9BA-43D5-87BE-67443E8EF086}">
      <p15:sldGuideLst xmlns:p15="http://schemas.microsoft.com/office/powerpoint/2012/main">
        <p15:guide id="1" pos="84">
          <p15:clr>
            <a:srgbClr val="FBAE40"/>
          </p15:clr>
        </p15:guide>
        <p15:guide id="2" pos="7595">
          <p15:clr>
            <a:srgbClr val="FBAE40"/>
          </p15:clr>
        </p15:guide>
        <p15:guide id="3" orient="horz" pos="5245">
          <p15:clr>
            <a:srgbClr val="FBAE40"/>
          </p15:clr>
        </p15:guide>
        <p15:guide id="4" orient="horz" pos="712">
          <p15:clr>
            <a:srgbClr val="FBAE40"/>
          </p15:clr>
        </p15:guide>
        <p15:guide id="5" orient="horz" pos="68">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Management review – no top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147BB81-5ED6-4620-B6AB-9F7CAE2CB6EC}"/>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3" name="Object 2" hidden="1">
                        <a:extLst>
                          <a:ext uri="{FF2B5EF4-FFF2-40B4-BE49-F238E27FC236}">
                            <a16:creationId xmlns:a16="http://schemas.microsoft.com/office/drawing/2014/main" id="{E147BB81-5ED6-4620-B6AB-9F7CAE2CB6EC}"/>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84C154A-EDEF-494B-95FD-05C942808301}"/>
              </a:ext>
            </a:extLst>
          </p:cNvPr>
          <p:cNvSpPr/>
          <p:nvPr>
            <p:custDataLst>
              <p:tags r:id="rId2"/>
            </p:custDataLst>
          </p:nvPr>
        </p:nvSpPr>
        <p:spPr>
          <a:xfrm>
            <a:off x="0" y="0"/>
            <a:ext cx="211667"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133"/>
              </a:lnSpc>
              <a:spcBef>
                <a:spcPct val="0"/>
              </a:spcBef>
              <a:spcAft>
                <a:spcPct val="0"/>
              </a:spcAft>
            </a:pPr>
            <a:endParaRPr lang="en-US" sz="2133" b="0" i="0" baseline="0" dirty="0">
              <a:latin typeface="Calibri Light" panose="020F0302020204030204" pitchFamily="34" charset="0"/>
              <a:ea typeface="+mj-ea"/>
              <a:cs typeface="+mj-cs"/>
              <a:sym typeface="Calibri Light" panose="020F0302020204030204" pitchFamily="34" charset="0"/>
            </a:endParaRPr>
          </a:p>
        </p:txBody>
      </p:sp>
      <p:sp>
        <p:nvSpPr>
          <p:cNvPr id="8" name="Titel 4"/>
          <p:cNvSpPr>
            <a:spLocks noGrp="1"/>
          </p:cNvSpPr>
          <p:nvPr>
            <p:ph type="title" hasCustomPrompt="1"/>
          </p:nvPr>
        </p:nvSpPr>
        <p:spPr>
          <a:xfrm>
            <a:off x="3373123" y="52207"/>
            <a:ext cx="6988539" cy="787200"/>
          </a:xfrm>
        </p:spPr>
        <p:txBody>
          <a:bodyPr/>
          <a:lstStyle>
            <a:lvl1pPr algn="l">
              <a:lnSpc>
                <a:spcPts val="2133"/>
              </a:lnSpc>
              <a:defRPr sz="2133"/>
            </a:lvl1pPr>
          </a:lstStyle>
          <a:p>
            <a:r>
              <a:rPr lang="en-US" dirty="0"/>
              <a:t>Click to add text</a:t>
            </a:r>
          </a:p>
        </p:txBody>
      </p:sp>
      <p:sp>
        <p:nvSpPr>
          <p:cNvPr id="4" name="Date Placeholder 3">
            <a:extLst>
              <a:ext uri="{FF2B5EF4-FFF2-40B4-BE49-F238E27FC236}">
                <a16:creationId xmlns:a16="http://schemas.microsoft.com/office/drawing/2014/main" id="{822B18CF-CA9C-4A69-B7C8-A4C94FF2972C}"/>
              </a:ext>
            </a:extLst>
          </p:cNvPr>
          <p:cNvSpPr>
            <a:spLocks noGrp="1"/>
          </p:cNvSpPr>
          <p:nvPr>
            <p:ph type="dt" sz="half" idx="10"/>
          </p:nvPr>
        </p:nvSpPr>
        <p:spPr/>
        <p:txBody>
          <a:bodyPr/>
          <a:lstStyle/>
          <a:p>
            <a:endParaRPr lang="en-IN" dirty="0"/>
          </a:p>
        </p:txBody>
      </p:sp>
      <p:sp>
        <p:nvSpPr>
          <p:cNvPr id="5" name="Footer Placeholder 4">
            <a:extLst>
              <a:ext uri="{FF2B5EF4-FFF2-40B4-BE49-F238E27FC236}">
                <a16:creationId xmlns:a16="http://schemas.microsoft.com/office/drawing/2014/main" id="{786AD015-F4ED-4FC4-A52C-B985B1A9C982}"/>
              </a:ext>
            </a:extLst>
          </p:cNvPr>
          <p:cNvSpPr>
            <a:spLocks noGrp="1"/>
          </p:cNvSpPr>
          <p:nvPr>
            <p:ph type="ftr" sz="quarter" idx="11"/>
          </p:nvPr>
        </p:nvSpPr>
        <p:spPr/>
        <p:txBody>
          <a:bodyPr/>
          <a:lstStyle/>
          <a:p>
            <a:endParaRPr lang="en-IN" dirty="0"/>
          </a:p>
        </p:txBody>
      </p:sp>
      <p:sp>
        <p:nvSpPr>
          <p:cNvPr id="7" name="Slide Number Placeholder 6">
            <a:extLst>
              <a:ext uri="{FF2B5EF4-FFF2-40B4-BE49-F238E27FC236}">
                <a16:creationId xmlns:a16="http://schemas.microsoft.com/office/drawing/2014/main" id="{88E7AFA2-6720-468E-9F40-2499D9FB7BBE}"/>
              </a:ext>
            </a:extLst>
          </p:cNvPr>
          <p:cNvSpPr>
            <a:spLocks noGrp="1"/>
          </p:cNvSpPr>
          <p:nvPr>
            <p:ph type="sldNum" sz="quarter" idx="12"/>
          </p:nvPr>
        </p:nvSpPr>
        <p:spPr/>
        <p:txBody>
          <a:bodyPr/>
          <a:lstStyle/>
          <a:p>
            <a:fld id="{A5163908-529D-4A49-892F-D37C4044DFD8}" type="slidenum">
              <a:rPr lang="en-IN" smtClean="0"/>
              <a:pPr/>
              <a:t>‹#›</a:t>
            </a:fld>
            <a:endParaRPr lang="en-IN"/>
          </a:p>
        </p:txBody>
      </p:sp>
      <p:cxnSp>
        <p:nvCxnSpPr>
          <p:cNvPr id="9" name="Straight Connector 17">
            <a:extLst>
              <a:ext uri="{FF2B5EF4-FFF2-40B4-BE49-F238E27FC236}">
                <a16:creationId xmlns:a16="http://schemas.microsoft.com/office/drawing/2014/main" id="{50CCBDD5-A078-4F63-AC4E-A4BB95B75007}"/>
              </a:ext>
            </a:extLst>
          </p:cNvPr>
          <p:cNvCxnSpPr/>
          <p:nvPr>
            <p:custDataLst>
              <p:tags r:id="rId3"/>
            </p:custDataLst>
          </p:nvPr>
        </p:nvCxnSpPr>
        <p:spPr>
          <a:xfrm>
            <a:off x="0" y="1190047"/>
            <a:ext cx="12192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5832161"/>
      </p:ext>
    </p:extLst>
  </p:cSld>
  <p:clrMapOvr>
    <a:masterClrMapping/>
  </p:clrMapOvr>
  <p:extLst>
    <p:ext uri="{DCECCB84-F9BA-43D5-87BE-67443E8EF086}">
      <p15:sldGuideLst xmlns:p15="http://schemas.microsoft.com/office/powerpoint/2012/main">
        <p15:guide id="1" pos="84">
          <p15:clr>
            <a:srgbClr val="FBAE40"/>
          </p15:clr>
        </p15:guide>
        <p15:guide id="2" pos="7595">
          <p15:clr>
            <a:srgbClr val="FBAE40"/>
          </p15:clr>
        </p15:guide>
        <p15:guide id="3" orient="horz" pos="5245">
          <p15:clr>
            <a:srgbClr val="FBAE40"/>
          </p15:clr>
        </p15:guide>
        <p15:guide id="4" orient="horz" pos="712">
          <p15:clr>
            <a:srgbClr val="FBAE40"/>
          </p15:clr>
        </p15:guide>
        <p15:guide id="5" orient="horz" pos="68">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Management review – text box r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A73966E-CFE3-49CC-B52A-C5B637544F6F}"/>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3" name="Object 2" hidden="1">
                        <a:extLst>
                          <a:ext uri="{FF2B5EF4-FFF2-40B4-BE49-F238E27FC236}">
                            <a16:creationId xmlns:a16="http://schemas.microsoft.com/office/drawing/2014/main" id="{8A73966E-CFE3-49CC-B52A-C5B637544F6F}"/>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FC3CDD-A9EE-4A29-BDB5-DDD9F2931D29}"/>
              </a:ext>
            </a:extLst>
          </p:cNvPr>
          <p:cNvSpPr/>
          <p:nvPr>
            <p:custDataLst>
              <p:tags r:id="rId2"/>
            </p:custDataLst>
          </p:nvPr>
        </p:nvSpPr>
        <p:spPr>
          <a:xfrm>
            <a:off x="0" y="0"/>
            <a:ext cx="211667"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133"/>
              </a:lnSpc>
              <a:spcBef>
                <a:spcPct val="0"/>
              </a:spcBef>
              <a:spcAft>
                <a:spcPct val="0"/>
              </a:spcAft>
            </a:pPr>
            <a:endParaRPr lang="en-US" sz="2133" b="0" i="0" baseline="0" dirty="0">
              <a:latin typeface="Calibri Light" panose="020F0302020204030204" pitchFamily="34" charset="0"/>
              <a:ea typeface="+mj-ea"/>
              <a:cs typeface="+mj-cs"/>
              <a:sym typeface="Calibri Light" panose="020F0302020204030204" pitchFamily="34" charset="0"/>
            </a:endParaRPr>
          </a:p>
        </p:txBody>
      </p:sp>
      <p:sp>
        <p:nvSpPr>
          <p:cNvPr id="13" name="Titel 4"/>
          <p:cNvSpPr>
            <a:spLocks noGrp="1"/>
          </p:cNvSpPr>
          <p:nvPr>
            <p:ph type="title" hasCustomPrompt="1"/>
          </p:nvPr>
        </p:nvSpPr>
        <p:spPr>
          <a:xfrm>
            <a:off x="3373123" y="52207"/>
            <a:ext cx="6988539" cy="787200"/>
          </a:xfrm>
        </p:spPr>
        <p:txBody>
          <a:bodyPr/>
          <a:lstStyle>
            <a:lvl1pPr algn="l">
              <a:lnSpc>
                <a:spcPts val="2133"/>
              </a:lnSpc>
              <a:defRPr sz="2133"/>
            </a:lvl1pPr>
          </a:lstStyle>
          <a:p>
            <a:r>
              <a:rPr lang="en-US" dirty="0"/>
              <a:t>Click to add text</a:t>
            </a:r>
          </a:p>
        </p:txBody>
      </p:sp>
      <p:sp>
        <p:nvSpPr>
          <p:cNvPr id="12" name="Text Placeholder 2">
            <a:extLst>
              <a:ext uri="{FF2B5EF4-FFF2-40B4-BE49-F238E27FC236}">
                <a16:creationId xmlns:a16="http://schemas.microsoft.com/office/drawing/2014/main" id="{70BB6E0D-3F39-440A-BD9D-79E5F2487608}"/>
              </a:ext>
            </a:extLst>
          </p:cNvPr>
          <p:cNvSpPr>
            <a:spLocks noGrp="1"/>
          </p:cNvSpPr>
          <p:nvPr>
            <p:ph type="body" sz="quarter" idx="18" hasCustomPrompt="1"/>
          </p:nvPr>
        </p:nvSpPr>
        <p:spPr>
          <a:xfrm>
            <a:off x="125941" y="471161"/>
            <a:ext cx="3133256" cy="172800"/>
          </a:xfrm>
          <a:prstGeom prst="rect">
            <a:avLst/>
          </a:prstGeom>
          <a:ln>
            <a:noFill/>
          </a:ln>
        </p:spPr>
        <p:txBody>
          <a:bodyPr lIns="0" tIns="0" rIns="0" bIns="0" anchor="ctr">
            <a:noAutofit/>
          </a:bodyPr>
          <a:lstStyle>
            <a:lvl1pPr marL="0" indent="0" algn="l">
              <a:lnSpc>
                <a:spcPct val="100000"/>
              </a:lnSpc>
              <a:spcBef>
                <a:spcPts val="0"/>
              </a:spcBef>
              <a:buFontTx/>
              <a:buNone/>
              <a:defRPr sz="1067" b="0" baseline="0">
                <a:solidFill>
                  <a:schemeClr val="tx1"/>
                </a:solidFill>
              </a:defRPr>
            </a:lvl1pPr>
          </a:lstStyle>
          <a:p>
            <a:r>
              <a:rPr lang="en-US" dirty="0"/>
              <a:t>Unit of measurement</a:t>
            </a:r>
          </a:p>
        </p:txBody>
      </p:sp>
      <p:sp>
        <p:nvSpPr>
          <p:cNvPr id="14" name="Text Placeholder 2">
            <a:extLst>
              <a:ext uri="{FF2B5EF4-FFF2-40B4-BE49-F238E27FC236}">
                <a16:creationId xmlns:a16="http://schemas.microsoft.com/office/drawing/2014/main" id="{45E28750-0E4B-4D33-9132-AD81766D925F}"/>
              </a:ext>
            </a:extLst>
          </p:cNvPr>
          <p:cNvSpPr>
            <a:spLocks noGrp="1"/>
          </p:cNvSpPr>
          <p:nvPr>
            <p:ph type="body" sz="quarter" idx="19" hasCustomPrompt="1"/>
          </p:nvPr>
        </p:nvSpPr>
        <p:spPr>
          <a:xfrm>
            <a:off x="125941" y="680640"/>
            <a:ext cx="3133256" cy="172800"/>
          </a:xfrm>
          <a:prstGeom prst="rect">
            <a:avLst/>
          </a:prstGeom>
          <a:ln>
            <a:noFill/>
          </a:ln>
        </p:spPr>
        <p:txBody>
          <a:bodyPr lIns="0" tIns="0" rIns="0" bIns="0" anchor="ctr">
            <a:noAutofit/>
          </a:bodyPr>
          <a:lstStyle>
            <a:lvl1pPr marL="0" indent="0" algn="l">
              <a:lnSpc>
                <a:spcPct val="100000"/>
              </a:lnSpc>
              <a:spcBef>
                <a:spcPts val="0"/>
              </a:spcBef>
              <a:buFontTx/>
              <a:buNone/>
              <a:defRPr sz="1067" b="0" baseline="0">
                <a:solidFill>
                  <a:schemeClr val="tx1"/>
                </a:solidFill>
              </a:defRPr>
            </a:lvl1pPr>
          </a:lstStyle>
          <a:p>
            <a:r>
              <a:rPr lang="en-US" dirty="0"/>
              <a:t>Period, data scenario</a:t>
            </a:r>
          </a:p>
        </p:txBody>
      </p:sp>
      <p:sp>
        <p:nvSpPr>
          <p:cNvPr id="17" name="Text Placeholder 2">
            <a:extLst>
              <a:ext uri="{FF2B5EF4-FFF2-40B4-BE49-F238E27FC236}">
                <a16:creationId xmlns:a16="http://schemas.microsoft.com/office/drawing/2014/main" id="{EC5D1072-8A57-4985-9114-7AB80099D9D4}"/>
              </a:ext>
            </a:extLst>
          </p:cNvPr>
          <p:cNvSpPr>
            <a:spLocks noGrp="1"/>
          </p:cNvSpPr>
          <p:nvPr>
            <p:ph type="body" sz="quarter" idx="21" hasCustomPrompt="1"/>
          </p:nvPr>
        </p:nvSpPr>
        <p:spPr>
          <a:xfrm>
            <a:off x="125941" y="52207"/>
            <a:ext cx="3133256" cy="172800"/>
          </a:xfrm>
          <a:prstGeom prst="rect">
            <a:avLst/>
          </a:prstGeom>
          <a:ln>
            <a:noFill/>
          </a:ln>
        </p:spPr>
        <p:txBody>
          <a:bodyPr lIns="0" tIns="0" rIns="0" bIns="0" anchor="ctr">
            <a:noAutofit/>
          </a:bodyPr>
          <a:lstStyle>
            <a:lvl1pPr marL="0" indent="0" algn="l">
              <a:lnSpc>
                <a:spcPct val="100000"/>
              </a:lnSpc>
              <a:spcBef>
                <a:spcPts val="0"/>
              </a:spcBef>
              <a:buFontTx/>
              <a:buNone/>
              <a:defRPr sz="1067" b="0" baseline="0">
                <a:solidFill>
                  <a:schemeClr val="tx1"/>
                </a:solidFill>
              </a:defRPr>
            </a:lvl1pPr>
          </a:lstStyle>
          <a:p>
            <a:r>
              <a:rPr lang="en-US" dirty="0"/>
              <a:t>Reporting entity</a:t>
            </a:r>
          </a:p>
        </p:txBody>
      </p:sp>
      <p:sp>
        <p:nvSpPr>
          <p:cNvPr id="18" name="Text Placeholder 2">
            <a:extLst>
              <a:ext uri="{FF2B5EF4-FFF2-40B4-BE49-F238E27FC236}">
                <a16:creationId xmlns:a16="http://schemas.microsoft.com/office/drawing/2014/main" id="{322D0EE4-A772-43CA-87B6-4AAA26C1682B}"/>
              </a:ext>
            </a:extLst>
          </p:cNvPr>
          <p:cNvSpPr>
            <a:spLocks noGrp="1"/>
          </p:cNvSpPr>
          <p:nvPr>
            <p:ph type="body" sz="quarter" idx="22" hasCustomPrompt="1"/>
          </p:nvPr>
        </p:nvSpPr>
        <p:spPr>
          <a:xfrm>
            <a:off x="125941" y="261684"/>
            <a:ext cx="3133256" cy="172800"/>
          </a:xfrm>
          <a:prstGeom prst="rect">
            <a:avLst/>
          </a:prstGeom>
          <a:ln>
            <a:noFill/>
          </a:ln>
        </p:spPr>
        <p:txBody>
          <a:bodyPr lIns="0" tIns="0" rIns="0" bIns="0" anchor="ctr">
            <a:noAutofit/>
          </a:bodyPr>
          <a:lstStyle>
            <a:lvl1pPr marL="0" indent="0" algn="l">
              <a:lnSpc>
                <a:spcPct val="100000"/>
              </a:lnSpc>
              <a:spcBef>
                <a:spcPts val="0"/>
              </a:spcBef>
              <a:buFontTx/>
              <a:buNone/>
              <a:defRPr sz="1067" b="1" baseline="0">
                <a:solidFill>
                  <a:schemeClr val="tx1"/>
                </a:solidFill>
              </a:defRPr>
            </a:lvl1pPr>
          </a:lstStyle>
          <a:p>
            <a:r>
              <a:rPr lang="en-US" dirty="0" err="1"/>
              <a:t>P&amp;L</a:t>
            </a:r>
            <a:r>
              <a:rPr lang="en-US" dirty="0"/>
              <a:t> detail per business</a:t>
            </a:r>
          </a:p>
        </p:txBody>
      </p:sp>
      <p:sp>
        <p:nvSpPr>
          <p:cNvPr id="4" name="Date Placeholder 3">
            <a:extLst>
              <a:ext uri="{FF2B5EF4-FFF2-40B4-BE49-F238E27FC236}">
                <a16:creationId xmlns:a16="http://schemas.microsoft.com/office/drawing/2014/main" id="{7182124D-0640-4AE6-AECC-F4880DA1C39A}"/>
              </a:ext>
            </a:extLst>
          </p:cNvPr>
          <p:cNvSpPr>
            <a:spLocks noGrp="1"/>
          </p:cNvSpPr>
          <p:nvPr>
            <p:ph type="dt" sz="half" idx="24"/>
          </p:nvPr>
        </p:nvSpPr>
        <p:spPr/>
        <p:txBody>
          <a:bodyPr/>
          <a:lstStyle/>
          <a:p>
            <a:endParaRPr lang="en-IN" dirty="0"/>
          </a:p>
        </p:txBody>
      </p:sp>
      <p:sp>
        <p:nvSpPr>
          <p:cNvPr id="6" name="Footer Placeholder 5">
            <a:extLst>
              <a:ext uri="{FF2B5EF4-FFF2-40B4-BE49-F238E27FC236}">
                <a16:creationId xmlns:a16="http://schemas.microsoft.com/office/drawing/2014/main" id="{2B1E07C9-1AA8-427A-8D3F-F90DA800C51B}"/>
              </a:ext>
            </a:extLst>
          </p:cNvPr>
          <p:cNvSpPr>
            <a:spLocks noGrp="1"/>
          </p:cNvSpPr>
          <p:nvPr>
            <p:ph type="ftr" sz="quarter" idx="25"/>
          </p:nvPr>
        </p:nvSpPr>
        <p:spPr/>
        <p:txBody>
          <a:bodyPr/>
          <a:lstStyle/>
          <a:p>
            <a:endParaRPr lang="en-IN" dirty="0"/>
          </a:p>
        </p:txBody>
      </p:sp>
      <p:sp>
        <p:nvSpPr>
          <p:cNvPr id="7" name="Slide Number Placeholder 6">
            <a:extLst>
              <a:ext uri="{FF2B5EF4-FFF2-40B4-BE49-F238E27FC236}">
                <a16:creationId xmlns:a16="http://schemas.microsoft.com/office/drawing/2014/main" id="{75797C04-425D-49F7-8B2B-D4A178C161E5}"/>
              </a:ext>
            </a:extLst>
          </p:cNvPr>
          <p:cNvSpPr>
            <a:spLocks noGrp="1"/>
          </p:cNvSpPr>
          <p:nvPr>
            <p:ph type="sldNum" sz="quarter" idx="26"/>
          </p:nvPr>
        </p:nvSpPr>
        <p:spPr/>
        <p:txBody>
          <a:bodyPr/>
          <a:lstStyle/>
          <a:p>
            <a:fld id="{A5163908-529D-4A49-892F-D37C4044DFD8}" type="slidenum">
              <a:rPr lang="en-IN" smtClean="0"/>
              <a:pPr/>
              <a:t>‹#›</a:t>
            </a:fld>
            <a:endParaRPr lang="en-IN"/>
          </a:p>
        </p:txBody>
      </p:sp>
      <p:cxnSp>
        <p:nvCxnSpPr>
          <p:cNvPr id="15" name="Straight Connector 17">
            <a:extLst>
              <a:ext uri="{FF2B5EF4-FFF2-40B4-BE49-F238E27FC236}">
                <a16:creationId xmlns:a16="http://schemas.microsoft.com/office/drawing/2014/main" id="{F4A6D036-B440-4848-AD09-10D95A6851EB}"/>
              </a:ext>
            </a:extLst>
          </p:cNvPr>
          <p:cNvCxnSpPr/>
          <p:nvPr>
            <p:custDataLst>
              <p:tags r:id="rId3"/>
            </p:custDataLst>
          </p:nvPr>
        </p:nvCxnSpPr>
        <p:spPr>
          <a:xfrm>
            <a:off x="0" y="1190047"/>
            <a:ext cx="12192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398D6D76-355E-455E-9573-01D135D9D92F}"/>
              </a:ext>
            </a:extLst>
          </p:cNvPr>
          <p:cNvSpPr>
            <a:spLocks noGrp="1"/>
          </p:cNvSpPr>
          <p:nvPr>
            <p:ph type="body" sz="quarter" idx="27"/>
          </p:nvPr>
        </p:nvSpPr>
        <p:spPr>
          <a:xfrm>
            <a:off x="8473815" y="1264358"/>
            <a:ext cx="3592245" cy="5034844"/>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084957041"/>
      </p:ext>
    </p:extLst>
  </p:cSld>
  <p:clrMapOvr>
    <a:masterClrMapping/>
  </p:clrMapOvr>
  <p:extLst>
    <p:ext uri="{DCECCB84-F9BA-43D5-87BE-67443E8EF086}">
      <p15:sldGuideLst xmlns:p15="http://schemas.microsoft.com/office/powerpoint/2012/main">
        <p15:guide id="1" pos="84">
          <p15:clr>
            <a:srgbClr val="FBAE40"/>
          </p15:clr>
        </p15:guide>
        <p15:guide id="2" pos="7595">
          <p15:clr>
            <a:srgbClr val="FBAE40"/>
          </p15:clr>
        </p15:guide>
        <p15:guide id="3" orient="horz" pos="5245">
          <p15:clr>
            <a:srgbClr val="FBAE40"/>
          </p15:clr>
        </p15:guide>
        <p15:guide id="4" orient="horz" pos="712">
          <p15:clr>
            <a:srgbClr val="FBAE40"/>
          </p15:clr>
        </p15:guide>
        <p15:guide id="5" orient="horz" pos="68">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Management review – text box lef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E039C25-38EE-4409-8846-AD3780FDA714}"/>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3" name="Object 2" hidden="1">
                        <a:extLst>
                          <a:ext uri="{FF2B5EF4-FFF2-40B4-BE49-F238E27FC236}">
                            <a16:creationId xmlns:a16="http://schemas.microsoft.com/office/drawing/2014/main" id="{2E039C25-38EE-4409-8846-AD3780FDA714}"/>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831B7F0-8291-45AD-B310-18C6F32CA153}"/>
              </a:ext>
            </a:extLst>
          </p:cNvPr>
          <p:cNvSpPr/>
          <p:nvPr>
            <p:custDataLst>
              <p:tags r:id="rId2"/>
            </p:custDataLst>
          </p:nvPr>
        </p:nvSpPr>
        <p:spPr>
          <a:xfrm>
            <a:off x="0" y="0"/>
            <a:ext cx="211667"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133"/>
              </a:lnSpc>
              <a:spcBef>
                <a:spcPct val="0"/>
              </a:spcBef>
              <a:spcAft>
                <a:spcPct val="0"/>
              </a:spcAft>
            </a:pPr>
            <a:endParaRPr lang="en-US" sz="2133" b="0" i="0" baseline="0" dirty="0">
              <a:latin typeface="Calibri Light" panose="020F0302020204030204" pitchFamily="34" charset="0"/>
              <a:ea typeface="+mj-ea"/>
              <a:cs typeface="+mj-cs"/>
              <a:sym typeface="Calibri Light" panose="020F0302020204030204" pitchFamily="34" charset="0"/>
            </a:endParaRPr>
          </a:p>
        </p:txBody>
      </p:sp>
      <p:sp>
        <p:nvSpPr>
          <p:cNvPr id="12" name="Titel 4"/>
          <p:cNvSpPr>
            <a:spLocks noGrp="1"/>
          </p:cNvSpPr>
          <p:nvPr>
            <p:ph type="title" hasCustomPrompt="1"/>
          </p:nvPr>
        </p:nvSpPr>
        <p:spPr>
          <a:xfrm>
            <a:off x="3373123" y="52207"/>
            <a:ext cx="6988539" cy="787200"/>
          </a:xfrm>
        </p:spPr>
        <p:txBody>
          <a:bodyPr/>
          <a:lstStyle>
            <a:lvl1pPr algn="l">
              <a:lnSpc>
                <a:spcPts val="2133"/>
              </a:lnSpc>
              <a:defRPr sz="2133"/>
            </a:lvl1pPr>
          </a:lstStyle>
          <a:p>
            <a:r>
              <a:rPr lang="en-US" dirty="0"/>
              <a:t>Click to add text</a:t>
            </a:r>
          </a:p>
        </p:txBody>
      </p:sp>
      <p:sp>
        <p:nvSpPr>
          <p:cNvPr id="16" name="Text Placeholder 2">
            <a:extLst>
              <a:ext uri="{FF2B5EF4-FFF2-40B4-BE49-F238E27FC236}">
                <a16:creationId xmlns:a16="http://schemas.microsoft.com/office/drawing/2014/main" id="{7066FA14-A13E-4C88-AA9E-2E47483D5080}"/>
              </a:ext>
            </a:extLst>
          </p:cNvPr>
          <p:cNvSpPr>
            <a:spLocks noGrp="1"/>
          </p:cNvSpPr>
          <p:nvPr>
            <p:ph type="body" sz="quarter" idx="18" hasCustomPrompt="1"/>
          </p:nvPr>
        </p:nvSpPr>
        <p:spPr>
          <a:xfrm>
            <a:off x="125941" y="471161"/>
            <a:ext cx="3133256" cy="172800"/>
          </a:xfrm>
          <a:prstGeom prst="rect">
            <a:avLst/>
          </a:prstGeom>
          <a:ln>
            <a:noFill/>
          </a:ln>
        </p:spPr>
        <p:txBody>
          <a:bodyPr lIns="0" tIns="0" rIns="0" bIns="0" anchor="ctr">
            <a:noAutofit/>
          </a:bodyPr>
          <a:lstStyle>
            <a:lvl1pPr marL="0" indent="0" algn="l">
              <a:lnSpc>
                <a:spcPct val="100000"/>
              </a:lnSpc>
              <a:spcBef>
                <a:spcPts val="0"/>
              </a:spcBef>
              <a:buFontTx/>
              <a:buNone/>
              <a:defRPr sz="1067" b="0" baseline="0">
                <a:solidFill>
                  <a:schemeClr val="tx1"/>
                </a:solidFill>
              </a:defRPr>
            </a:lvl1pPr>
          </a:lstStyle>
          <a:p>
            <a:r>
              <a:rPr lang="en-US" dirty="0"/>
              <a:t>Unit of measurement</a:t>
            </a:r>
          </a:p>
        </p:txBody>
      </p:sp>
      <p:sp>
        <p:nvSpPr>
          <p:cNvPr id="18" name="Text Placeholder 2">
            <a:extLst>
              <a:ext uri="{FF2B5EF4-FFF2-40B4-BE49-F238E27FC236}">
                <a16:creationId xmlns:a16="http://schemas.microsoft.com/office/drawing/2014/main" id="{5198432D-6F74-40F0-A171-A0B5FD017FAD}"/>
              </a:ext>
            </a:extLst>
          </p:cNvPr>
          <p:cNvSpPr>
            <a:spLocks noGrp="1"/>
          </p:cNvSpPr>
          <p:nvPr>
            <p:ph type="body" sz="quarter" idx="19" hasCustomPrompt="1"/>
          </p:nvPr>
        </p:nvSpPr>
        <p:spPr>
          <a:xfrm>
            <a:off x="125941" y="680640"/>
            <a:ext cx="3133256" cy="172800"/>
          </a:xfrm>
          <a:prstGeom prst="rect">
            <a:avLst/>
          </a:prstGeom>
          <a:ln>
            <a:noFill/>
          </a:ln>
        </p:spPr>
        <p:txBody>
          <a:bodyPr lIns="0" tIns="0" rIns="0" bIns="0" anchor="ctr">
            <a:noAutofit/>
          </a:bodyPr>
          <a:lstStyle>
            <a:lvl1pPr marL="0" indent="0" algn="l">
              <a:lnSpc>
                <a:spcPct val="100000"/>
              </a:lnSpc>
              <a:spcBef>
                <a:spcPts val="0"/>
              </a:spcBef>
              <a:buFontTx/>
              <a:buNone/>
              <a:defRPr sz="1067" b="0" baseline="0">
                <a:solidFill>
                  <a:schemeClr val="tx1"/>
                </a:solidFill>
              </a:defRPr>
            </a:lvl1pPr>
          </a:lstStyle>
          <a:p>
            <a:r>
              <a:rPr lang="en-US" dirty="0"/>
              <a:t>Period, data scenario</a:t>
            </a:r>
          </a:p>
        </p:txBody>
      </p:sp>
      <p:sp>
        <p:nvSpPr>
          <p:cNvPr id="20" name="Text Placeholder 2">
            <a:extLst>
              <a:ext uri="{FF2B5EF4-FFF2-40B4-BE49-F238E27FC236}">
                <a16:creationId xmlns:a16="http://schemas.microsoft.com/office/drawing/2014/main" id="{81023FC6-6139-470D-844E-BC0D6156133A}"/>
              </a:ext>
            </a:extLst>
          </p:cNvPr>
          <p:cNvSpPr>
            <a:spLocks noGrp="1"/>
          </p:cNvSpPr>
          <p:nvPr>
            <p:ph type="body" sz="quarter" idx="21" hasCustomPrompt="1"/>
          </p:nvPr>
        </p:nvSpPr>
        <p:spPr>
          <a:xfrm>
            <a:off x="125941" y="52207"/>
            <a:ext cx="3133256" cy="172800"/>
          </a:xfrm>
          <a:prstGeom prst="rect">
            <a:avLst/>
          </a:prstGeom>
          <a:ln>
            <a:noFill/>
          </a:ln>
        </p:spPr>
        <p:txBody>
          <a:bodyPr lIns="0" tIns="0" rIns="0" bIns="0" anchor="ctr">
            <a:noAutofit/>
          </a:bodyPr>
          <a:lstStyle>
            <a:lvl1pPr marL="0" indent="0" algn="l">
              <a:lnSpc>
                <a:spcPct val="100000"/>
              </a:lnSpc>
              <a:spcBef>
                <a:spcPts val="0"/>
              </a:spcBef>
              <a:buFontTx/>
              <a:buNone/>
              <a:defRPr sz="1067" b="0" baseline="0">
                <a:solidFill>
                  <a:schemeClr val="tx1"/>
                </a:solidFill>
              </a:defRPr>
            </a:lvl1pPr>
          </a:lstStyle>
          <a:p>
            <a:r>
              <a:rPr lang="en-US" dirty="0"/>
              <a:t>Reporting entity</a:t>
            </a:r>
          </a:p>
        </p:txBody>
      </p:sp>
      <p:sp>
        <p:nvSpPr>
          <p:cNvPr id="21" name="Text Placeholder 2">
            <a:extLst>
              <a:ext uri="{FF2B5EF4-FFF2-40B4-BE49-F238E27FC236}">
                <a16:creationId xmlns:a16="http://schemas.microsoft.com/office/drawing/2014/main" id="{B2569437-C2DB-4F3A-9508-BB720F4BFEB6}"/>
              </a:ext>
            </a:extLst>
          </p:cNvPr>
          <p:cNvSpPr>
            <a:spLocks noGrp="1"/>
          </p:cNvSpPr>
          <p:nvPr>
            <p:ph type="body" sz="quarter" idx="22" hasCustomPrompt="1"/>
          </p:nvPr>
        </p:nvSpPr>
        <p:spPr>
          <a:xfrm>
            <a:off x="125941" y="261684"/>
            <a:ext cx="3133256" cy="172800"/>
          </a:xfrm>
          <a:prstGeom prst="rect">
            <a:avLst/>
          </a:prstGeom>
          <a:ln>
            <a:noFill/>
          </a:ln>
        </p:spPr>
        <p:txBody>
          <a:bodyPr lIns="0" tIns="0" rIns="0" bIns="0" anchor="ctr">
            <a:noAutofit/>
          </a:bodyPr>
          <a:lstStyle>
            <a:lvl1pPr marL="0" indent="0" algn="l">
              <a:lnSpc>
                <a:spcPct val="100000"/>
              </a:lnSpc>
              <a:spcBef>
                <a:spcPts val="0"/>
              </a:spcBef>
              <a:buFontTx/>
              <a:buNone/>
              <a:defRPr sz="1067" b="1" baseline="0">
                <a:solidFill>
                  <a:schemeClr val="tx1"/>
                </a:solidFill>
              </a:defRPr>
            </a:lvl1pPr>
          </a:lstStyle>
          <a:p>
            <a:r>
              <a:rPr lang="en-US" dirty="0" err="1"/>
              <a:t>P&amp;L</a:t>
            </a:r>
            <a:r>
              <a:rPr lang="en-US" dirty="0"/>
              <a:t> detail per business</a:t>
            </a:r>
          </a:p>
        </p:txBody>
      </p:sp>
      <p:sp>
        <p:nvSpPr>
          <p:cNvPr id="4" name="Date Placeholder 3">
            <a:extLst>
              <a:ext uri="{FF2B5EF4-FFF2-40B4-BE49-F238E27FC236}">
                <a16:creationId xmlns:a16="http://schemas.microsoft.com/office/drawing/2014/main" id="{B87D807E-C4CE-4AA4-8ED9-448491339EC2}"/>
              </a:ext>
            </a:extLst>
          </p:cNvPr>
          <p:cNvSpPr>
            <a:spLocks noGrp="1"/>
          </p:cNvSpPr>
          <p:nvPr>
            <p:ph type="dt" sz="half" idx="24"/>
          </p:nvPr>
        </p:nvSpPr>
        <p:spPr/>
        <p:txBody>
          <a:bodyPr/>
          <a:lstStyle/>
          <a:p>
            <a:endParaRPr lang="en-IN" dirty="0"/>
          </a:p>
        </p:txBody>
      </p:sp>
      <p:sp>
        <p:nvSpPr>
          <p:cNvPr id="5" name="Footer Placeholder 4">
            <a:extLst>
              <a:ext uri="{FF2B5EF4-FFF2-40B4-BE49-F238E27FC236}">
                <a16:creationId xmlns:a16="http://schemas.microsoft.com/office/drawing/2014/main" id="{F838CB85-32FF-48FD-9896-C7B7E8F6EDB6}"/>
              </a:ext>
            </a:extLst>
          </p:cNvPr>
          <p:cNvSpPr>
            <a:spLocks noGrp="1"/>
          </p:cNvSpPr>
          <p:nvPr>
            <p:ph type="ftr" sz="quarter" idx="25"/>
          </p:nvPr>
        </p:nvSpPr>
        <p:spPr/>
        <p:txBody>
          <a:bodyPr/>
          <a:lstStyle/>
          <a:p>
            <a:endParaRPr lang="en-IN" dirty="0"/>
          </a:p>
        </p:txBody>
      </p:sp>
      <p:sp>
        <p:nvSpPr>
          <p:cNvPr id="6" name="Slide Number Placeholder 5">
            <a:extLst>
              <a:ext uri="{FF2B5EF4-FFF2-40B4-BE49-F238E27FC236}">
                <a16:creationId xmlns:a16="http://schemas.microsoft.com/office/drawing/2014/main" id="{D4580397-EA1F-41BE-8CB8-EE87F91FA060}"/>
              </a:ext>
            </a:extLst>
          </p:cNvPr>
          <p:cNvSpPr>
            <a:spLocks noGrp="1"/>
          </p:cNvSpPr>
          <p:nvPr>
            <p:ph type="sldNum" sz="quarter" idx="26"/>
          </p:nvPr>
        </p:nvSpPr>
        <p:spPr/>
        <p:txBody>
          <a:bodyPr/>
          <a:lstStyle/>
          <a:p>
            <a:fld id="{A5163908-529D-4A49-892F-D37C4044DFD8}" type="slidenum">
              <a:rPr lang="en-IN" smtClean="0"/>
              <a:pPr/>
              <a:t>‹#›</a:t>
            </a:fld>
            <a:endParaRPr lang="en-IN"/>
          </a:p>
        </p:txBody>
      </p:sp>
      <p:cxnSp>
        <p:nvCxnSpPr>
          <p:cNvPr id="15" name="Straight Connector 17">
            <a:extLst>
              <a:ext uri="{FF2B5EF4-FFF2-40B4-BE49-F238E27FC236}">
                <a16:creationId xmlns:a16="http://schemas.microsoft.com/office/drawing/2014/main" id="{C539D5CE-18F8-4235-A29E-31342295EE06}"/>
              </a:ext>
            </a:extLst>
          </p:cNvPr>
          <p:cNvCxnSpPr/>
          <p:nvPr>
            <p:custDataLst>
              <p:tags r:id="rId3"/>
            </p:custDataLst>
          </p:nvPr>
        </p:nvCxnSpPr>
        <p:spPr>
          <a:xfrm>
            <a:off x="0" y="1190047"/>
            <a:ext cx="12192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AA6F1E93-15E1-4055-8C44-6E1B52D56A8B}"/>
              </a:ext>
            </a:extLst>
          </p:cNvPr>
          <p:cNvSpPr>
            <a:spLocks noGrp="1"/>
          </p:cNvSpPr>
          <p:nvPr>
            <p:ph type="body" sz="quarter" idx="27"/>
          </p:nvPr>
        </p:nvSpPr>
        <p:spPr>
          <a:xfrm>
            <a:off x="125941" y="4704080"/>
            <a:ext cx="5089496" cy="159512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5168144"/>
      </p:ext>
    </p:extLst>
  </p:cSld>
  <p:clrMapOvr>
    <a:masterClrMapping/>
  </p:clrMapOvr>
  <p:extLst>
    <p:ext uri="{DCECCB84-F9BA-43D5-87BE-67443E8EF086}">
      <p15:sldGuideLst xmlns:p15="http://schemas.microsoft.com/office/powerpoint/2012/main">
        <p15:guide id="1" pos="84">
          <p15:clr>
            <a:srgbClr val="FBAE40"/>
          </p15:clr>
        </p15:guide>
        <p15:guide id="2" pos="7595">
          <p15:clr>
            <a:srgbClr val="FBAE40"/>
          </p15:clr>
        </p15:guide>
        <p15:guide id="3" orient="horz" pos="5245">
          <p15:clr>
            <a:srgbClr val="FBAE40"/>
          </p15:clr>
        </p15:guide>
        <p15:guide id="4" orient="horz" pos="712">
          <p15:clr>
            <a:srgbClr val="FBAE40"/>
          </p15:clr>
        </p15:guide>
        <p15:guide id="5" orient="horz" pos="68">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p:cSld name="End slide blue">
    <p:bg>
      <p:bgPr>
        <a:gradFill>
          <a:gsLst>
            <a:gs pos="0">
              <a:srgbClr val="003478"/>
            </a:gs>
            <a:gs pos="100000">
              <a:srgbClr val="0089C4"/>
            </a:gs>
          </a:gsLst>
          <a:lin ang="2100000" scaled="1"/>
        </a:gradFill>
        <a:effectLst/>
      </p:bgPr>
    </p:bg>
    <p:spTree>
      <p:nvGrpSpPr>
        <p:cNvPr id="1" name=""/>
        <p:cNvGrpSpPr/>
        <p:nvPr/>
      </p:nvGrpSpPr>
      <p:grpSpPr>
        <a:xfrm>
          <a:off x="0" y="0"/>
          <a:ext cx="0" cy="0"/>
          <a:chOff x="0" y="0"/>
          <a:chExt cx="0" cy="0"/>
        </a:xfrm>
      </p:grpSpPr>
      <p:pic>
        <p:nvPicPr>
          <p:cNvPr id="6" name="Picture 5"/>
          <p:cNvPicPr>
            <a:picLocks/>
          </p:cNvPicPr>
          <p:nvPr/>
        </p:nvPicPr>
        <p:blipFill>
          <a:blip r:embed="rId2" cstate="email">
            <a:alphaModFix/>
            <a:extLst>
              <a:ext uri="{28A0092B-C50C-407E-A947-70E740481C1C}">
                <a14:useLocalDpi xmlns:a14="http://schemas.microsoft.com/office/drawing/2010/main"/>
              </a:ext>
            </a:extLst>
          </a:blip>
          <a:stretch>
            <a:fillRect/>
          </a:stretch>
        </p:blipFill>
        <p:spPr>
          <a:xfrm>
            <a:off x="5317471" y="2447784"/>
            <a:ext cx="1526003" cy="1943765"/>
          </a:xfrm>
          <a:prstGeom prst="rect">
            <a:avLst/>
          </a:prstGeom>
          <a:noFill/>
        </p:spPr>
      </p:pic>
    </p:spTree>
    <p:extLst>
      <p:ext uri="{BB962C8B-B14F-4D97-AF65-F5344CB8AC3E}">
        <p14:creationId xmlns:p14="http://schemas.microsoft.com/office/powerpoint/2010/main" val="878626155"/>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p:cSld name="End slide white">
    <p:spTree>
      <p:nvGrpSpPr>
        <p:cNvPr id="1" name=""/>
        <p:cNvGrpSpPr/>
        <p:nvPr/>
      </p:nvGrpSpPr>
      <p:grpSpPr>
        <a:xfrm>
          <a:off x="0" y="0"/>
          <a:ext cx="0" cy="0"/>
          <a:chOff x="0" y="0"/>
          <a:chExt cx="0" cy="0"/>
        </a:xfrm>
      </p:grpSpPr>
      <p:sp>
        <p:nvSpPr>
          <p:cNvPr id="7" name="Rectangle 6"/>
          <p:cNvSpPr/>
          <p:nvPr/>
        </p:nvSpPr>
        <p:spPr bwMode="white">
          <a:xfrm>
            <a:off x="143339" y="6237312"/>
            <a:ext cx="11905323" cy="5760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841" tIns="54420" rIns="108841" bIns="54420" rtlCol="0" anchor="ctr"/>
          <a:lstStyle/>
          <a:p>
            <a:pPr algn="ctr"/>
            <a:endParaRPr lang="en-US" sz="3200" dirty="0"/>
          </a:p>
        </p:txBody>
      </p:sp>
      <p:pic>
        <p:nvPicPr>
          <p:cNvPr id="3" name="Picture 6">
            <a:extLst>
              <a:ext uri="{FF2B5EF4-FFF2-40B4-BE49-F238E27FC236}">
                <a16:creationId xmlns:a16="http://schemas.microsoft.com/office/drawing/2014/main" id="{D2D99289-1788-4094-95D8-16BE8E42F89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317471" y="2447783"/>
            <a:ext cx="1526003" cy="1939933"/>
          </a:xfrm>
          <a:prstGeom prst="rect">
            <a:avLst/>
          </a:prstGeom>
          <a:ln>
            <a:noFill/>
          </a:ln>
        </p:spPr>
      </p:pic>
    </p:spTree>
    <p:extLst>
      <p:ext uri="{BB962C8B-B14F-4D97-AF65-F5344CB8AC3E}">
        <p14:creationId xmlns:p14="http://schemas.microsoft.com/office/powerpoint/2010/main" val="1175872495"/>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type="blank" preserve="1">
  <p:cSld name="Front Cov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5AD2721-74A2-0341-9C30-E4CBF10A782E}"/>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7651418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wo Content Dark Lef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D86AC41-762B-4924-A899-F81343A12E1E}"/>
              </a:ext>
            </a:extLst>
          </p:cNvPr>
          <p:cNvSpPr/>
          <p:nvPr/>
        </p:nvSpPr>
        <p:spPr>
          <a:xfrm>
            <a:off x="906" y="-1"/>
            <a:ext cx="6096000" cy="6858000"/>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42"/>
          </a:p>
        </p:txBody>
      </p:sp>
      <p:sp>
        <p:nvSpPr>
          <p:cNvPr id="4" name="Content Placeholder 3"/>
          <p:cNvSpPr>
            <a:spLocks noGrp="1"/>
          </p:cNvSpPr>
          <p:nvPr>
            <p:ph sz="half" idx="2"/>
          </p:nvPr>
        </p:nvSpPr>
        <p:spPr>
          <a:xfrm>
            <a:off x="410878" y="1521183"/>
            <a:ext cx="5292112" cy="4494732"/>
          </a:xfrm>
        </p:spPr>
        <p:txBody>
          <a:bodyPr/>
          <a:lstStyle>
            <a:lvl1pPr>
              <a:defRPr>
                <a:solidFill>
                  <a:schemeClr val="bg1"/>
                </a:solidFill>
              </a:defRPr>
            </a:lvl1pPr>
            <a:lvl2pPr>
              <a:defRPr>
                <a:solidFill>
                  <a:schemeClr val="bg1"/>
                </a:solidFill>
              </a:defRPr>
            </a:lvl2pPr>
            <a:lvl3pPr>
              <a:defRPr>
                <a:solidFill>
                  <a:schemeClr val="accent3"/>
                </a:solidFill>
              </a:defRPr>
            </a:lvl3pPr>
            <a:lvl4pPr>
              <a:buClr>
                <a:schemeClr val="accent3"/>
              </a:buClr>
              <a:defRPr>
                <a:solidFill>
                  <a:schemeClr val="bg1"/>
                </a:solidFill>
              </a:defRPr>
            </a:lvl4pPr>
            <a:lvl5pPr>
              <a:buClr>
                <a:schemeClr val="accent3"/>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2"/>
          <p:cNvSpPr>
            <a:spLocks noGrp="1"/>
          </p:cNvSpPr>
          <p:nvPr>
            <p:ph sz="half" idx="1"/>
          </p:nvPr>
        </p:nvSpPr>
        <p:spPr>
          <a:xfrm>
            <a:off x="6487250" y="1521678"/>
            <a:ext cx="5292000" cy="44947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lvl1pPr>
              <a:defRPr>
                <a:solidFill>
                  <a:schemeClr val="bg1"/>
                </a:solidFill>
              </a:defRPr>
            </a:lvl1pPr>
          </a:lstStyle>
          <a:p>
            <a:endParaRPr lang="en-BE"/>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9F5F79E4-174E-4D15-B5B9-2923F86E0116}" type="slidenum">
              <a:rPr lang="en-BE" smtClean="0"/>
              <a:t>‹#›</a:t>
            </a:fld>
            <a:endParaRPr lang="en-BE"/>
          </a:p>
        </p:txBody>
      </p:sp>
      <p:sp>
        <p:nvSpPr>
          <p:cNvPr id="8" name="Title 7">
            <a:extLst>
              <a:ext uri="{FF2B5EF4-FFF2-40B4-BE49-F238E27FC236}">
                <a16:creationId xmlns:a16="http://schemas.microsoft.com/office/drawing/2014/main" id="{FD930A9A-C0DD-4B8F-B286-D07D532A2ED0}"/>
              </a:ext>
            </a:extLst>
          </p:cNvPr>
          <p:cNvSpPr>
            <a:spLocks noGrp="1"/>
          </p:cNvSpPr>
          <p:nvPr>
            <p:ph type="title"/>
          </p:nvPr>
        </p:nvSpPr>
        <p:spPr>
          <a:xfrm>
            <a:off x="6487249" y="411163"/>
            <a:ext cx="5292000" cy="776038"/>
          </a:xfrm>
        </p:spPr>
        <p:txBody>
          <a:bodyPr/>
          <a:lstStyle/>
          <a:p>
            <a:r>
              <a:rPr lang="en-US"/>
              <a:t>Click to edit Master title style</a:t>
            </a:r>
            <a:endParaRPr lang="en-GB"/>
          </a:p>
        </p:txBody>
      </p:sp>
    </p:spTree>
    <p:extLst>
      <p:ext uri="{BB962C8B-B14F-4D97-AF65-F5344CB8AC3E}">
        <p14:creationId xmlns:p14="http://schemas.microsoft.com/office/powerpoint/2010/main" val="2544993658"/>
      </p:ext>
    </p:extLst>
  </p:cSld>
  <p:clrMapOvr>
    <a:masterClrMapping/>
  </p:clrMapOvr>
  <p:transition>
    <p:fade/>
  </p:transition>
  <p:extLst>
    <p:ext uri="{DCECCB84-F9BA-43D5-87BE-67443E8EF086}">
      <p15:sldGuideLst xmlns:p15="http://schemas.microsoft.com/office/powerpoint/2012/main"/>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Back Cover">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82793259-81D7-5D47-AF05-21A94545BB73}"/>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5" name="TextBox 14">
            <a:extLst>
              <a:ext uri="{FF2B5EF4-FFF2-40B4-BE49-F238E27FC236}">
                <a16:creationId xmlns:a16="http://schemas.microsoft.com/office/drawing/2014/main" id="{292BDD78-1E02-564D-8E4E-A333A678CDE8}"/>
              </a:ext>
            </a:extLst>
          </p:cNvPr>
          <p:cNvSpPr txBox="1"/>
          <p:nvPr/>
        </p:nvSpPr>
        <p:spPr>
          <a:xfrm>
            <a:off x="13051436" y="3267856"/>
            <a:ext cx="0" cy="0"/>
          </a:xfrm>
          <a:prstGeom prst="rect">
            <a:avLst/>
          </a:prstGeom>
          <a:noFill/>
        </p:spPr>
        <p:txBody>
          <a:bodyPr wrap="none" rtlCol="0">
            <a:noAutofit/>
          </a:bodyPr>
          <a:lstStyle/>
          <a:p>
            <a:pPr algn="l"/>
            <a:endParaRPr lang="en-US" sz="2739" dirty="0" err="1">
              <a:latin typeface="Century Gothic" panose="020B0502020202020204" pitchFamily="34" charset="0"/>
            </a:endParaRPr>
          </a:p>
        </p:txBody>
      </p:sp>
    </p:spTree>
    <p:extLst>
      <p:ext uri="{BB962C8B-B14F-4D97-AF65-F5344CB8AC3E}">
        <p14:creationId xmlns:p14="http://schemas.microsoft.com/office/powerpoint/2010/main" val="428808003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sp>
        <p:nvSpPr>
          <p:cNvPr id="8" name="Espace réservé du texte 2"/>
          <p:cNvSpPr>
            <a:spLocks noGrp="1"/>
          </p:cNvSpPr>
          <p:nvPr>
            <p:ph idx="1" hasCustomPrompt="1"/>
          </p:nvPr>
        </p:nvSpPr>
        <p:spPr>
          <a:xfrm>
            <a:off x="675133" y="1892830"/>
            <a:ext cx="10848000" cy="3359799"/>
          </a:xfrm>
          <a:prstGeom prst="rect">
            <a:avLst/>
          </a:prstGeom>
        </p:spPr>
        <p:txBody>
          <a:bodyPr vert="horz" lIns="0" tIns="0" rIns="0" bIns="0" rtlCol="0">
            <a:noAutofit/>
          </a:bodyPr>
          <a:lstStyle>
            <a:lvl1pPr marL="239994" indent="-239994">
              <a:lnSpc>
                <a:spcPct val="120000"/>
              </a:lnSpc>
              <a:buClr>
                <a:srgbClr val="0089CB"/>
              </a:buClr>
              <a:defRPr sz="2400">
                <a:latin typeface="Century Gothic" charset="0"/>
                <a:ea typeface="Century Gothic" charset="0"/>
                <a:cs typeface="Century Gothic" charset="0"/>
              </a:defRPr>
            </a:lvl1pPr>
            <a:lvl2pPr marL="599985" indent="-239994">
              <a:lnSpc>
                <a:spcPct val="120000"/>
              </a:lnSpc>
              <a:spcBef>
                <a:spcPts val="0"/>
              </a:spcBef>
              <a:buClr>
                <a:srgbClr val="0089CB"/>
              </a:buClr>
              <a:defRPr sz="2133">
                <a:latin typeface="Century Gothic" charset="0"/>
                <a:ea typeface="Century Gothic" charset="0"/>
                <a:cs typeface="Century Gothic" charset="0"/>
              </a:defRPr>
            </a:lvl2pPr>
            <a:lvl3pPr marL="959976" indent="-239994">
              <a:lnSpc>
                <a:spcPct val="120000"/>
              </a:lnSpc>
              <a:spcBef>
                <a:spcPts val="0"/>
              </a:spcBef>
              <a:buClr>
                <a:srgbClr val="0089CB"/>
              </a:buClr>
              <a:defRPr sz="1867">
                <a:latin typeface="Century Gothic" charset="0"/>
                <a:ea typeface="Century Gothic" charset="0"/>
                <a:cs typeface="Century Gothic" charset="0"/>
              </a:defRPr>
            </a:lvl3pPr>
            <a:lvl4pPr marL="1319967" indent="-239994">
              <a:lnSpc>
                <a:spcPct val="120000"/>
              </a:lnSpc>
              <a:spcAft>
                <a:spcPts val="0"/>
              </a:spcAft>
              <a:buClr>
                <a:srgbClr val="0089CB"/>
              </a:buClr>
              <a:defRPr sz="1600">
                <a:latin typeface="Century Gothic" charset="0"/>
                <a:ea typeface="Century Gothic" charset="0"/>
                <a:cs typeface="Century Gothic" charset="0"/>
              </a:defRPr>
            </a:lvl4pPr>
            <a:lvl5pPr marL="1679958" indent="-239994">
              <a:lnSpc>
                <a:spcPct val="120000"/>
              </a:lnSpc>
              <a:buClr>
                <a:srgbClr val="0089CB"/>
              </a:buClr>
              <a:defRPr sz="1467" baseline="0">
                <a:latin typeface="Century Gothic" charset="0"/>
                <a:ea typeface="Century Gothic" charset="0"/>
                <a:cs typeface="Century Gothic" charset="0"/>
              </a:defRPr>
            </a:lvl5pPr>
          </a:lstStyle>
          <a:p>
            <a:pPr lvl="0"/>
            <a:r>
              <a:rPr lang="en-US" noProof="0" dirty="0"/>
              <a:t>First Level</a:t>
            </a:r>
          </a:p>
          <a:p>
            <a:pPr lvl="1"/>
            <a:r>
              <a:rPr lang="en-US" noProof="0" dirty="0"/>
              <a:t>Second Level</a:t>
            </a:r>
          </a:p>
          <a:p>
            <a:pPr lvl="2"/>
            <a:r>
              <a:rPr lang="en-US" noProof="0" dirty="0"/>
              <a:t>Third Level</a:t>
            </a:r>
          </a:p>
          <a:p>
            <a:pPr lvl="3"/>
            <a:r>
              <a:rPr lang="en-US" noProof="0" dirty="0"/>
              <a:t>Forth Level</a:t>
            </a:r>
          </a:p>
          <a:p>
            <a:pPr lvl="4"/>
            <a:r>
              <a:rPr lang="en-US" noProof="0" dirty="0"/>
              <a:t>Fifth Level</a:t>
            </a:r>
          </a:p>
        </p:txBody>
      </p:sp>
      <p:sp>
        <p:nvSpPr>
          <p:cNvPr id="2" name="Title 1"/>
          <p:cNvSpPr>
            <a:spLocks noGrp="1"/>
          </p:cNvSpPr>
          <p:nvPr>
            <p:ph type="title" hasCustomPrompt="1"/>
          </p:nvPr>
        </p:nvSpPr>
        <p:spPr/>
        <p:txBody>
          <a:bodyPr/>
          <a:lstStyle>
            <a:lvl1pPr>
              <a:defRPr b="0" cap="none">
                <a:latin typeface="Century Gothic" charset="0"/>
                <a:ea typeface="Century Gothic" charset="0"/>
                <a:cs typeface="Century Gothic" charset="0"/>
              </a:defRPr>
            </a:lvl1pPr>
          </a:lstStyle>
          <a:p>
            <a:r>
              <a:rPr lang="en-US" dirty="0"/>
              <a:t>Click to edit master title style</a:t>
            </a:r>
          </a:p>
        </p:txBody>
      </p:sp>
    </p:spTree>
    <p:extLst>
      <p:ext uri="{BB962C8B-B14F-4D97-AF65-F5344CB8AC3E}">
        <p14:creationId xmlns:p14="http://schemas.microsoft.com/office/powerpoint/2010/main" val="118029176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662632372"/>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1_Back Cover">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82793259-81D7-5D47-AF05-21A94545BB73}"/>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a:hlinkClick r:id="rId3"/>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168342" y="6294963"/>
            <a:ext cx="2791708" cy="398400"/>
          </a:xfrm>
          <a:prstGeom prst="rect">
            <a:avLst/>
          </a:prstGeom>
        </p:spPr>
      </p:pic>
      <p:sp>
        <p:nvSpPr>
          <p:cNvPr id="15" name="TextBox 14">
            <a:extLst>
              <a:ext uri="{FF2B5EF4-FFF2-40B4-BE49-F238E27FC236}">
                <a16:creationId xmlns:a16="http://schemas.microsoft.com/office/drawing/2014/main" id="{292BDD78-1E02-564D-8E4E-A333A678CDE8}"/>
              </a:ext>
            </a:extLst>
          </p:cNvPr>
          <p:cNvSpPr txBox="1"/>
          <p:nvPr/>
        </p:nvSpPr>
        <p:spPr>
          <a:xfrm>
            <a:off x="13051436" y="3267856"/>
            <a:ext cx="0" cy="0"/>
          </a:xfrm>
          <a:prstGeom prst="rect">
            <a:avLst/>
          </a:prstGeom>
          <a:noFill/>
        </p:spPr>
        <p:txBody>
          <a:bodyPr wrap="none" rtlCol="0">
            <a:noAutofit/>
          </a:bodyPr>
          <a:lstStyle/>
          <a:p>
            <a:pPr algn="l"/>
            <a:endParaRPr lang="en-US" sz="2739" dirty="0" err="1">
              <a:latin typeface="Century Gothic" panose="020B0502020202020204" pitchFamily="34" charset="0"/>
            </a:endParaRPr>
          </a:p>
        </p:txBody>
      </p:sp>
      <p:pic>
        <p:nvPicPr>
          <p:cNvPr id="18" name="Picture 17" descr="A picture containing object, clock, train&#10;&#10;Description automatically generated">
            <a:extLst>
              <a:ext uri="{FF2B5EF4-FFF2-40B4-BE49-F238E27FC236}">
                <a16:creationId xmlns:a16="http://schemas.microsoft.com/office/drawing/2014/main" id="{19493FF4-1201-064F-9E95-D27D881078F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72490" y="1128897"/>
            <a:ext cx="3047023" cy="1200000"/>
          </a:xfrm>
          <a:prstGeom prst="rect">
            <a:avLst/>
          </a:prstGeom>
        </p:spPr>
      </p:pic>
      <p:pic>
        <p:nvPicPr>
          <p:cNvPr id="10" name="Picture 9">
            <a:hlinkClick r:id="rId6"/>
            <a:extLst>
              <a:ext uri="{FF2B5EF4-FFF2-40B4-BE49-F238E27FC236}">
                <a16:creationId xmlns:a16="http://schemas.microsoft.com/office/drawing/2014/main" id="{B4D2C6F5-52A7-4648-A293-E2F7A7C661AF}"/>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16200000" flipV="1">
            <a:off x="901824" y="6263200"/>
            <a:ext cx="240000" cy="240000"/>
          </a:xfrm>
          <a:prstGeom prst="rect">
            <a:avLst/>
          </a:prstGeom>
        </p:spPr>
      </p:pic>
      <p:pic>
        <p:nvPicPr>
          <p:cNvPr id="12" name="Picture 11">
            <a:hlinkClick r:id="rId8"/>
            <a:extLst>
              <a:ext uri="{FF2B5EF4-FFF2-40B4-BE49-F238E27FC236}">
                <a16:creationId xmlns:a16="http://schemas.microsoft.com/office/drawing/2014/main" id="{DADE7523-CCCD-E240-BFC3-42ED14854C08}"/>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381877" y="6263200"/>
            <a:ext cx="240000" cy="240000"/>
          </a:xfrm>
          <a:prstGeom prst="rect">
            <a:avLst/>
          </a:prstGeom>
        </p:spPr>
      </p:pic>
      <p:pic>
        <p:nvPicPr>
          <p:cNvPr id="13" name="Picture 12">
            <a:hlinkClick r:id="rId10"/>
            <a:extLst>
              <a:ext uri="{FF2B5EF4-FFF2-40B4-BE49-F238E27FC236}">
                <a16:creationId xmlns:a16="http://schemas.microsoft.com/office/drawing/2014/main" id="{C6C4B5C7-D447-5D4E-93B9-18ACA9F0B60D}"/>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441600" y="6263200"/>
            <a:ext cx="240000" cy="240000"/>
          </a:xfrm>
          <a:prstGeom prst="rect">
            <a:avLst/>
          </a:prstGeom>
        </p:spPr>
      </p:pic>
    </p:spTree>
    <p:extLst>
      <p:ext uri="{BB962C8B-B14F-4D97-AF65-F5344CB8AC3E}">
        <p14:creationId xmlns:p14="http://schemas.microsoft.com/office/powerpoint/2010/main" val="47038596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806139"/>
            <a:ext cx="9144000" cy="3245724"/>
          </a:xfrm>
        </p:spPr>
        <p:txBody>
          <a:bodyPr anchor="ctr"/>
          <a:lstStyle>
            <a:lvl1pPr algn="ctr">
              <a:defRPr sz="4000"/>
            </a:lvl1pPr>
          </a:lstStyle>
          <a:p>
            <a:r>
              <a:rPr lang="en-US"/>
              <a:t>Click to edit Master title style</a:t>
            </a:r>
            <a:endParaRPr lang="en-US" dirty="0"/>
          </a:p>
        </p:txBody>
      </p:sp>
      <p:sp>
        <p:nvSpPr>
          <p:cNvPr id="3" name="Subtitle 2"/>
          <p:cNvSpPr>
            <a:spLocks noGrp="1"/>
          </p:cNvSpPr>
          <p:nvPr>
            <p:ph type="subTitle" idx="1"/>
          </p:nvPr>
        </p:nvSpPr>
        <p:spPr>
          <a:xfrm>
            <a:off x="1524000" y="5714325"/>
            <a:ext cx="9144000" cy="453754"/>
          </a:xfrm>
        </p:spPr>
        <p:txBody>
          <a:bodyPr/>
          <a:lstStyle>
            <a:lvl1pPr marL="0" indent="0" algn="ctr">
              <a:buNone/>
              <a:defRPr sz="2399">
                <a:solidFill>
                  <a:schemeClr val="accent3"/>
                </a:solidFill>
              </a:defRPr>
            </a:lvl1pPr>
            <a:lvl2pPr marL="456963" indent="0" algn="ctr">
              <a:buNone/>
              <a:defRPr sz="1999"/>
            </a:lvl2pPr>
            <a:lvl3pPr marL="913923" indent="0" algn="ctr">
              <a:buNone/>
              <a:defRPr sz="1799"/>
            </a:lvl3pPr>
            <a:lvl4pPr marL="1370889" indent="0" algn="ctr">
              <a:buNone/>
              <a:defRPr sz="1599"/>
            </a:lvl4pPr>
            <a:lvl5pPr marL="1827852" indent="0" algn="ctr">
              <a:buNone/>
              <a:defRPr sz="1599"/>
            </a:lvl5pPr>
            <a:lvl6pPr marL="2284812" indent="0" algn="ctr">
              <a:buNone/>
              <a:defRPr sz="1599"/>
            </a:lvl6pPr>
            <a:lvl7pPr marL="2741775" indent="0" algn="ctr">
              <a:buNone/>
              <a:defRPr sz="1599"/>
            </a:lvl7pPr>
            <a:lvl8pPr marL="3198740" indent="0" algn="ctr">
              <a:buNone/>
              <a:defRPr sz="1599"/>
            </a:lvl8pPr>
            <a:lvl9pPr marL="3655703" indent="0" algn="ctr">
              <a:buNone/>
              <a:defRPr sz="1599"/>
            </a:lvl9pPr>
          </a:lstStyle>
          <a:p>
            <a:r>
              <a:rPr lang="en-US"/>
              <a:t>Click to edit Master subtitle style</a:t>
            </a:r>
            <a:endParaRPr lang="en-US" dirty="0"/>
          </a:p>
        </p:txBody>
      </p:sp>
      <p:grpSp>
        <p:nvGrpSpPr>
          <p:cNvPr id="7" name="Group 4">
            <a:extLst>
              <a:ext uri="{FF2B5EF4-FFF2-40B4-BE49-F238E27FC236}">
                <a16:creationId xmlns:a16="http://schemas.microsoft.com/office/drawing/2014/main" id="{70F54715-A93F-4896-93D9-0F87EC2FA633}"/>
              </a:ext>
            </a:extLst>
          </p:cNvPr>
          <p:cNvGrpSpPr>
            <a:grpSpLocks noChangeAspect="1"/>
          </p:cNvGrpSpPr>
          <p:nvPr userDrawn="1"/>
        </p:nvGrpSpPr>
        <p:grpSpPr bwMode="auto">
          <a:xfrm>
            <a:off x="4700788" y="689925"/>
            <a:ext cx="2793600" cy="681042"/>
            <a:chOff x="2071" y="1578"/>
            <a:chExt cx="2587" cy="631"/>
          </a:xfrm>
          <a:gradFill>
            <a:gsLst>
              <a:gs pos="50000">
                <a:srgbClr val="00E487"/>
              </a:gs>
              <a:gs pos="100000">
                <a:srgbClr val="1ECBD0"/>
              </a:gs>
            </a:gsLst>
            <a:lin ang="18900000" scaled="0"/>
          </a:gradFill>
        </p:grpSpPr>
        <p:sp>
          <p:nvSpPr>
            <p:cNvPr id="8" name="Freeform 5">
              <a:extLst>
                <a:ext uri="{FF2B5EF4-FFF2-40B4-BE49-F238E27FC236}">
                  <a16:creationId xmlns:a16="http://schemas.microsoft.com/office/drawing/2014/main" id="{846B7DFA-C5E8-4F62-AD8D-4DEE7917FD7D}"/>
                </a:ext>
              </a:extLst>
            </p:cNvPr>
            <p:cNvSpPr>
              <a:spLocks/>
            </p:cNvSpPr>
            <p:nvPr userDrawn="1"/>
          </p:nvSpPr>
          <p:spPr bwMode="auto">
            <a:xfrm>
              <a:off x="2765" y="1728"/>
              <a:ext cx="244" cy="318"/>
            </a:xfrm>
            <a:custGeom>
              <a:avLst/>
              <a:gdLst>
                <a:gd name="T0" fmla="*/ 12 w 129"/>
                <a:gd name="T1" fmla="*/ 0 h 168"/>
                <a:gd name="T2" fmla="*/ 8 w 129"/>
                <a:gd name="T3" fmla="*/ 4 h 168"/>
                <a:gd name="T4" fmla="*/ 8 w 129"/>
                <a:gd name="T5" fmla="*/ 25 h 168"/>
                <a:gd name="T6" fmla="*/ 12 w 129"/>
                <a:gd name="T7" fmla="*/ 29 h 168"/>
                <a:gd name="T8" fmla="*/ 48 w 129"/>
                <a:gd name="T9" fmla="*/ 29 h 168"/>
                <a:gd name="T10" fmla="*/ 48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2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2" y="0"/>
                  </a:moveTo>
                  <a:cubicBezTo>
                    <a:pt x="9" y="0"/>
                    <a:pt x="8" y="1"/>
                    <a:pt x="8" y="4"/>
                  </a:cubicBezTo>
                  <a:cubicBezTo>
                    <a:pt x="8" y="25"/>
                    <a:pt x="8" y="25"/>
                    <a:pt x="8" y="25"/>
                  </a:cubicBezTo>
                  <a:cubicBezTo>
                    <a:pt x="8" y="27"/>
                    <a:pt x="9" y="29"/>
                    <a:pt x="12" y="29"/>
                  </a:cubicBezTo>
                  <a:cubicBezTo>
                    <a:pt x="48" y="29"/>
                    <a:pt x="48" y="29"/>
                    <a:pt x="48" y="29"/>
                  </a:cubicBezTo>
                  <a:cubicBezTo>
                    <a:pt x="48" y="140"/>
                    <a:pt x="48" y="140"/>
                    <a:pt x="48"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8" y="140"/>
                    <a:pt x="125" y="140"/>
                  </a:cubicBezTo>
                  <a:cubicBezTo>
                    <a:pt x="76" y="140"/>
                    <a:pt x="76" y="140"/>
                    <a:pt x="76" y="140"/>
                  </a:cubicBezTo>
                  <a:cubicBezTo>
                    <a:pt x="76" y="4"/>
                    <a:pt x="76" y="4"/>
                    <a:pt x="76" y="4"/>
                  </a:cubicBezTo>
                  <a:cubicBezTo>
                    <a:pt x="76" y="1"/>
                    <a:pt x="75" y="0"/>
                    <a:pt x="72" y="0"/>
                  </a:cubicBez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dirty="0"/>
            </a:p>
          </p:txBody>
        </p:sp>
        <p:sp>
          <p:nvSpPr>
            <p:cNvPr id="9" name="Freeform 6">
              <a:extLst>
                <a:ext uri="{FF2B5EF4-FFF2-40B4-BE49-F238E27FC236}">
                  <a16:creationId xmlns:a16="http://schemas.microsoft.com/office/drawing/2014/main" id="{6ABD64B8-C9CA-4D12-BB30-52ABBBA59E99}"/>
                </a:ext>
              </a:extLst>
            </p:cNvPr>
            <p:cNvSpPr>
              <a:spLocks/>
            </p:cNvSpPr>
            <p:nvPr userDrawn="1"/>
          </p:nvSpPr>
          <p:spPr bwMode="auto">
            <a:xfrm>
              <a:off x="3798" y="1728"/>
              <a:ext cx="244" cy="318"/>
            </a:xfrm>
            <a:custGeom>
              <a:avLst/>
              <a:gdLst>
                <a:gd name="T0" fmla="*/ 11 w 129"/>
                <a:gd name="T1" fmla="*/ 0 h 168"/>
                <a:gd name="T2" fmla="*/ 8 w 129"/>
                <a:gd name="T3" fmla="*/ 4 h 168"/>
                <a:gd name="T4" fmla="*/ 8 w 129"/>
                <a:gd name="T5" fmla="*/ 25 h 168"/>
                <a:gd name="T6" fmla="*/ 11 w 129"/>
                <a:gd name="T7" fmla="*/ 29 h 168"/>
                <a:gd name="T8" fmla="*/ 47 w 129"/>
                <a:gd name="T9" fmla="*/ 29 h 168"/>
                <a:gd name="T10" fmla="*/ 47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1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1" y="0"/>
                  </a:moveTo>
                  <a:cubicBezTo>
                    <a:pt x="9" y="0"/>
                    <a:pt x="8" y="1"/>
                    <a:pt x="8" y="4"/>
                  </a:cubicBezTo>
                  <a:cubicBezTo>
                    <a:pt x="8" y="25"/>
                    <a:pt x="8" y="25"/>
                    <a:pt x="8" y="25"/>
                  </a:cubicBezTo>
                  <a:cubicBezTo>
                    <a:pt x="8" y="27"/>
                    <a:pt x="9" y="29"/>
                    <a:pt x="11" y="29"/>
                  </a:cubicBezTo>
                  <a:cubicBezTo>
                    <a:pt x="47" y="29"/>
                    <a:pt x="47" y="29"/>
                    <a:pt x="47" y="29"/>
                  </a:cubicBezTo>
                  <a:cubicBezTo>
                    <a:pt x="47" y="140"/>
                    <a:pt x="47" y="140"/>
                    <a:pt x="47"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7" y="140"/>
                    <a:pt x="125" y="140"/>
                  </a:cubicBezTo>
                  <a:cubicBezTo>
                    <a:pt x="76" y="140"/>
                    <a:pt x="76" y="140"/>
                    <a:pt x="76" y="140"/>
                  </a:cubicBezTo>
                  <a:cubicBezTo>
                    <a:pt x="76" y="4"/>
                    <a:pt x="76" y="4"/>
                    <a:pt x="76" y="4"/>
                  </a:cubicBezTo>
                  <a:cubicBezTo>
                    <a:pt x="75" y="1"/>
                    <a:pt x="74" y="0"/>
                    <a:pt x="72" y="0"/>
                  </a:cubicBez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dirty="0"/>
            </a:p>
          </p:txBody>
        </p:sp>
        <p:sp>
          <p:nvSpPr>
            <p:cNvPr id="10" name="Freeform 7">
              <a:extLst>
                <a:ext uri="{FF2B5EF4-FFF2-40B4-BE49-F238E27FC236}">
                  <a16:creationId xmlns:a16="http://schemas.microsoft.com/office/drawing/2014/main" id="{B038732F-5EB5-436D-B40F-847E37FC0954}"/>
                </a:ext>
              </a:extLst>
            </p:cNvPr>
            <p:cNvSpPr>
              <a:spLocks/>
            </p:cNvSpPr>
            <p:nvPr userDrawn="1"/>
          </p:nvSpPr>
          <p:spPr bwMode="auto">
            <a:xfrm>
              <a:off x="4361" y="1728"/>
              <a:ext cx="297" cy="464"/>
            </a:xfrm>
            <a:custGeom>
              <a:avLst/>
              <a:gdLst>
                <a:gd name="T0" fmla="*/ 132 w 157"/>
                <a:gd name="T1" fmla="*/ 0 h 245"/>
                <a:gd name="T2" fmla="*/ 127 w 157"/>
                <a:gd name="T3" fmla="*/ 3 h 245"/>
                <a:gd name="T4" fmla="*/ 127 w 157"/>
                <a:gd name="T5" fmla="*/ 3 h 245"/>
                <a:gd name="T6" fmla="*/ 79 w 157"/>
                <a:gd name="T7" fmla="*/ 128 h 245"/>
                <a:gd name="T8" fmla="*/ 30 w 157"/>
                <a:gd name="T9" fmla="*/ 4 h 245"/>
                <a:gd name="T10" fmla="*/ 25 w 157"/>
                <a:gd name="T11" fmla="*/ 0 h 245"/>
                <a:gd name="T12" fmla="*/ 4 w 157"/>
                <a:gd name="T13" fmla="*/ 0 h 245"/>
                <a:gd name="T14" fmla="*/ 0 w 157"/>
                <a:gd name="T15" fmla="*/ 3 h 245"/>
                <a:gd name="T16" fmla="*/ 1 w 157"/>
                <a:gd name="T17" fmla="*/ 6 h 245"/>
                <a:gd name="T18" fmla="*/ 1 w 157"/>
                <a:gd name="T19" fmla="*/ 6 h 245"/>
                <a:gd name="T20" fmla="*/ 1 w 157"/>
                <a:gd name="T21" fmla="*/ 6 h 245"/>
                <a:gd name="T22" fmla="*/ 64 w 157"/>
                <a:gd name="T23" fmla="*/ 168 h 245"/>
                <a:gd name="T24" fmla="*/ 59 w 157"/>
                <a:gd name="T25" fmla="*/ 182 h 245"/>
                <a:gd name="T26" fmla="*/ 48 w 157"/>
                <a:gd name="T27" fmla="*/ 205 h 245"/>
                <a:gd name="T28" fmla="*/ 38 w 157"/>
                <a:gd name="T29" fmla="*/ 215 h 245"/>
                <a:gd name="T30" fmla="*/ 30 w 157"/>
                <a:gd name="T31" fmla="*/ 217 h 245"/>
                <a:gd name="T32" fmla="*/ 26 w 157"/>
                <a:gd name="T33" fmla="*/ 216 h 245"/>
                <a:gd name="T34" fmla="*/ 14 w 157"/>
                <a:gd name="T35" fmla="*/ 213 h 245"/>
                <a:gd name="T36" fmla="*/ 7 w 157"/>
                <a:gd name="T37" fmla="*/ 210 h 245"/>
                <a:gd name="T38" fmla="*/ 3 w 157"/>
                <a:gd name="T39" fmla="*/ 215 h 245"/>
                <a:gd name="T40" fmla="*/ 3 w 157"/>
                <a:gd name="T41" fmla="*/ 233 h 245"/>
                <a:gd name="T42" fmla="*/ 3 w 157"/>
                <a:gd name="T43" fmla="*/ 233 h 245"/>
                <a:gd name="T44" fmla="*/ 7 w 157"/>
                <a:gd name="T45" fmla="*/ 240 h 245"/>
                <a:gd name="T46" fmla="*/ 32 w 157"/>
                <a:gd name="T47" fmla="*/ 245 h 245"/>
                <a:gd name="T48" fmla="*/ 54 w 157"/>
                <a:gd name="T49" fmla="*/ 238 h 245"/>
                <a:gd name="T50" fmla="*/ 73 w 157"/>
                <a:gd name="T51" fmla="*/ 220 h 245"/>
                <a:gd name="T52" fmla="*/ 79 w 157"/>
                <a:gd name="T53" fmla="*/ 208 h 245"/>
                <a:gd name="T54" fmla="*/ 156 w 157"/>
                <a:gd name="T55" fmla="*/ 6 h 245"/>
                <a:gd name="T56" fmla="*/ 157 w 157"/>
                <a:gd name="T57" fmla="*/ 3 h 245"/>
                <a:gd name="T58" fmla="*/ 153 w 157"/>
                <a:gd name="T59" fmla="*/ 0 h 245"/>
                <a:gd name="T60" fmla="*/ 132 w 157"/>
                <a:gd name="T6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7" h="245">
                  <a:moveTo>
                    <a:pt x="132" y="0"/>
                  </a:moveTo>
                  <a:cubicBezTo>
                    <a:pt x="129" y="0"/>
                    <a:pt x="128" y="1"/>
                    <a:pt x="127" y="3"/>
                  </a:cubicBezTo>
                  <a:cubicBezTo>
                    <a:pt x="127" y="3"/>
                    <a:pt x="127" y="3"/>
                    <a:pt x="127" y="3"/>
                  </a:cubicBezTo>
                  <a:cubicBezTo>
                    <a:pt x="79" y="128"/>
                    <a:pt x="79" y="128"/>
                    <a:pt x="79" y="128"/>
                  </a:cubicBezTo>
                  <a:cubicBezTo>
                    <a:pt x="30" y="4"/>
                    <a:pt x="30" y="4"/>
                    <a:pt x="30" y="4"/>
                  </a:cubicBezTo>
                  <a:cubicBezTo>
                    <a:pt x="29" y="1"/>
                    <a:pt x="28" y="0"/>
                    <a:pt x="25" y="0"/>
                  </a:cubicBezTo>
                  <a:cubicBezTo>
                    <a:pt x="4" y="0"/>
                    <a:pt x="4" y="0"/>
                    <a:pt x="4" y="0"/>
                  </a:cubicBezTo>
                  <a:cubicBezTo>
                    <a:pt x="2" y="0"/>
                    <a:pt x="0" y="1"/>
                    <a:pt x="0" y="3"/>
                  </a:cubicBezTo>
                  <a:cubicBezTo>
                    <a:pt x="0" y="4"/>
                    <a:pt x="1" y="5"/>
                    <a:pt x="1" y="6"/>
                  </a:cubicBezTo>
                  <a:cubicBezTo>
                    <a:pt x="1" y="6"/>
                    <a:pt x="1" y="6"/>
                    <a:pt x="1" y="6"/>
                  </a:cubicBezTo>
                  <a:cubicBezTo>
                    <a:pt x="1" y="6"/>
                    <a:pt x="1" y="6"/>
                    <a:pt x="1" y="6"/>
                  </a:cubicBezTo>
                  <a:cubicBezTo>
                    <a:pt x="64" y="168"/>
                    <a:pt x="64" y="168"/>
                    <a:pt x="64" y="168"/>
                  </a:cubicBezTo>
                  <a:cubicBezTo>
                    <a:pt x="59" y="182"/>
                    <a:pt x="59" y="182"/>
                    <a:pt x="59" y="182"/>
                  </a:cubicBezTo>
                  <a:cubicBezTo>
                    <a:pt x="57" y="187"/>
                    <a:pt x="53" y="199"/>
                    <a:pt x="48" y="205"/>
                  </a:cubicBezTo>
                  <a:cubicBezTo>
                    <a:pt x="44" y="211"/>
                    <a:pt x="42" y="213"/>
                    <a:pt x="38" y="215"/>
                  </a:cubicBezTo>
                  <a:cubicBezTo>
                    <a:pt x="35" y="216"/>
                    <a:pt x="33" y="217"/>
                    <a:pt x="30" y="217"/>
                  </a:cubicBezTo>
                  <a:cubicBezTo>
                    <a:pt x="28" y="217"/>
                    <a:pt x="27" y="217"/>
                    <a:pt x="26" y="216"/>
                  </a:cubicBezTo>
                  <a:cubicBezTo>
                    <a:pt x="22" y="216"/>
                    <a:pt x="18" y="214"/>
                    <a:pt x="14" y="213"/>
                  </a:cubicBezTo>
                  <a:cubicBezTo>
                    <a:pt x="11" y="212"/>
                    <a:pt x="9" y="210"/>
                    <a:pt x="7" y="210"/>
                  </a:cubicBezTo>
                  <a:cubicBezTo>
                    <a:pt x="5" y="210"/>
                    <a:pt x="3" y="212"/>
                    <a:pt x="3" y="215"/>
                  </a:cubicBezTo>
                  <a:cubicBezTo>
                    <a:pt x="3" y="233"/>
                    <a:pt x="3" y="233"/>
                    <a:pt x="3" y="233"/>
                  </a:cubicBezTo>
                  <a:cubicBezTo>
                    <a:pt x="3" y="233"/>
                    <a:pt x="3" y="233"/>
                    <a:pt x="3" y="233"/>
                  </a:cubicBezTo>
                  <a:cubicBezTo>
                    <a:pt x="3" y="236"/>
                    <a:pt x="4" y="238"/>
                    <a:pt x="7" y="240"/>
                  </a:cubicBezTo>
                  <a:cubicBezTo>
                    <a:pt x="15" y="243"/>
                    <a:pt x="21" y="245"/>
                    <a:pt x="32" y="245"/>
                  </a:cubicBezTo>
                  <a:cubicBezTo>
                    <a:pt x="41" y="244"/>
                    <a:pt x="47" y="242"/>
                    <a:pt x="54" y="238"/>
                  </a:cubicBezTo>
                  <a:cubicBezTo>
                    <a:pt x="61" y="233"/>
                    <a:pt x="67" y="227"/>
                    <a:pt x="73" y="220"/>
                  </a:cubicBezTo>
                  <a:cubicBezTo>
                    <a:pt x="75" y="216"/>
                    <a:pt x="77" y="212"/>
                    <a:pt x="79" y="208"/>
                  </a:cubicBezTo>
                  <a:cubicBezTo>
                    <a:pt x="83" y="200"/>
                    <a:pt x="144" y="40"/>
                    <a:pt x="156" y="6"/>
                  </a:cubicBezTo>
                  <a:cubicBezTo>
                    <a:pt x="157" y="5"/>
                    <a:pt x="157" y="4"/>
                    <a:pt x="157" y="3"/>
                  </a:cubicBezTo>
                  <a:cubicBezTo>
                    <a:pt x="157" y="1"/>
                    <a:pt x="155" y="0"/>
                    <a:pt x="153" y="0"/>
                  </a:cubicBezTo>
                  <a:lnTo>
                    <a:pt x="1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dirty="0"/>
            </a:p>
          </p:txBody>
        </p:sp>
        <p:sp>
          <p:nvSpPr>
            <p:cNvPr id="11" name="Freeform 8">
              <a:extLst>
                <a:ext uri="{FF2B5EF4-FFF2-40B4-BE49-F238E27FC236}">
                  <a16:creationId xmlns:a16="http://schemas.microsoft.com/office/drawing/2014/main" id="{B2C29C81-DF56-4D2E-89D6-7B7333393C3E}"/>
                </a:ext>
              </a:extLst>
            </p:cNvPr>
            <p:cNvSpPr>
              <a:spLocks/>
            </p:cNvSpPr>
            <p:nvPr userDrawn="1"/>
          </p:nvSpPr>
          <p:spPr bwMode="auto">
            <a:xfrm>
              <a:off x="3457" y="1726"/>
              <a:ext cx="263" cy="322"/>
            </a:xfrm>
            <a:custGeom>
              <a:avLst/>
              <a:gdLst>
                <a:gd name="T0" fmla="*/ 28 w 139"/>
                <a:gd name="T1" fmla="*/ 21 h 170"/>
                <a:gd name="T2" fmla="*/ 28 w 139"/>
                <a:gd name="T3" fmla="*/ 6 h 170"/>
                <a:gd name="T4" fmla="*/ 25 w 139"/>
                <a:gd name="T5" fmla="*/ 3 h 170"/>
                <a:gd name="T6" fmla="*/ 4 w 139"/>
                <a:gd name="T7" fmla="*/ 3 h 170"/>
                <a:gd name="T8" fmla="*/ 0 w 139"/>
                <a:gd name="T9" fmla="*/ 6 h 170"/>
                <a:gd name="T10" fmla="*/ 0 w 139"/>
                <a:gd name="T11" fmla="*/ 167 h 170"/>
                <a:gd name="T12" fmla="*/ 4 w 139"/>
                <a:gd name="T13" fmla="*/ 170 h 170"/>
                <a:gd name="T14" fmla="*/ 25 w 139"/>
                <a:gd name="T15" fmla="*/ 170 h 170"/>
                <a:gd name="T16" fmla="*/ 28 w 139"/>
                <a:gd name="T17" fmla="*/ 167 h 170"/>
                <a:gd name="T18" fmla="*/ 28 w 139"/>
                <a:gd name="T19" fmla="*/ 68 h 170"/>
                <a:gd name="T20" fmla="*/ 70 w 139"/>
                <a:gd name="T21" fmla="*/ 28 h 170"/>
                <a:gd name="T22" fmla="*/ 111 w 139"/>
                <a:gd name="T23" fmla="*/ 68 h 170"/>
                <a:gd name="T24" fmla="*/ 111 w 139"/>
                <a:gd name="T25" fmla="*/ 167 h 170"/>
                <a:gd name="T26" fmla="*/ 111 w 139"/>
                <a:gd name="T27" fmla="*/ 167 h 170"/>
                <a:gd name="T28" fmla="*/ 114 w 139"/>
                <a:gd name="T29" fmla="*/ 170 h 170"/>
                <a:gd name="T30" fmla="*/ 136 w 139"/>
                <a:gd name="T31" fmla="*/ 170 h 170"/>
                <a:gd name="T32" fmla="*/ 139 w 139"/>
                <a:gd name="T33" fmla="*/ 167 h 170"/>
                <a:gd name="T34" fmla="*/ 139 w 139"/>
                <a:gd name="T35" fmla="*/ 68 h 170"/>
                <a:gd name="T36" fmla="*/ 139 w 139"/>
                <a:gd name="T37" fmla="*/ 68 h 170"/>
                <a:gd name="T38" fmla="*/ 139 w 139"/>
                <a:gd name="T39" fmla="*/ 68 h 170"/>
                <a:gd name="T40" fmla="*/ 120 w 139"/>
                <a:gd name="T41" fmla="*/ 20 h 170"/>
                <a:gd name="T42" fmla="*/ 70 w 139"/>
                <a:gd name="T43" fmla="*/ 0 h 170"/>
                <a:gd name="T44" fmla="*/ 28 w 139"/>
                <a:gd name="T45" fmla="*/ 2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170">
                  <a:moveTo>
                    <a:pt x="28" y="21"/>
                  </a:moveTo>
                  <a:cubicBezTo>
                    <a:pt x="28" y="6"/>
                    <a:pt x="28" y="6"/>
                    <a:pt x="28" y="6"/>
                  </a:cubicBezTo>
                  <a:cubicBezTo>
                    <a:pt x="28" y="4"/>
                    <a:pt x="27" y="3"/>
                    <a:pt x="25" y="3"/>
                  </a:cubicBezTo>
                  <a:cubicBezTo>
                    <a:pt x="4" y="3"/>
                    <a:pt x="4" y="3"/>
                    <a:pt x="4" y="3"/>
                  </a:cubicBezTo>
                  <a:cubicBezTo>
                    <a:pt x="1" y="3"/>
                    <a:pt x="0" y="4"/>
                    <a:pt x="0" y="6"/>
                  </a:cubicBezTo>
                  <a:cubicBezTo>
                    <a:pt x="0" y="167"/>
                    <a:pt x="0" y="167"/>
                    <a:pt x="0" y="167"/>
                  </a:cubicBezTo>
                  <a:cubicBezTo>
                    <a:pt x="0" y="169"/>
                    <a:pt x="1" y="170"/>
                    <a:pt x="4" y="170"/>
                  </a:cubicBezTo>
                  <a:cubicBezTo>
                    <a:pt x="25" y="170"/>
                    <a:pt x="25" y="170"/>
                    <a:pt x="25" y="170"/>
                  </a:cubicBezTo>
                  <a:cubicBezTo>
                    <a:pt x="27" y="170"/>
                    <a:pt x="28" y="169"/>
                    <a:pt x="28" y="167"/>
                  </a:cubicBezTo>
                  <a:cubicBezTo>
                    <a:pt x="28" y="68"/>
                    <a:pt x="28" y="68"/>
                    <a:pt x="28" y="68"/>
                  </a:cubicBezTo>
                  <a:cubicBezTo>
                    <a:pt x="28" y="49"/>
                    <a:pt x="42" y="28"/>
                    <a:pt x="70" y="28"/>
                  </a:cubicBezTo>
                  <a:cubicBezTo>
                    <a:pt x="97" y="28"/>
                    <a:pt x="111" y="49"/>
                    <a:pt x="111" y="68"/>
                  </a:cubicBezTo>
                  <a:cubicBezTo>
                    <a:pt x="111" y="167"/>
                    <a:pt x="111" y="167"/>
                    <a:pt x="111" y="167"/>
                  </a:cubicBezTo>
                  <a:cubicBezTo>
                    <a:pt x="111" y="167"/>
                    <a:pt x="111" y="167"/>
                    <a:pt x="111" y="167"/>
                  </a:cubicBezTo>
                  <a:cubicBezTo>
                    <a:pt x="111" y="169"/>
                    <a:pt x="112" y="170"/>
                    <a:pt x="114" y="170"/>
                  </a:cubicBezTo>
                  <a:cubicBezTo>
                    <a:pt x="136" y="170"/>
                    <a:pt x="136" y="170"/>
                    <a:pt x="136" y="170"/>
                  </a:cubicBezTo>
                  <a:cubicBezTo>
                    <a:pt x="138" y="170"/>
                    <a:pt x="139" y="169"/>
                    <a:pt x="139" y="167"/>
                  </a:cubicBezTo>
                  <a:cubicBezTo>
                    <a:pt x="139" y="68"/>
                    <a:pt x="139" y="68"/>
                    <a:pt x="139" y="68"/>
                  </a:cubicBezTo>
                  <a:cubicBezTo>
                    <a:pt x="139" y="68"/>
                    <a:pt x="139" y="68"/>
                    <a:pt x="139" y="68"/>
                  </a:cubicBezTo>
                  <a:cubicBezTo>
                    <a:pt x="139" y="68"/>
                    <a:pt x="139" y="68"/>
                    <a:pt x="139" y="68"/>
                  </a:cubicBezTo>
                  <a:cubicBezTo>
                    <a:pt x="139" y="51"/>
                    <a:pt x="133" y="35"/>
                    <a:pt x="120" y="20"/>
                  </a:cubicBezTo>
                  <a:cubicBezTo>
                    <a:pt x="109" y="7"/>
                    <a:pt x="88" y="0"/>
                    <a:pt x="70" y="0"/>
                  </a:cubicBezTo>
                  <a:cubicBezTo>
                    <a:pt x="41" y="0"/>
                    <a:pt x="28" y="21"/>
                    <a:pt x="28"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dirty="0"/>
            </a:p>
          </p:txBody>
        </p:sp>
        <p:sp>
          <p:nvSpPr>
            <p:cNvPr id="12" name="Freeform 9">
              <a:extLst>
                <a:ext uri="{FF2B5EF4-FFF2-40B4-BE49-F238E27FC236}">
                  <a16:creationId xmlns:a16="http://schemas.microsoft.com/office/drawing/2014/main" id="{B38DB0D8-2A95-458B-BC03-75E42A03A8C8}"/>
                </a:ext>
              </a:extLst>
            </p:cNvPr>
            <p:cNvSpPr>
              <a:spLocks/>
            </p:cNvSpPr>
            <p:nvPr userDrawn="1"/>
          </p:nvSpPr>
          <p:spPr bwMode="auto">
            <a:xfrm>
              <a:off x="2264" y="1724"/>
              <a:ext cx="246" cy="328"/>
            </a:xfrm>
            <a:custGeom>
              <a:avLst/>
              <a:gdLst>
                <a:gd name="T0" fmla="*/ 4 w 130"/>
                <a:gd name="T1" fmla="*/ 48 h 173"/>
                <a:gd name="T2" fmla="*/ 56 w 130"/>
                <a:gd name="T3" fmla="*/ 97 h 173"/>
                <a:gd name="T4" fmla="*/ 57 w 130"/>
                <a:gd name="T5" fmla="*/ 98 h 173"/>
                <a:gd name="T6" fmla="*/ 101 w 130"/>
                <a:gd name="T7" fmla="*/ 124 h 173"/>
                <a:gd name="T8" fmla="*/ 66 w 130"/>
                <a:gd name="T9" fmla="*/ 146 h 173"/>
                <a:gd name="T10" fmla="*/ 30 w 130"/>
                <a:gd name="T11" fmla="*/ 118 h 173"/>
                <a:gd name="T12" fmla="*/ 26 w 130"/>
                <a:gd name="T13" fmla="*/ 114 h 173"/>
                <a:gd name="T14" fmla="*/ 5 w 130"/>
                <a:gd name="T15" fmla="*/ 114 h 173"/>
                <a:gd name="T16" fmla="*/ 0 w 130"/>
                <a:gd name="T17" fmla="*/ 118 h 173"/>
                <a:gd name="T18" fmla="*/ 65 w 130"/>
                <a:gd name="T19" fmla="*/ 173 h 173"/>
                <a:gd name="T20" fmla="*/ 130 w 130"/>
                <a:gd name="T21" fmla="*/ 120 h 173"/>
                <a:gd name="T22" fmla="*/ 72 w 130"/>
                <a:gd name="T23" fmla="*/ 74 h 173"/>
                <a:gd name="T24" fmla="*/ 32 w 130"/>
                <a:gd name="T25" fmla="*/ 48 h 173"/>
                <a:gd name="T26" fmla="*/ 63 w 130"/>
                <a:gd name="T27" fmla="*/ 27 h 173"/>
                <a:gd name="T28" fmla="*/ 97 w 130"/>
                <a:gd name="T29" fmla="*/ 49 h 173"/>
                <a:gd name="T30" fmla="*/ 102 w 130"/>
                <a:gd name="T31" fmla="*/ 53 h 173"/>
                <a:gd name="T32" fmla="*/ 120 w 130"/>
                <a:gd name="T33" fmla="*/ 53 h 173"/>
                <a:gd name="T34" fmla="*/ 125 w 130"/>
                <a:gd name="T35" fmla="*/ 48 h 173"/>
                <a:gd name="T36" fmla="*/ 63 w 130"/>
                <a:gd name="T37" fmla="*/ 0 h 173"/>
                <a:gd name="T38" fmla="*/ 4 w 130"/>
                <a:gd name="T39" fmla="*/ 4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173">
                  <a:moveTo>
                    <a:pt x="4" y="48"/>
                  </a:moveTo>
                  <a:cubicBezTo>
                    <a:pt x="4" y="77"/>
                    <a:pt x="19" y="91"/>
                    <a:pt x="56" y="97"/>
                  </a:cubicBezTo>
                  <a:cubicBezTo>
                    <a:pt x="57" y="98"/>
                    <a:pt x="57" y="98"/>
                    <a:pt x="57" y="98"/>
                  </a:cubicBezTo>
                  <a:cubicBezTo>
                    <a:pt x="83" y="102"/>
                    <a:pt x="101" y="105"/>
                    <a:pt x="101" y="124"/>
                  </a:cubicBezTo>
                  <a:cubicBezTo>
                    <a:pt x="101" y="139"/>
                    <a:pt x="83" y="146"/>
                    <a:pt x="66" y="146"/>
                  </a:cubicBezTo>
                  <a:cubicBezTo>
                    <a:pt x="46" y="146"/>
                    <a:pt x="33" y="136"/>
                    <a:pt x="30" y="118"/>
                  </a:cubicBezTo>
                  <a:cubicBezTo>
                    <a:pt x="30" y="116"/>
                    <a:pt x="29" y="114"/>
                    <a:pt x="26" y="114"/>
                  </a:cubicBezTo>
                  <a:cubicBezTo>
                    <a:pt x="5" y="114"/>
                    <a:pt x="5" y="114"/>
                    <a:pt x="5" y="114"/>
                  </a:cubicBezTo>
                  <a:cubicBezTo>
                    <a:pt x="2" y="114"/>
                    <a:pt x="0" y="116"/>
                    <a:pt x="0" y="118"/>
                  </a:cubicBezTo>
                  <a:cubicBezTo>
                    <a:pt x="0" y="150"/>
                    <a:pt x="27" y="173"/>
                    <a:pt x="65" y="173"/>
                  </a:cubicBezTo>
                  <a:cubicBezTo>
                    <a:pt x="104" y="173"/>
                    <a:pt x="130" y="151"/>
                    <a:pt x="130" y="120"/>
                  </a:cubicBezTo>
                  <a:cubicBezTo>
                    <a:pt x="130" y="86"/>
                    <a:pt x="100" y="79"/>
                    <a:pt x="72" y="74"/>
                  </a:cubicBezTo>
                  <a:cubicBezTo>
                    <a:pt x="37" y="68"/>
                    <a:pt x="32" y="58"/>
                    <a:pt x="32" y="48"/>
                  </a:cubicBezTo>
                  <a:cubicBezTo>
                    <a:pt x="32" y="32"/>
                    <a:pt x="49" y="27"/>
                    <a:pt x="63" y="27"/>
                  </a:cubicBezTo>
                  <a:cubicBezTo>
                    <a:pt x="82" y="27"/>
                    <a:pt x="94" y="34"/>
                    <a:pt x="97" y="49"/>
                  </a:cubicBezTo>
                  <a:cubicBezTo>
                    <a:pt x="98" y="51"/>
                    <a:pt x="98" y="53"/>
                    <a:pt x="102" y="53"/>
                  </a:cubicBezTo>
                  <a:cubicBezTo>
                    <a:pt x="120" y="53"/>
                    <a:pt x="120" y="53"/>
                    <a:pt x="120" y="53"/>
                  </a:cubicBezTo>
                  <a:cubicBezTo>
                    <a:pt x="123" y="53"/>
                    <a:pt x="125" y="51"/>
                    <a:pt x="125" y="48"/>
                  </a:cubicBezTo>
                  <a:cubicBezTo>
                    <a:pt x="125" y="19"/>
                    <a:pt x="100" y="0"/>
                    <a:pt x="63" y="0"/>
                  </a:cubicBezTo>
                  <a:cubicBezTo>
                    <a:pt x="22" y="0"/>
                    <a:pt x="4" y="25"/>
                    <a:pt x="4" y="4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dirty="0"/>
            </a:p>
          </p:txBody>
        </p:sp>
        <p:sp>
          <p:nvSpPr>
            <p:cNvPr id="13" name="Freeform 10">
              <a:extLst>
                <a:ext uri="{FF2B5EF4-FFF2-40B4-BE49-F238E27FC236}">
                  <a16:creationId xmlns:a16="http://schemas.microsoft.com/office/drawing/2014/main" id="{285FBA9D-B6C7-4BE7-90DC-3572BFC95303}"/>
                </a:ext>
              </a:extLst>
            </p:cNvPr>
            <p:cNvSpPr>
              <a:spLocks/>
            </p:cNvSpPr>
            <p:nvPr userDrawn="1"/>
          </p:nvSpPr>
          <p:spPr bwMode="auto">
            <a:xfrm>
              <a:off x="3062" y="1722"/>
              <a:ext cx="312" cy="474"/>
            </a:xfrm>
            <a:custGeom>
              <a:avLst/>
              <a:gdLst>
                <a:gd name="T0" fmla="*/ 67 w 165"/>
                <a:gd name="T1" fmla="*/ 0 h 250"/>
                <a:gd name="T2" fmla="*/ 0 w 165"/>
                <a:gd name="T3" fmla="*/ 86 h 250"/>
                <a:gd name="T4" fmla="*/ 82 w 165"/>
                <a:gd name="T5" fmla="*/ 174 h 250"/>
                <a:gd name="T6" fmla="*/ 137 w 165"/>
                <a:gd name="T7" fmla="*/ 152 h 250"/>
                <a:gd name="T8" fmla="*/ 137 w 165"/>
                <a:gd name="T9" fmla="*/ 173 h 250"/>
                <a:gd name="T10" fmla="*/ 89 w 165"/>
                <a:gd name="T11" fmla="*/ 222 h 250"/>
                <a:gd name="T12" fmla="*/ 48 w 165"/>
                <a:gd name="T13" fmla="*/ 194 h 250"/>
                <a:gd name="T14" fmla="*/ 43 w 165"/>
                <a:gd name="T15" fmla="*/ 190 h 250"/>
                <a:gd name="T16" fmla="*/ 24 w 165"/>
                <a:gd name="T17" fmla="*/ 190 h 250"/>
                <a:gd name="T18" fmla="*/ 19 w 165"/>
                <a:gd name="T19" fmla="*/ 195 h 250"/>
                <a:gd name="T20" fmla="*/ 89 w 165"/>
                <a:gd name="T21" fmla="*/ 250 h 250"/>
                <a:gd name="T22" fmla="*/ 165 w 165"/>
                <a:gd name="T23" fmla="*/ 174 h 250"/>
                <a:gd name="T24" fmla="*/ 165 w 165"/>
                <a:gd name="T25" fmla="*/ 7 h 250"/>
                <a:gd name="T26" fmla="*/ 162 w 165"/>
                <a:gd name="T27" fmla="*/ 4 h 250"/>
                <a:gd name="T28" fmla="*/ 140 w 165"/>
                <a:gd name="T29" fmla="*/ 4 h 250"/>
                <a:gd name="T30" fmla="*/ 137 w 165"/>
                <a:gd name="T31" fmla="*/ 7 h 250"/>
                <a:gd name="T32" fmla="*/ 137 w 165"/>
                <a:gd name="T33" fmla="*/ 21 h 250"/>
                <a:gd name="T34" fmla="*/ 99 w 165"/>
                <a:gd name="T35" fmla="*/ 0 h 250"/>
                <a:gd name="T36" fmla="*/ 96 w 165"/>
                <a:gd name="T37" fmla="*/ 3 h 250"/>
                <a:gd name="T38" fmla="*/ 96 w 165"/>
                <a:gd name="T39" fmla="*/ 28 h 250"/>
                <a:gd name="T40" fmla="*/ 97 w 165"/>
                <a:gd name="T41" fmla="*/ 31 h 250"/>
                <a:gd name="T42" fmla="*/ 138 w 165"/>
                <a:gd name="T43" fmla="*/ 87 h 250"/>
                <a:gd name="T44" fmla="*/ 83 w 165"/>
                <a:gd name="T45" fmla="*/ 146 h 250"/>
                <a:gd name="T46" fmla="*/ 29 w 165"/>
                <a:gd name="T47" fmla="*/ 87 h 250"/>
                <a:gd name="T48" fmla="*/ 68 w 165"/>
                <a:gd name="T49" fmla="*/ 31 h 250"/>
                <a:gd name="T50" fmla="*/ 70 w 165"/>
                <a:gd name="T51" fmla="*/ 29 h 250"/>
                <a:gd name="T52" fmla="*/ 70 w 165"/>
                <a:gd name="T53" fmla="*/ 3 h 250"/>
                <a:gd name="T54" fmla="*/ 67 w 165"/>
                <a:gd name="T55" fmla="*/ 0 h 250"/>
                <a:gd name="T56" fmla="*/ 67 w 165"/>
                <a:gd name="T57"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5" h="250">
                  <a:moveTo>
                    <a:pt x="67" y="0"/>
                  </a:moveTo>
                  <a:cubicBezTo>
                    <a:pt x="29" y="8"/>
                    <a:pt x="0" y="44"/>
                    <a:pt x="0" y="86"/>
                  </a:cubicBezTo>
                  <a:cubicBezTo>
                    <a:pt x="0" y="135"/>
                    <a:pt x="37" y="174"/>
                    <a:pt x="82" y="174"/>
                  </a:cubicBezTo>
                  <a:cubicBezTo>
                    <a:pt x="103" y="174"/>
                    <a:pt x="122" y="166"/>
                    <a:pt x="137" y="152"/>
                  </a:cubicBezTo>
                  <a:cubicBezTo>
                    <a:pt x="137" y="173"/>
                    <a:pt x="137" y="173"/>
                    <a:pt x="137" y="173"/>
                  </a:cubicBezTo>
                  <a:cubicBezTo>
                    <a:pt x="137" y="205"/>
                    <a:pt x="120" y="222"/>
                    <a:pt x="89" y="222"/>
                  </a:cubicBezTo>
                  <a:cubicBezTo>
                    <a:pt x="66" y="222"/>
                    <a:pt x="52" y="213"/>
                    <a:pt x="48" y="194"/>
                  </a:cubicBezTo>
                  <a:cubicBezTo>
                    <a:pt x="47" y="192"/>
                    <a:pt x="46" y="190"/>
                    <a:pt x="43" y="190"/>
                  </a:cubicBezTo>
                  <a:cubicBezTo>
                    <a:pt x="24" y="190"/>
                    <a:pt x="24" y="190"/>
                    <a:pt x="24" y="190"/>
                  </a:cubicBezTo>
                  <a:cubicBezTo>
                    <a:pt x="21" y="190"/>
                    <a:pt x="19" y="192"/>
                    <a:pt x="19" y="195"/>
                  </a:cubicBezTo>
                  <a:cubicBezTo>
                    <a:pt x="22" y="228"/>
                    <a:pt x="51" y="250"/>
                    <a:pt x="89" y="250"/>
                  </a:cubicBezTo>
                  <a:cubicBezTo>
                    <a:pt x="135" y="250"/>
                    <a:pt x="165" y="219"/>
                    <a:pt x="165" y="174"/>
                  </a:cubicBezTo>
                  <a:cubicBezTo>
                    <a:pt x="165" y="7"/>
                    <a:pt x="165" y="7"/>
                    <a:pt x="165" y="7"/>
                  </a:cubicBezTo>
                  <a:cubicBezTo>
                    <a:pt x="165" y="5"/>
                    <a:pt x="164" y="4"/>
                    <a:pt x="162" y="4"/>
                  </a:cubicBezTo>
                  <a:cubicBezTo>
                    <a:pt x="140" y="4"/>
                    <a:pt x="140" y="4"/>
                    <a:pt x="140" y="4"/>
                  </a:cubicBezTo>
                  <a:cubicBezTo>
                    <a:pt x="138" y="4"/>
                    <a:pt x="137" y="5"/>
                    <a:pt x="137" y="7"/>
                  </a:cubicBezTo>
                  <a:cubicBezTo>
                    <a:pt x="137" y="21"/>
                    <a:pt x="137" y="21"/>
                    <a:pt x="137" y="21"/>
                  </a:cubicBezTo>
                  <a:cubicBezTo>
                    <a:pt x="126" y="11"/>
                    <a:pt x="113" y="4"/>
                    <a:pt x="99" y="0"/>
                  </a:cubicBezTo>
                  <a:cubicBezTo>
                    <a:pt x="97" y="0"/>
                    <a:pt x="96" y="1"/>
                    <a:pt x="96" y="3"/>
                  </a:cubicBezTo>
                  <a:cubicBezTo>
                    <a:pt x="96" y="28"/>
                    <a:pt x="96" y="28"/>
                    <a:pt x="96" y="28"/>
                  </a:cubicBezTo>
                  <a:cubicBezTo>
                    <a:pt x="96" y="29"/>
                    <a:pt x="96" y="30"/>
                    <a:pt x="97" y="31"/>
                  </a:cubicBezTo>
                  <a:cubicBezTo>
                    <a:pt x="121" y="37"/>
                    <a:pt x="138" y="60"/>
                    <a:pt x="138" y="87"/>
                  </a:cubicBezTo>
                  <a:cubicBezTo>
                    <a:pt x="138" y="119"/>
                    <a:pt x="114" y="146"/>
                    <a:pt x="83" y="146"/>
                  </a:cubicBezTo>
                  <a:cubicBezTo>
                    <a:pt x="53" y="146"/>
                    <a:pt x="29" y="119"/>
                    <a:pt x="29" y="87"/>
                  </a:cubicBezTo>
                  <a:cubicBezTo>
                    <a:pt x="29" y="61"/>
                    <a:pt x="45" y="38"/>
                    <a:pt x="68" y="31"/>
                  </a:cubicBezTo>
                  <a:cubicBezTo>
                    <a:pt x="69" y="31"/>
                    <a:pt x="70" y="30"/>
                    <a:pt x="70" y="29"/>
                  </a:cubicBezTo>
                  <a:cubicBezTo>
                    <a:pt x="70" y="3"/>
                    <a:pt x="70" y="3"/>
                    <a:pt x="70" y="3"/>
                  </a:cubicBezTo>
                  <a:cubicBezTo>
                    <a:pt x="70" y="1"/>
                    <a:pt x="69" y="0"/>
                    <a:pt x="67" y="0"/>
                  </a:cubicBezTo>
                  <a:cubicBezTo>
                    <a:pt x="67" y="0"/>
                    <a:pt x="67" y="0"/>
                    <a:pt x="6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dirty="0"/>
            </a:p>
          </p:txBody>
        </p:sp>
        <p:sp>
          <p:nvSpPr>
            <p:cNvPr id="14" name="Oval 11">
              <a:extLst>
                <a:ext uri="{FF2B5EF4-FFF2-40B4-BE49-F238E27FC236}">
                  <a16:creationId xmlns:a16="http://schemas.microsoft.com/office/drawing/2014/main" id="{48DD9144-12C1-4B89-9F6D-92B4361D96B3}"/>
                </a:ext>
              </a:extLst>
            </p:cNvPr>
            <p:cNvSpPr>
              <a:spLocks noChangeArrowheads="1"/>
            </p:cNvSpPr>
            <p:nvPr userDrawn="1"/>
          </p:nvSpPr>
          <p:spPr bwMode="auto">
            <a:xfrm>
              <a:off x="284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dirty="0"/>
            </a:p>
          </p:txBody>
        </p:sp>
        <p:sp>
          <p:nvSpPr>
            <p:cNvPr id="15" name="Oval 12">
              <a:extLst>
                <a:ext uri="{FF2B5EF4-FFF2-40B4-BE49-F238E27FC236}">
                  <a16:creationId xmlns:a16="http://schemas.microsoft.com/office/drawing/2014/main" id="{01B98C09-7AAE-43C7-82DE-9DB278B02F42}"/>
                </a:ext>
              </a:extLst>
            </p:cNvPr>
            <p:cNvSpPr>
              <a:spLocks noChangeArrowheads="1"/>
            </p:cNvSpPr>
            <p:nvPr userDrawn="1"/>
          </p:nvSpPr>
          <p:spPr bwMode="auto">
            <a:xfrm>
              <a:off x="387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dirty="0"/>
            </a:p>
          </p:txBody>
        </p:sp>
        <p:sp>
          <p:nvSpPr>
            <p:cNvPr id="16" name="Freeform 13">
              <a:extLst>
                <a:ext uri="{FF2B5EF4-FFF2-40B4-BE49-F238E27FC236}">
                  <a16:creationId xmlns:a16="http://schemas.microsoft.com/office/drawing/2014/main" id="{DF4FD3F7-7AD2-4CA4-8D7C-34E6C136A5E6}"/>
                </a:ext>
              </a:extLst>
            </p:cNvPr>
            <p:cNvSpPr>
              <a:spLocks/>
            </p:cNvSpPr>
            <p:nvPr userDrawn="1"/>
          </p:nvSpPr>
          <p:spPr bwMode="auto">
            <a:xfrm>
              <a:off x="4062" y="1584"/>
              <a:ext cx="242" cy="462"/>
            </a:xfrm>
            <a:custGeom>
              <a:avLst/>
              <a:gdLst>
                <a:gd name="T0" fmla="*/ 39 w 128"/>
                <a:gd name="T1" fmla="*/ 55 h 244"/>
                <a:gd name="T2" fmla="*/ 39 w 128"/>
                <a:gd name="T3" fmla="*/ 76 h 244"/>
                <a:gd name="T4" fmla="*/ 4 w 128"/>
                <a:gd name="T5" fmla="*/ 76 h 244"/>
                <a:gd name="T6" fmla="*/ 0 w 128"/>
                <a:gd name="T7" fmla="*/ 81 h 244"/>
                <a:gd name="T8" fmla="*/ 0 w 128"/>
                <a:gd name="T9" fmla="*/ 99 h 244"/>
                <a:gd name="T10" fmla="*/ 4 w 128"/>
                <a:gd name="T11" fmla="*/ 103 h 244"/>
                <a:gd name="T12" fmla="*/ 39 w 128"/>
                <a:gd name="T13" fmla="*/ 103 h 244"/>
                <a:gd name="T14" fmla="*/ 39 w 128"/>
                <a:gd name="T15" fmla="*/ 239 h 244"/>
                <a:gd name="T16" fmla="*/ 44 w 128"/>
                <a:gd name="T17" fmla="*/ 244 h 244"/>
                <a:gd name="T18" fmla="*/ 62 w 128"/>
                <a:gd name="T19" fmla="*/ 244 h 244"/>
                <a:gd name="T20" fmla="*/ 67 w 128"/>
                <a:gd name="T21" fmla="*/ 239 h 244"/>
                <a:gd name="T22" fmla="*/ 67 w 128"/>
                <a:gd name="T23" fmla="*/ 103 h 244"/>
                <a:gd name="T24" fmla="*/ 120 w 128"/>
                <a:gd name="T25" fmla="*/ 103 h 244"/>
                <a:gd name="T26" fmla="*/ 125 w 128"/>
                <a:gd name="T27" fmla="*/ 99 h 244"/>
                <a:gd name="T28" fmla="*/ 125 w 128"/>
                <a:gd name="T29" fmla="*/ 81 h 244"/>
                <a:gd name="T30" fmla="*/ 120 w 128"/>
                <a:gd name="T31" fmla="*/ 76 h 244"/>
                <a:gd name="T32" fmla="*/ 67 w 128"/>
                <a:gd name="T33" fmla="*/ 76 h 244"/>
                <a:gd name="T34" fmla="*/ 67 w 128"/>
                <a:gd name="T35" fmla="*/ 55 h 244"/>
                <a:gd name="T36" fmla="*/ 91 w 128"/>
                <a:gd name="T37" fmla="*/ 27 h 244"/>
                <a:gd name="T38" fmla="*/ 122 w 128"/>
                <a:gd name="T39" fmla="*/ 37 h 244"/>
                <a:gd name="T40" fmla="*/ 125 w 128"/>
                <a:gd name="T41" fmla="*/ 38 h 244"/>
                <a:gd name="T42" fmla="*/ 128 w 128"/>
                <a:gd name="T43" fmla="*/ 33 h 244"/>
                <a:gd name="T44" fmla="*/ 128 w 128"/>
                <a:gd name="T45" fmla="*/ 16 h 244"/>
                <a:gd name="T46" fmla="*/ 125 w 128"/>
                <a:gd name="T47" fmla="*/ 9 h 244"/>
                <a:gd name="T48" fmla="*/ 89 w 128"/>
                <a:gd name="T49" fmla="*/ 0 h 244"/>
                <a:gd name="T50" fmla="*/ 39 w 128"/>
                <a:gd name="T51" fmla="*/ 5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244">
                  <a:moveTo>
                    <a:pt x="39" y="55"/>
                  </a:moveTo>
                  <a:cubicBezTo>
                    <a:pt x="39" y="76"/>
                    <a:pt x="39" y="76"/>
                    <a:pt x="39" y="76"/>
                  </a:cubicBezTo>
                  <a:cubicBezTo>
                    <a:pt x="4" y="76"/>
                    <a:pt x="4" y="76"/>
                    <a:pt x="4" y="76"/>
                  </a:cubicBezTo>
                  <a:cubicBezTo>
                    <a:pt x="1" y="76"/>
                    <a:pt x="0" y="78"/>
                    <a:pt x="0" y="81"/>
                  </a:cubicBezTo>
                  <a:cubicBezTo>
                    <a:pt x="0" y="99"/>
                    <a:pt x="0" y="99"/>
                    <a:pt x="0" y="99"/>
                  </a:cubicBezTo>
                  <a:cubicBezTo>
                    <a:pt x="0" y="102"/>
                    <a:pt x="1" y="103"/>
                    <a:pt x="4" y="103"/>
                  </a:cubicBezTo>
                  <a:cubicBezTo>
                    <a:pt x="39" y="103"/>
                    <a:pt x="39" y="103"/>
                    <a:pt x="39" y="103"/>
                  </a:cubicBezTo>
                  <a:cubicBezTo>
                    <a:pt x="39" y="239"/>
                    <a:pt x="39" y="239"/>
                    <a:pt x="39" y="239"/>
                  </a:cubicBezTo>
                  <a:cubicBezTo>
                    <a:pt x="39" y="242"/>
                    <a:pt x="41" y="244"/>
                    <a:pt x="44" y="244"/>
                  </a:cubicBezTo>
                  <a:cubicBezTo>
                    <a:pt x="62" y="244"/>
                    <a:pt x="62" y="244"/>
                    <a:pt x="62" y="244"/>
                  </a:cubicBezTo>
                  <a:cubicBezTo>
                    <a:pt x="65" y="244"/>
                    <a:pt x="67" y="242"/>
                    <a:pt x="67" y="239"/>
                  </a:cubicBezTo>
                  <a:cubicBezTo>
                    <a:pt x="67" y="103"/>
                    <a:pt x="67" y="103"/>
                    <a:pt x="67" y="103"/>
                  </a:cubicBezTo>
                  <a:cubicBezTo>
                    <a:pt x="120" y="103"/>
                    <a:pt x="120" y="103"/>
                    <a:pt x="120" y="103"/>
                  </a:cubicBezTo>
                  <a:cubicBezTo>
                    <a:pt x="123" y="103"/>
                    <a:pt x="125" y="102"/>
                    <a:pt x="125" y="99"/>
                  </a:cubicBezTo>
                  <a:cubicBezTo>
                    <a:pt x="125" y="81"/>
                    <a:pt x="125" y="81"/>
                    <a:pt x="125" y="81"/>
                  </a:cubicBezTo>
                  <a:cubicBezTo>
                    <a:pt x="125" y="78"/>
                    <a:pt x="123" y="76"/>
                    <a:pt x="120" y="76"/>
                  </a:cubicBezTo>
                  <a:cubicBezTo>
                    <a:pt x="67" y="76"/>
                    <a:pt x="67" y="76"/>
                    <a:pt x="67" y="76"/>
                  </a:cubicBezTo>
                  <a:cubicBezTo>
                    <a:pt x="67" y="55"/>
                    <a:pt x="67" y="55"/>
                    <a:pt x="67" y="55"/>
                  </a:cubicBezTo>
                  <a:cubicBezTo>
                    <a:pt x="67" y="38"/>
                    <a:pt x="76" y="27"/>
                    <a:pt x="91" y="27"/>
                  </a:cubicBezTo>
                  <a:cubicBezTo>
                    <a:pt x="102" y="27"/>
                    <a:pt x="110" y="30"/>
                    <a:pt x="122" y="37"/>
                  </a:cubicBezTo>
                  <a:cubicBezTo>
                    <a:pt x="123" y="38"/>
                    <a:pt x="124" y="38"/>
                    <a:pt x="125" y="38"/>
                  </a:cubicBezTo>
                  <a:cubicBezTo>
                    <a:pt x="127" y="38"/>
                    <a:pt x="128" y="36"/>
                    <a:pt x="128" y="33"/>
                  </a:cubicBezTo>
                  <a:cubicBezTo>
                    <a:pt x="128" y="16"/>
                    <a:pt x="128" y="16"/>
                    <a:pt x="128" y="16"/>
                  </a:cubicBezTo>
                  <a:cubicBezTo>
                    <a:pt x="128" y="13"/>
                    <a:pt x="128" y="11"/>
                    <a:pt x="125" y="9"/>
                  </a:cubicBezTo>
                  <a:cubicBezTo>
                    <a:pt x="114" y="3"/>
                    <a:pt x="103" y="0"/>
                    <a:pt x="89" y="0"/>
                  </a:cubicBezTo>
                  <a:cubicBezTo>
                    <a:pt x="54" y="0"/>
                    <a:pt x="39" y="29"/>
                    <a:pt x="39"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dirty="0"/>
            </a:p>
          </p:txBody>
        </p:sp>
        <p:sp>
          <p:nvSpPr>
            <p:cNvPr id="17" name="Freeform 14">
              <a:extLst>
                <a:ext uri="{FF2B5EF4-FFF2-40B4-BE49-F238E27FC236}">
                  <a16:creationId xmlns:a16="http://schemas.microsoft.com/office/drawing/2014/main" id="{E3F74A4C-3F35-49ED-8FDB-98270CD3D01E}"/>
                </a:ext>
              </a:extLst>
            </p:cNvPr>
            <p:cNvSpPr>
              <a:spLocks/>
            </p:cNvSpPr>
            <p:nvPr userDrawn="1"/>
          </p:nvSpPr>
          <p:spPr bwMode="auto">
            <a:xfrm>
              <a:off x="2071" y="1578"/>
              <a:ext cx="632" cy="631"/>
            </a:xfrm>
            <a:custGeom>
              <a:avLst/>
              <a:gdLst>
                <a:gd name="T0" fmla="*/ 181 w 334"/>
                <a:gd name="T1" fmla="*/ 1 h 333"/>
                <a:gd name="T2" fmla="*/ 180 w 334"/>
                <a:gd name="T3" fmla="*/ 4 h 333"/>
                <a:gd name="T4" fmla="*/ 180 w 334"/>
                <a:gd name="T5" fmla="*/ 26 h 333"/>
                <a:gd name="T6" fmla="*/ 180 w 334"/>
                <a:gd name="T7" fmla="*/ 26 h 333"/>
                <a:gd name="T8" fmla="*/ 182 w 334"/>
                <a:gd name="T9" fmla="*/ 28 h 333"/>
                <a:gd name="T10" fmla="*/ 306 w 334"/>
                <a:gd name="T11" fmla="*/ 166 h 333"/>
                <a:gd name="T12" fmla="*/ 167 w 334"/>
                <a:gd name="T13" fmla="*/ 305 h 333"/>
                <a:gd name="T14" fmla="*/ 28 w 334"/>
                <a:gd name="T15" fmla="*/ 166 h 333"/>
                <a:gd name="T16" fmla="*/ 152 w 334"/>
                <a:gd name="T17" fmla="*/ 28 h 333"/>
                <a:gd name="T18" fmla="*/ 154 w 334"/>
                <a:gd name="T19" fmla="*/ 26 h 333"/>
                <a:gd name="T20" fmla="*/ 154 w 334"/>
                <a:gd name="T21" fmla="*/ 26 h 333"/>
                <a:gd name="T22" fmla="*/ 154 w 334"/>
                <a:gd name="T23" fmla="*/ 4 h 333"/>
                <a:gd name="T24" fmla="*/ 153 w 334"/>
                <a:gd name="T25" fmla="*/ 1 h 333"/>
                <a:gd name="T26" fmla="*/ 150 w 334"/>
                <a:gd name="T27" fmla="*/ 0 h 333"/>
                <a:gd name="T28" fmla="*/ 149 w 334"/>
                <a:gd name="T29" fmla="*/ 0 h 333"/>
                <a:gd name="T30" fmla="*/ 149 w 334"/>
                <a:gd name="T31" fmla="*/ 0 h 333"/>
                <a:gd name="T32" fmla="*/ 0 w 334"/>
                <a:gd name="T33" fmla="*/ 166 h 333"/>
                <a:gd name="T34" fmla="*/ 167 w 334"/>
                <a:gd name="T35" fmla="*/ 333 h 333"/>
                <a:gd name="T36" fmla="*/ 334 w 334"/>
                <a:gd name="T37" fmla="*/ 166 h 333"/>
                <a:gd name="T38" fmla="*/ 185 w 334"/>
                <a:gd name="T39" fmla="*/ 0 h 333"/>
                <a:gd name="T40" fmla="*/ 185 w 334"/>
                <a:gd name="T41" fmla="*/ 0 h 333"/>
                <a:gd name="T42" fmla="*/ 184 w 334"/>
                <a:gd name="T43" fmla="*/ 0 h 333"/>
                <a:gd name="T44" fmla="*/ 181 w 334"/>
                <a:gd name="T45" fmla="*/ 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4" h="333">
                  <a:moveTo>
                    <a:pt x="181" y="1"/>
                  </a:moveTo>
                  <a:cubicBezTo>
                    <a:pt x="180" y="2"/>
                    <a:pt x="180" y="3"/>
                    <a:pt x="180" y="4"/>
                  </a:cubicBezTo>
                  <a:cubicBezTo>
                    <a:pt x="180" y="26"/>
                    <a:pt x="180" y="26"/>
                    <a:pt x="180" y="26"/>
                  </a:cubicBezTo>
                  <a:cubicBezTo>
                    <a:pt x="180" y="26"/>
                    <a:pt x="180" y="26"/>
                    <a:pt x="180" y="26"/>
                  </a:cubicBezTo>
                  <a:cubicBezTo>
                    <a:pt x="180" y="27"/>
                    <a:pt x="181" y="28"/>
                    <a:pt x="182" y="28"/>
                  </a:cubicBezTo>
                  <a:cubicBezTo>
                    <a:pt x="251" y="35"/>
                    <a:pt x="306" y="94"/>
                    <a:pt x="306" y="166"/>
                  </a:cubicBezTo>
                  <a:cubicBezTo>
                    <a:pt x="306" y="243"/>
                    <a:pt x="244" y="305"/>
                    <a:pt x="167" y="305"/>
                  </a:cubicBezTo>
                  <a:cubicBezTo>
                    <a:pt x="90" y="305"/>
                    <a:pt x="28" y="243"/>
                    <a:pt x="28" y="166"/>
                  </a:cubicBezTo>
                  <a:cubicBezTo>
                    <a:pt x="28" y="94"/>
                    <a:pt x="82" y="35"/>
                    <a:pt x="152" y="28"/>
                  </a:cubicBezTo>
                  <a:cubicBezTo>
                    <a:pt x="153" y="28"/>
                    <a:pt x="154" y="27"/>
                    <a:pt x="154" y="26"/>
                  </a:cubicBezTo>
                  <a:cubicBezTo>
                    <a:pt x="154" y="26"/>
                    <a:pt x="154" y="26"/>
                    <a:pt x="154" y="26"/>
                  </a:cubicBezTo>
                  <a:cubicBezTo>
                    <a:pt x="154" y="4"/>
                    <a:pt x="154" y="4"/>
                    <a:pt x="154" y="4"/>
                  </a:cubicBezTo>
                  <a:cubicBezTo>
                    <a:pt x="154" y="3"/>
                    <a:pt x="154" y="2"/>
                    <a:pt x="153" y="1"/>
                  </a:cubicBezTo>
                  <a:cubicBezTo>
                    <a:pt x="152" y="0"/>
                    <a:pt x="151" y="0"/>
                    <a:pt x="150" y="0"/>
                  </a:cubicBezTo>
                  <a:cubicBezTo>
                    <a:pt x="149" y="0"/>
                    <a:pt x="149" y="0"/>
                    <a:pt x="149" y="0"/>
                  </a:cubicBezTo>
                  <a:cubicBezTo>
                    <a:pt x="149" y="0"/>
                    <a:pt x="149" y="0"/>
                    <a:pt x="149" y="0"/>
                  </a:cubicBezTo>
                  <a:cubicBezTo>
                    <a:pt x="65" y="9"/>
                    <a:pt x="0" y="80"/>
                    <a:pt x="0" y="166"/>
                  </a:cubicBezTo>
                  <a:cubicBezTo>
                    <a:pt x="0" y="258"/>
                    <a:pt x="75" y="333"/>
                    <a:pt x="167" y="333"/>
                  </a:cubicBezTo>
                  <a:cubicBezTo>
                    <a:pt x="259" y="333"/>
                    <a:pt x="334" y="258"/>
                    <a:pt x="334" y="166"/>
                  </a:cubicBezTo>
                  <a:cubicBezTo>
                    <a:pt x="334" y="80"/>
                    <a:pt x="269" y="9"/>
                    <a:pt x="185" y="0"/>
                  </a:cubicBezTo>
                  <a:cubicBezTo>
                    <a:pt x="185" y="0"/>
                    <a:pt x="185" y="0"/>
                    <a:pt x="185" y="0"/>
                  </a:cubicBezTo>
                  <a:cubicBezTo>
                    <a:pt x="185" y="0"/>
                    <a:pt x="184" y="0"/>
                    <a:pt x="184" y="0"/>
                  </a:cubicBezTo>
                  <a:cubicBezTo>
                    <a:pt x="183" y="0"/>
                    <a:pt x="182" y="0"/>
                    <a:pt x="18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dirty="0"/>
            </a:p>
          </p:txBody>
        </p:sp>
      </p:grpSp>
    </p:spTree>
    <p:extLst>
      <p:ext uri="{BB962C8B-B14F-4D97-AF65-F5344CB8AC3E}">
        <p14:creationId xmlns:p14="http://schemas.microsoft.com/office/powerpoint/2010/main" val="3006177305"/>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type="title" preserve="1">
  <p:cSld name="Title Slide Dark">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806139"/>
            <a:ext cx="9144000" cy="3245724"/>
          </a:xfrm>
        </p:spPr>
        <p:txBody>
          <a:bodyPr anchor="ctr"/>
          <a:lstStyle>
            <a:lvl1pPr algn="ctr">
              <a:defRPr sz="4000">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524000" y="5714325"/>
            <a:ext cx="9144000" cy="453754"/>
          </a:xfrm>
        </p:spPr>
        <p:txBody>
          <a:bodyPr/>
          <a:lstStyle>
            <a:lvl1pPr marL="0" indent="0" algn="ctr">
              <a:buNone/>
              <a:defRPr sz="2399">
                <a:solidFill>
                  <a:schemeClr val="accent3"/>
                </a:solidFill>
              </a:defRPr>
            </a:lvl1pPr>
            <a:lvl2pPr marL="456963" indent="0" algn="ctr">
              <a:buNone/>
              <a:defRPr sz="1999"/>
            </a:lvl2pPr>
            <a:lvl3pPr marL="913923" indent="0" algn="ctr">
              <a:buNone/>
              <a:defRPr sz="1799"/>
            </a:lvl3pPr>
            <a:lvl4pPr marL="1370889" indent="0" algn="ctr">
              <a:buNone/>
              <a:defRPr sz="1599"/>
            </a:lvl4pPr>
            <a:lvl5pPr marL="1827852" indent="0" algn="ctr">
              <a:buNone/>
              <a:defRPr sz="1599"/>
            </a:lvl5pPr>
            <a:lvl6pPr marL="2284812" indent="0" algn="ctr">
              <a:buNone/>
              <a:defRPr sz="1599"/>
            </a:lvl6pPr>
            <a:lvl7pPr marL="2741775" indent="0" algn="ctr">
              <a:buNone/>
              <a:defRPr sz="1599"/>
            </a:lvl7pPr>
            <a:lvl8pPr marL="3198740" indent="0" algn="ctr">
              <a:buNone/>
              <a:defRPr sz="1599"/>
            </a:lvl8pPr>
            <a:lvl9pPr marL="3655703" indent="0" algn="ctr">
              <a:buNone/>
              <a:defRPr sz="1599"/>
            </a:lvl9pPr>
          </a:lstStyle>
          <a:p>
            <a:r>
              <a:rPr lang="en-US"/>
              <a:t>Click to edit Master subtitle style</a:t>
            </a:r>
            <a:endParaRPr lang="en-US" dirty="0"/>
          </a:p>
        </p:txBody>
      </p:sp>
      <p:grpSp>
        <p:nvGrpSpPr>
          <p:cNvPr id="7" name="Group 4">
            <a:extLst>
              <a:ext uri="{FF2B5EF4-FFF2-40B4-BE49-F238E27FC236}">
                <a16:creationId xmlns:a16="http://schemas.microsoft.com/office/drawing/2014/main" id="{70F54715-A93F-4896-93D9-0F87EC2FA633}"/>
              </a:ext>
            </a:extLst>
          </p:cNvPr>
          <p:cNvGrpSpPr>
            <a:grpSpLocks noChangeAspect="1"/>
          </p:cNvGrpSpPr>
          <p:nvPr userDrawn="1"/>
        </p:nvGrpSpPr>
        <p:grpSpPr bwMode="auto">
          <a:xfrm>
            <a:off x="4699200" y="689925"/>
            <a:ext cx="2793600" cy="681042"/>
            <a:chOff x="2071" y="1578"/>
            <a:chExt cx="2587" cy="631"/>
          </a:xfrm>
          <a:gradFill>
            <a:gsLst>
              <a:gs pos="50000">
                <a:srgbClr val="00E487"/>
              </a:gs>
              <a:gs pos="100000">
                <a:srgbClr val="1ECBD0"/>
              </a:gs>
            </a:gsLst>
            <a:lin ang="18900000" scaled="0"/>
          </a:gradFill>
        </p:grpSpPr>
        <p:sp>
          <p:nvSpPr>
            <p:cNvPr id="8" name="Freeform 5">
              <a:extLst>
                <a:ext uri="{FF2B5EF4-FFF2-40B4-BE49-F238E27FC236}">
                  <a16:creationId xmlns:a16="http://schemas.microsoft.com/office/drawing/2014/main" id="{846B7DFA-C5E8-4F62-AD8D-4DEE7917FD7D}"/>
                </a:ext>
              </a:extLst>
            </p:cNvPr>
            <p:cNvSpPr>
              <a:spLocks/>
            </p:cNvSpPr>
            <p:nvPr userDrawn="1"/>
          </p:nvSpPr>
          <p:spPr bwMode="auto">
            <a:xfrm>
              <a:off x="2765" y="1728"/>
              <a:ext cx="244" cy="318"/>
            </a:xfrm>
            <a:custGeom>
              <a:avLst/>
              <a:gdLst>
                <a:gd name="T0" fmla="*/ 12 w 129"/>
                <a:gd name="T1" fmla="*/ 0 h 168"/>
                <a:gd name="T2" fmla="*/ 8 w 129"/>
                <a:gd name="T3" fmla="*/ 4 h 168"/>
                <a:gd name="T4" fmla="*/ 8 w 129"/>
                <a:gd name="T5" fmla="*/ 25 h 168"/>
                <a:gd name="T6" fmla="*/ 12 w 129"/>
                <a:gd name="T7" fmla="*/ 29 h 168"/>
                <a:gd name="T8" fmla="*/ 48 w 129"/>
                <a:gd name="T9" fmla="*/ 29 h 168"/>
                <a:gd name="T10" fmla="*/ 48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2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2" y="0"/>
                  </a:moveTo>
                  <a:cubicBezTo>
                    <a:pt x="9" y="0"/>
                    <a:pt x="8" y="1"/>
                    <a:pt x="8" y="4"/>
                  </a:cubicBezTo>
                  <a:cubicBezTo>
                    <a:pt x="8" y="25"/>
                    <a:pt x="8" y="25"/>
                    <a:pt x="8" y="25"/>
                  </a:cubicBezTo>
                  <a:cubicBezTo>
                    <a:pt x="8" y="27"/>
                    <a:pt x="9" y="29"/>
                    <a:pt x="12" y="29"/>
                  </a:cubicBezTo>
                  <a:cubicBezTo>
                    <a:pt x="48" y="29"/>
                    <a:pt x="48" y="29"/>
                    <a:pt x="48" y="29"/>
                  </a:cubicBezTo>
                  <a:cubicBezTo>
                    <a:pt x="48" y="140"/>
                    <a:pt x="48" y="140"/>
                    <a:pt x="48"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8" y="140"/>
                    <a:pt x="125" y="140"/>
                  </a:cubicBezTo>
                  <a:cubicBezTo>
                    <a:pt x="76" y="140"/>
                    <a:pt x="76" y="140"/>
                    <a:pt x="76" y="140"/>
                  </a:cubicBezTo>
                  <a:cubicBezTo>
                    <a:pt x="76" y="4"/>
                    <a:pt x="76" y="4"/>
                    <a:pt x="76" y="4"/>
                  </a:cubicBezTo>
                  <a:cubicBezTo>
                    <a:pt x="76" y="1"/>
                    <a:pt x="75" y="0"/>
                    <a:pt x="72" y="0"/>
                  </a:cubicBez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dirty="0"/>
            </a:p>
          </p:txBody>
        </p:sp>
        <p:sp>
          <p:nvSpPr>
            <p:cNvPr id="9" name="Freeform 6">
              <a:extLst>
                <a:ext uri="{FF2B5EF4-FFF2-40B4-BE49-F238E27FC236}">
                  <a16:creationId xmlns:a16="http://schemas.microsoft.com/office/drawing/2014/main" id="{6ABD64B8-C9CA-4D12-BB30-52ABBBA59E99}"/>
                </a:ext>
              </a:extLst>
            </p:cNvPr>
            <p:cNvSpPr>
              <a:spLocks/>
            </p:cNvSpPr>
            <p:nvPr userDrawn="1"/>
          </p:nvSpPr>
          <p:spPr bwMode="auto">
            <a:xfrm>
              <a:off x="3798" y="1728"/>
              <a:ext cx="244" cy="318"/>
            </a:xfrm>
            <a:custGeom>
              <a:avLst/>
              <a:gdLst>
                <a:gd name="T0" fmla="*/ 11 w 129"/>
                <a:gd name="T1" fmla="*/ 0 h 168"/>
                <a:gd name="T2" fmla="*/ 8 w 129"/>
                <a:gd name="T3" fmla="*/ 4 h 168"/>
                <a:gd name="T4" fmla="*/ 8 w 129"/>
                <a:gd name="T5" fmla="*/ 25 h 168"/>
                <a:gd name="T6" fmla="*/ 11 w 129"/>
                <a:gd name="T7" fmla="*/ 29 h 168"/>
                <a:gd name="T8" fmla="*/ 47 w 129"/>
                <a:gd name="T9" fmla="*/ 29 h 168"/>
                <a:gd name="T10" fmla="*/ 47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1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1" y="0"/>
                  </a:moveTo>
                  <a:cubicBezTo>
                    <a:pt x="9" y="0"/>
                    <a:pt x="8" y="1"/>
                    <a:pt x="8" y="4"/>
                  </a:cubicBezTo>
                  <a:cubicBezTo>
                    <a:pt x="8" y="25"/>
                    <a:pt x="8" y="25"/>
                    <a:pt x="8" y="25"/>
                  </a:cubicBezTo>
                  <a:cubicBezTo>
                    <a:pt x="8" y="27"/>
                    <a:pt x="9" y="29"/>
                    <a:pt x="11" y="29"/>
                  </a:cubicBezTo>
                  <a:cubicBezTo>
                    <a:pt x="47" y="29"/>
                    <a:pt x="47" y="29"/>
                    <a:pt x="47" y="29"/>
                  </a:cubicBezTo>
                  <a:cubicBezTo>
                    <a:pt x="47" y="140"/>
                    <a:pt x="47" y="140"/>
                    <a:pt x="47"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7" y="140"/>
                    <a:pt x="125" y="140"/>
                  </a:cubicBezTo>
                  <a:cubicBezTo>
                    <a:pt x="76" y="140"/>
                    <a:pt x="76" y="140"/>
                    <a:pt x="76" y="140"/>
                  </a:cubicBezTo>
                  <a:cubicBezTo>
                    <a:pt x="76" y="4"/>
                    <a:pt x="76" y="4"/>
                    <a:pt x="76" y="4"/>
                  </a:cubicBezTo>
                  <a:cubicBezTo>
                    <a:pt x="75" y="1"/>
                    <a:pt x="74" y="0"/>
                    <a:pt x="72" y="0"/>
                  </a:cubicBez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dirty="0"/>
            </a:p>
          </p:txBody>
        </p:sp>
        <p:sp>
          <p:nvSpPr>
            <p:cNvPr id="10" name="Freeform 7">
              <a:extLst>
                <a:ext uri="{FF2B5EF4-FFF2-40B4-BE49-F238E27FC236}">
                  <a16:creationId xmlns:a16="http://schemas.microsoft.com/office/drawing/2014/main" id="{B038732F-5EB5-436D-B40F-847E37FC0954}"/>
                </a:ext>
              </a:extLst>
            </p:cNvPr>
            <p:cNvSpPr>
              <a:spLocks/>
            </p:cNvSpPr>
            <p:nvPr userDrawn="1"/>
          </p:nvSpPr>
          <p:spPr bwMode="auto">
            <a:xfrm>
              <a:off x="4361" y="1728"/>
              <a:ext cx="297" cy="464"/>
            </a:xfrm>
            <a:custGeom>
              <a:avLst/>
              <a:gdLst>
                <a:gd name="T0" fmla="*/ 132 w 157"/>
                <a:gd name="T1" fmla="*/ 0 h 245"/>
                <a:gd name="T2" fmla="*/ 127 w 157"/>
                <a:gd name="T3" fmla="*/ 3 h 245"/>
                <a:gd name="T4" fmla="*/ 127 w 157"/>
                <a:gd name="T5" fmla="*/ 3 h 245"/>
                <a:gd name="T6" fmla="*/ 79 w 157"/>
                <a:gd name="T7" fmla="*/ 128 h 245"/>
                <a:gd name="T8" fmla="*/ 30 w 157"/>
                <a:gd name="T9" fmla="*/ 4 h 245"/>
                <a:gd name="T10" fmla="*/ 25 w 157"/>
                <a:gd name="T11" fmla="*/ 0 h 245"/>
                <a:gd name="T12" fmla="*/ 4 w 157"/>
                <a:gd name="T13" fmla="*/ 0 h 245"/>
                <a:gd name="T14" fmla="*/ 0 w 157"/>
                <a:gd name="T15" fmla="*/ 3 h 245"/>
                <a:gd name="T16" fmla="*/ 1 w 157"/>
                <a:gd name="T17" fmla="*/ 6 h 245"/>
                <a:gd name="T18" fmla="*/ 1 w 157"/>
                <a:gd name="T19" fmla="*/ 6 h 245"/>
                <a:gd name="T20" fmla="*/ 1 w 157"/>
                <a:gd name="T21" fmla="*/ 6 h 245"/>
                <a:gd name="T22" fmla="*/ 64 w 157"/>
                <a:gd name="T23" fmla="*/ 168 h 245"/>
                <a:gd name="T24" fmla="*/ 59 w 157"/>
                <a:gd name="T25" fmla="*/ 182 h 245"/>
                <a:gd name="T26" fmla="*/ 48 w 157"/>
                <a:gd name="T27" fmla="*/ 205 h 245"/>
                <a:gd name="T28" fmla="*/ 38 w 157"/>
                <a:gd name="T29" fmla="*/ 215 h 245"/>
                <a:gd name="T30" fmla="*/ 30 w 157"/>
                <a:gd name="T31" fmla="*/ 217 h 245"/>
                <a:gd name="T32" fmla="*/ 26 w 157"/>
                <a:gd name="T33" fmla="*/ 216 h 245"/>
                <a:gd name="T34" fmla="*/ 14 w 157"/>
                <a:gd name="T35" fmla="*/ 213 h 245"/>
                <a:gd name="T36" fmla="*/ 7 w 157"/>
                <a:gd name="T37" fmla="*/ 210 h 245"/>
                <a:gd name="T38" fmla="*/ 3 w 157"/>
                <a:gd name="T39" fmla="*/ 215 h 245"/>
                <a:gd name="T40" fmla="*/ 3 w 157"/>
                <a:gd name="T41" fmla="*/ 233 h 245"/>
                <a:gd name="T42" fmla="*/ 3 w 157"/>
                <a:gd name="T43" fmla="*/ 233 h 245"/>
                <a:gd name="T44" fmla="*/ 7 w 157"/>
                <a:gd name="T45" fmla="*/ 240 h 245"/>
                <a:gd name="T46" fmla="*/ 32 w 157"/>
                <a:gd name="T47" fmla="*/ 245 h 245"/>
                <a:gd name="T48" fmla="*/ 54 w 157"/>
                <a:gd name="T49" fmla="*/ 238 h 245"/>
                <a:gd name="T50" fmla="*/ 73 w 157"/>
                <a:gd name="T51" fmla="*/ 220 h 245"/>
                <a:gd name="T52" fmla="*/ 79 w 157"/>
                <a:gd name="T53" fmla="*/ 208 h 245"/>
                <a:gd name="T54" fmla="*/ 156 w 157"/>
                <a:gd name="T55" fmla="*/ 6 h 245"/>
                <a:gd name="T56" fmla="*/ 157 w 157"/>
                <a:gd name="T57" fmla="*/ 3 h 245"/>
                <a:gd name="T58" fmla="*/ 153 w 157"/>
                <a:gd name="T59" fmla="*/ 0 h 245"/>
                <a:gd name="T60" fmla="*/ 132 w 157"/>
                <a:gd name="T6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7" h="245">
                  <a:moveTo>
                    <a:pt x="132" y="0"/>
                  </a:moveTo>
                  <a:cubicBezTo>
                    <a:pt x="129" y="0"/>
                    <a:pt x="128" y="1"/>
                    <a:pt x="127" y="3"/>
                  </a:cubicBezTo>
                  <a:cubicBezTo>
                    <a:pt x="127" y="3"/>
                    <a:pt x="127" y="3"/>
                    <a:pt x="127" y="3"/>
                  </a:cubicBezTo>
                  <a:cubicBezTo>
                    <a:pt x="79" y="128"/>
                    <a:pt x="79" y="128"/>
                    <a:pt x="79" y="128"/>
                  </a:cubicBezTo>
                  <a:cubicBezTo>
                    <a:pt x="30" y="4"/>
                    <a:pt x="30" y="4"/>
                    <a:pt x="30" y="4"/>
                  </a:cubicBezTo>
                  <a:cubicBezTo>
                    <a:pt x="29" y="1"/>
                    <a:pt x="28" y="0"/>
                    <a:pt x="25" y="0"/>
                  </a:cubicBezTo>
                  <a:cubicBezTo>
                    <a:pt x="4" y="0"/>
                    <a:pt x="4" y="0"/>
                    <a:pt x="4" y="0"/>
                  </a:cubicBezTo>
                  <a:cubicBezTo>
                    <a:pt x="2" y="0"/>
                    <a:pt x="0" y="1"/>
                    <a:pt x="0" y="3"/>
                  </a:cubicBezTo>
                  <a:cubicBezTo>
                    <a:pt x="0" y="4"/>
                    <a:pt x="1" y="5"/>
                    <a:pt x="1" y="6"/>
                  </a:cubicBezTo>
                  <a:cubicBezTo>
                    <a:pt x="1" y="6"/>
                    <a:pt x="1" y="6"/>
                    <a:pt x="1" y="6"/>
                  </a:cubicBezTo>
                  <a:cubicBezTo>
                    <a:pt x="1" y="6"/>
                    <a:pt x="1" y="6"/>
                    <a:pt x="1" y="6"/>
                  </a:cubicBezTo>
                  <a:cubicBezTo>
                    <a:pt x="64" y="168"/>
                    <a:pt x="64" y="168"/>
                    <a:pt x="64" y="168"/>
                  </a:cubicBezTo>
                  <a:cubicBezTo>
                    <a:pt x="59" y="182"/>
                    <a:pt x="59" y="182"/>
                    <a:pt x="59" y="182"/>
                  </a:cubicBezTo>
                  <a:cubicBezTo>
                    <a:pt x="57" y="187"/>
                    <a:pt x="53" y="199"/>
                    <a:pt x="48" y="205"/>
                  </a:cubicBezTo>
                  <a:cubicBezTo>
                    <a:pt x="44" y="211"/>
                    <a:pt x="42" y="213"/>
                    <a:pt x="38" y="215"/>
                  </a:cubicBezTo>
                  <a:cubicBezTo>
                    <a:pt x="35" y="216"/>
                    <a:pt x="33" y="217"/>
                    <a:pt x="30" y="217"/>
                  </a:cubicBezTo>
                  <a:cubicBezTo>
                    <a:pt x="28" y="217"/>
                    <a:pt x="27" y="217"/>
                    <a:pt x="26" y="216"/>
                  </a:cubicBezTo>
                  <a:cubicBezTo>
                    <a:pt x="22" y="216"/>
                    <a:pt x="18" y="214"/>
                    <a:pt x="14" y="213"/>
                  </a:cubicBezTo>
                  <a:cubicBezTo>
                    <a:pt x="11" y="212"/>
                    <a:pt x="9" y="210"/>
                    <a:pt x="7" y="210"/>
                  </a:cubicBezTo>
                  <a:cubicBezTo>
                    <a:pt x="5" y="210"/>
                    <a:pt x="3" y="212"/>
                    <a:pt x="3" y="215"/>
                  </a:cubicBezTo>
                  <a:cubicBezTo>
                    <a:pt x="3" y="233"/>
                    <a:pt x="3" y="233"/>
                    <a:pt x="3" y="233"/>
                  </a:cubicBezTo>
                  <a:cubicBezTo>
                    <a:pt x="3" y="233"/>
                    <a:pt x="3" y="233"/>
                    <a:pt x="3" y="233"/>
                  </a:cubicBezTo>
                  <a:cubicBezTo>
                    <a:pt x="3" y="236"/>
                    <a:pt x="4" y="238"/>
                    <a:pt x="7" y="240"/>
                  </a:cubicBezTo>
                  <a:cubicBezTo>
                    <a:pt x="15" y="243"/>
                    <a:pt x="21" y="245"/>
                    <a:pt x="32" y="245"/>
                  </a:cubicBezTo>
                  <a:cubicBezTo>
                    <a:pt x="41" y="244"/>
                    <a:pt x="47" y="242"/>
                    <a:pt x="54" y="238"/>
                  </a:cubicBezTo>
                  <a:cubicBezTo>
                    <a:pt x="61" y="233"/>
                    <a:pt x="67" y="227"/>
                    <a:pt x="73" y="220"/>
                  </a:cubicBezTo>
                  <a:cubicBezTo>
                    <a:pt x="75" y="216"/>
                    <a:pt x="77" y="212"/>
                    <a:pt x="79" y="208"/>
                  </a:cubicBezTo>
                  <a:cubicBezTo>
                    <a:pt x="83" y="200"/>
                    <a:pt x="144" y="40"/>
                    <a:pt x="156" y="6"/>
                  </a:cubicBezTo>
                  <a:cubicBezTo>
                    <a:pt x="157" y="5"/>
                    <a:pt x="157" y="4"/>
                    <a:pt x="157" y="3"/>
                  </a:cubicBezTo>
                  <a:cubicBezTo>
                    <a:pt x="157" y="1"/>
                    <a:pt x="155" y="0"/>
                    <a:pt x="153" y="0"/>
                  </a:cubicBezTo>
                  <a:lnTo>
                    <a:pt x="1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dirty="0"/>
            </a:p>
          </p:txBody>
        </p:sp>
        <p:sp>
          <p:nvSpPr>
            <p:cNvPr id="11" name="Freeform 8">
              <a:extLst>
                <a:ext uri="{FF2B5EF4-FFF2-40B4-BE49-F238E27FC236}">
                  <a16:creationId xmlns:a16="http://schemas.microsoft.com/office/drawing/2014/main" id="{B2C29C81-DF56-4D2E-89D6-7B7333393C3E}"/>
                </a:ext>
              </a:extLst>
            </p:cNvPr>
            <p:cNvSpPr>
              <a:spLocks/>
            </p:cNvSpPr>
            <p:nvPr userDrawn="1"/>
          </p:nvSpPr>
          <p:spPr bwMode="auto">
            <a:xfrm>
              <a:off x="3457" y="1726"/>
              <a:ext cx="263" cy="322"/>
            </a:xfrm>
            <a:custGeom>
              <a:avLst/>
              <a:gdLst>
                <a:gd name="T0" fmla="*/ 28 w 139"/>
                <a:gd name="T1" fmla="*/ 21 h 170"/>
                <a:gd name="T2" fmla="*/ 28 w 139"/>
                <a:gd name="T3" fmla="*/ 6 h 170"/>
                <a:gd name="T4" fmla="*/ 25 w 139"/>
                <a:gd name="T5" fmla="*/ 3 h 170"/>
                <a:gd name="T6" fmla="*/ 4 w 139"/>
                <a:gd name="T7" fmla="*/ 3 h 170"/>
                <a:gd name="T8" fmla="*/ 0 w 139"/>
                <a:gd name="T9" fmla="*/ 6 h 170"/>
                <a:gd name="T10" fmla="*/ 0 w 139"/>
                <a:gd name="T11" fmla="*/ 167 h 170"/>
                <a:gd name="T12" fmla="*/ 4 w 139"/>
                <a:gd name="T13" fmla="*/ 170 h 170"/>
                <a:gd name="T14" fmla="*/ 25 w 139"/>
                <a:gd name="T15" fmla="*/ 170 h 170"/>
                <a:gd name="T16" fmla="*/ 28 w 139"/>
                <a:gd name="T17" fmla="*/ 167 h 170"/>
                <a:gd name="T18" fmla="*/ 28 w 139"/>
                <a:gd name="T19" fmla="*/ 68 h 170"/>
                <a:gd name="T20" fmla="*/ 70 w 139"/>
                <a:gd name="T21" fmla="*/ 28 h 170"/>
                <a:gd name="T22" fmla="*/ 111 w 139"/>
                <a:gd name="T23" fmla="*/ 68 h 170"/>
                <a:gd name="T24" fmla="*/ 111 w 139"/>
                <a:gd name="T25" fmla="*/ 167 h 170"/>
                <a:gd name="T26" fmla="*/ 111 w 139"/>
                <a:gd name="T27" fmla="*/ 167 h 170"/>
                <a:gd name="T28" fmla="*/ 114 w 139"/>
                <a:gd name="T29" fmla="*/ 170 h 170"/>
                <a:gd name="T30" fmla="*/ 136 w 139"/>
                <a:gd name="T31" fmla="*/ 170 h 170"/>
                <a:gd name="T32" fmla="*/ 139 w 139"/>
                <a:gd name="T33" fmla="*/ 167 h 170"/>
                <a:gd name="T34" fmla="*/ 139 w 139"/>
                <a:gd name="T35" fmla="*/ 68 h 170"/>
                <a:gd name="T36" fmla="*/ 139 w 139"/>
                <a:gd name="T37" fmla="*/ 68 h 170"/>
                <a:gd name="T38" fmla="*/ 139 w 139"/>
                <a:gd name="T39" fmla="*/ 68 h 170"/>
                <a:gd name="T40" fmla="*/ 120 w 139"/>
                <a:gd name="T41" fmla="*/ 20 h 170"/>
                <a:gd name="T42" fmla="*/ 70 w 139"/>
                <a:gd name="T43" fmla="*/ 0 h 170"/>
                <a:gd name="T44" fmla="*/ 28 w 139"/>
                <a:gd name="T45" fmla="*/ 2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170">
                  <a:moveTo>
                    <a:pt x="28" y="21"/>
                  </a:moveTo>
                  <a:cubicBezTo>
                    <a:pt x="28" y="6"/>
                    <a:pt x="28" y="6"/>
                    <a:pt x="28" y="6"/>
                  </a:cubicBezTo>
                  <a:cubicBezTo>
                    <a:pt x="28" y="4"/>
                    <a:pt x="27" y="3"/>
                    <a:pt x="25" y="3"/>
                  </a:cubicBezTo>
                  <a:cubicBezTo>
                    <a:pt x="4" y="3"/>
                    <a:pt x="4" y="3"/>
                    <a:pt x="4" y="3"/>
                  </a:cubicBezTo>
                  <a:cubicBezTo>
                    <a:pt x="1" y="3"/>
                    <a:pt x="0" y="4"/>
                    <a:pt x="0" y="6"/>
                  </a:cubicBezTo>
                  <a:cubicBezTo>
                    <a:pt x="0" y="167"/>
                    <a:pt x="0" y="167"/>
                    <a:pt x="0" y="167"/>
                  </a:cubicBezTo>
                  <a:cubicBezTo>
                    <a:pt x="0" y="169"/>
                    <a:pt x="1" y="170"/>
                    <a:pt x="4" y="170"/>
                  </a:cubicBezTo>
                  <a:cubicBezTo>
                    <a:pt x="25" y="170"/>
                    <a:pt x="25" y="170"/>
                    <a:pt x="25" y="170"/>
                  </a:cubicBezTo>
                  <a:cubicBezTo>
                    <a:pt x="27" y="170"/>
                    <a:pt x="28" y="169"/>
                    <a:pt x="28" y="167"/>
                  </a:cubicBezTo>
                  <a:cubicBezTo>
                    <a:pt x="28" y="68"/>
                    <a:pt x="28" y="68"/>
                    <a:pt x="28" y="68"/>
                  </a:cubicBezTo>
                  <a:cubicBezTo>
                    <a:pt x="28" y="49"/>
                    <a:pt x="42" y="28"/>
                    <a:pt x="70" y="28"/>
                  </a:cubicBezTo>
                  <a:cubicBezTo>
                    <a:pt x="97" y="28"/>
                    <a:pt x="111" y="49"/>
                    <a:pt x="111" y="68"/>
                  </a:cubicBezTo>
                  <a:cubicBezTo>
                    <a:pt x="111" y="167"/>
                    <a:pt x="111" y="167"/>
                    <a:pt x="111" y="167"/>
                  </a:cubicBezTo>
                  <a:cubicBezTo>
                    <a:pt x="111" y="167"/>
                    <a:pt x="111" y="167"/>
                    <a:pt x="111" y="167"/>
                  </a:cubicBezTo>
                  <a:cubicBezTo>
                    <a:pt x="111" y="169"/>
                    <a:pt x="112" y="170"/>
                    <a:pt x="114" y="170"/>
                  </a:cubicBezTo>
                  <a:cubicBezTo>
                    <a:pt x="136" y="170"/>
                    <a:pt x="136" y="170"/>
                    <a:pt x="136" y="170"/>
                  </a:cubicBezTo>
                  <a:cubicBezTo>
                    <a:pt x="138" y="170"/>
                    <a:pt x="139" y="169"/>
                    <a:pt x="139" y="167"/>
                  </a:cubicBezTo>
                  <a:cubicBezTo>
                    <a:pt x="139" y="68"/>
                    <a:pt x="139" y="68"/>
                    <a:pt x="139" y="68"/>
                  </a:cubicBezTo>
                  <a:cubicBezTo>
                    <a:pt x="139" y="68"/>
                    <a:pt x="139" y="68"/>
                    <a:pt x="139" y="68"/>
                  </a:cubicBezTo>
                  <a:cubicBezTo>
                    <a:pt x="139" y="68"/>
                    <a:pt x="139" y="68"/>
                    <a:pt x="139" y="68"/>
                  </a:cubicBezTo>
                  <a:cubicBezTo>
                    <a:pt x="139" y="51"/>
                    <a:pt x="133" y="35"/>
                    <a:pt x="120" y="20"/>
                  </a:cubicBezTo>
                  <a:cubicBezTo>
                    <a:pt x="109" y="7"/>
                    <a:pt x="88" y="0"/>
                    <a:pt x="70" y="0"/>
                  </a:cubicBezTo>
                  <a:cubicBezTo>
                    <a:pt x="41" y="0"/>
                    <a:pt x="28" y="21"/>
                    <a:pt x="28"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dirty="0"/>
            </a:p>
          </p:txBody>
        </p:sp>
        <p:sp>
          <p:nvSpPr>
            <p:cNvPr id="12" name="Freeform 9">
              <a:extLst>
                <a:ext uri="{FF2B5EF4-FFF2-40B4-BE49-F238E27FC236}">
                  <a16:creationId xmlns:a16="http://schemas.microsoft.com/office/drawing/2014/main" id="{B38DB0D8-2A95-458B-BC03-75E42A03A8C8}"/>
                </a:ext>
              </a:extLst>
            </p:cNvPr>
            <p:cNvSpPr>
              <a:spLocks/>
            </p:cNvSpPr>
            <p:nvPr userDrawn="1"/>
          </p:nvSpPr>
          <p:spPr bwMode="auto">
            <a:xfrm>
              <a:off x="2264" y="1724"/>
              <a:ext cx="246" cy="328"/>
            </a:xfrm>
            <a:custGeom>
              <a:avLst/>
              <a:gdLst>
                <a:gd name="T0" fmla="*/ 4 w 130"/>
                <a:gd name="T1" fmla="*/ 48 h 173"/>
                <a:gd name="T2" fmla="*/ 56 w 130"/>
                <a:gd name="T3" fmla="*/ 97 h 173"/>
                <a:gd name="T4" fmla="*/ 57 w 130"/>
                <a:gd name="T5" fmla="*/ 98 h 173"/>
                <a:gd name="T6" fmla="*/ 101 w 130"/>
                <a:gd name="T7" fmla="*/ 124 h 173"/>
                <a:gd name="T8" fmla="*/ 66 w 130"/>
                <a:gd name="T9" fmla="*/ 146 h 173"/>
                <a:gd name="T10" fmla="*/ 30 w 130"/>
                <a:gd name="T11" fmla="*/ 118 h 173"/>
                <a:gd name="T12" fmla="*/ 26 w 130"/>
                <a:gd name="T13" fmla="*/ 114 h 173"/>
                <a:gd name="T14" fmla="*/ 5 w 130"/>
                <a:gd name="T15" fmla="*/ 114 h 173"/>
                <a:gd name="T16" fmla="*/ 0 w 130"/>
                <a:gd name="T17" fmla="*/ 118 h 173"/>
                <a:gd name="T18" fmla="*/ 65 w 130"/>
                <a:gd name="T19" fmla="*/ 173 h 173"/>
                <a:gd name="T20" fmla="*/ 130 w 130"/>
                <a:gd name="T21" fmla="*/ 120 h 173"/>
                <a:gd name="T22" fmla="*/ 72 w 130"/>
                <a:gd name="T23" fmla="*/ 74 h 173"/>
                <a:gd name="T24" fmla="*/ 32 w 130"/>
                <a:gd name="T25" fmla="*/ 48 h 173"/>
                <a:gd name="T26" fmla="*/ 63 w 130"/>
                <a:gd name="T27" fmla="*/ 27 h 173"/>
                <a:gd name="T28" fmla="*/ 97 w 130"/>
                <a:gd name="T29" fmla="*/ 49 h 173"/>
                <a:gd name="T30" fmla="*/ 102 w 130"/>
                <a:gd name="T31" fmla="*/ 53 h 173"/>
                <a:gd name="T32" fmla="*/ 120 w 130"/>
                <a:gd name="T33" fmla="*/ 53 h 173"/>
                <a:gd name="T34" fmla="*/ 125 w 130"/>
                <a:gd name="T35" fmla="*/ 48 h 173"/>
                <a:gd name="T36" fmla="*/ 63 w 130"/>
                <a:gd name="T37" fmla="*/ 0 h 173"/>
                <a:gd name="T38" fmla="*/ 4 w 130"/>
                <a:gd name="T39" fmla="*/ 4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173">
                  <a:moveTo>
                    <a:pt x="4" y="48"/>
                  </a:moveTo>
                  <a:cubicBezTo>
                    <a:pt x="4" y="77"/>
                    <a:pt x="19" y="91"/>
                    <a:pt x="56" y="97"/>
                  </a:cubicBezTo>
                  <a:cubicBezTo>
                    <a:pt x="57" y="98"/>
                    <a:pt x="57" y="98"/>
                    <a:pt x="57" y="98"/>
                  </a:cubicBezTo>
                  <a:cubicBezTo>
                    <a:pt x="83" y="102"/>
                    <a:pt x="101" y="105"/>
                    <a:pt x="101" y="124"/>
                  </a:cubicBezTo>
                  <a:cubicBezTo>
                    <a:pt x="101" y="139"/>
                    <a:pt x="83" y="146"/>
                    <a:pt x="66" y="146"/>
                  </a:cubicBezTo>
                  <a:cubicBezTo>
                    <a:pt x="46" y="146"/>
                    <a:pt x="33" y="136"/>
                    <a:pt x="30" y="118"/>
                  </a:cubicBezTo>
                  <a:cubicBezTo>
                    <a:pt x="30" y="116"/>
                    <a:pt x="29" y="114"/>
                    <a:pt x="26" y="114"/>
                  </a:cubicBezTo>
                  <a:cubicBezTo>
                    <a:pt x="5" y="114"/>
                    <a:pt x="5" y="114"/>
                    <a:pt x="5" y="114"/>
                  </a:cubicBezTo>
                  <a:cubicBezTo>
                    <a:pt x="2" y="114"/>
                    <a:pt x="0" y="116"/>
                    <a:pt x="0" y="118"/>
                  </a:cubicBezTo>
                  <a:cubicBezTo>
                    <a:pt x="0" y="150"/>
                    <a:pt x="27" y="173"/>
                    <a:pt x="65" y="173"/>
                  </a:cubicBezTo>
                  <a:cubicBezTo>
                    <a:pt x="104" y="173"/>
                    <a:pt x="130" y="151"/>
                    <a:pt x="130" y="120"/>
                  </a:cubicBezTo>
                  <a:cubicBezTo>
                    <a:pt x="130" y="86"/>
                    <a:pt x="100" y="79"/>
                    <a:pt x="72" y="74"/>
                  </a:cubicBezTo>
                  <a:cubicBezTo>
                    <a:pt x="37" y="68"/>
                    <a:pt x="32" y="58"/>
                    <a:pt x="32" y="48"/>
                  </a:cubicBezTo>
                  <a:cubicBezTo>
                    <a:pt x="32" y="32"/>
                    <a:pt x="49" y="27"/>
                    <a:pt x="63" y="27"/>
                  </a:cubicBezTo>
                  <a:cubicBezTo>
                    <a:pt x="82" y="27"/>
                    <a:pt x="94" y="34"/>
                    <a:pt x="97" y="49"/>
                  </a:cubicBezTo>
                  <a:cubicBezTo>
                    <a:pt x="98" y="51"/>
                    <a:pt x="98" y="53"/>
                    <a:pt x="102" y="53"/>
                  </a:cubicBezTo>
                  <a:cubicBezTo>
                    <a:pt x="120" y="53"/>
                    <a:pt x="120" y="53"/>
                    <a:pt x="120" y="53"/>
                  </a:cubicBezTo>
                  <a:cubicBezTo>
                    <a:pt x="123" y="53"/>
                    <a:pt x="125" y="51"/>
                    <a:pt x="125" y="48"/>
                  </a:cubicBezTo>
                  <a:cubicBezTo>
                    <a:pt x="125" y="19"/>
                    <a:pt x="100" y="0"/>
                    <a:pt x="63" y="0"/>
                  </a:cubicBezTo>
                  <a:cubicBezTo>
                    <a:pt x="22" y="0"/>
                    <a:pt x="4" y="25"/>
                    <a:pt x="4" y="4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dirty="0"/>
            </a:p>
          </p:txBody>
        </p:sp>
        <p:sp>
          <p:nvSpPr>
            <p:cNvPr id="13" name="Freeform 10">
              <a:extLst>
                <a:ext uri="{FF2B5EF4-FFF2-40B4-BE49-F238E27FC236}">
                  <a16:creationId xmlns:a16="http://schemas.microsoft.com/office/drawing/2014/main" id="{285FBA9D-B6C7-4BE7-90DC-3572BFC95303}"/>
                </a:ext>
              </a:extLst>
            </p:cNvPr>
            <p:cNvSpPr>
              <a:spLocks/>
            </p:cNvSpPr>
            <p:nvPr userDrawn="1"/>
          </p:nvSpPr>
          <p:spPr bwMode="auto">
            <a:xfrm>
              <a:off x="3062" y="1722"/>
              <a:ext cx="312" cy="474"/>
            </a:xfrm>
            <a:custGeom>
              <a:avLst/>
              <a:gdLst>
                <a:gd name="T0" fmla="*/ 67 w 165"/>
                <a:gd name="T1" fmla="*/ 0 h 250"/>
                <a:gd name="T2" fmla="*/ 0 w 165"/>
                <a:gd name="T3" fmla="*/ 86 h 250"/>
                <a:gd name="T4" fmla="*/ 82 w 165"/>
                <a:gd name="T5" fmla="*/ 174 h 250"/>
                <a:gd name="T6" fmla="*/ 137 w 165"/>
                <a:gd name="T7" fmla="*/ 152 h 250"/>
                <a:gd name="T8" fmla="*/ 137 w 165"/>
                <a:gd name="T9" fmla="*/ 173 h 250"/>
                <a:gd name="T10" fmla="*/ 89 w 165"/>
                <a:gd name="T11" fmla="*/ 222 h 250"/>
                <a:gd name="T12" fmla="*/ 48 w 165"/>
                <a:gd name="T13" fmla="*/ 194 h 250"/>
                <a:gd name="T14" fmla="*/ 43 w 165"/>
                <a:gd name="T15" fmla="*/ 190 h 250"/>
                <a:gd name="T16" fmla="*/ 24 w 165"/>
                <a:gd name="T17" fmla="*/ 190 h 250"/>
                <a:gd name="T18" fmla="*/ 19 w 165"/>
                <a:gd name="T19" fmla="*/ 195 h 250"/>
                <a:gd name="T20" fmla="*/ 89 w 165"/>
                <a:gd name="T21" fmla="*/ 250 h 250"/>
                <a:gd name="T22" fmla="*/ 165 w 165"/>
                <a:gd name="T23" fmla="*/ 174 h 250"/>
                <a:gd name="T24" fmla="*/ 165 w 165"/>
                <a:gd name="T25" fmla="*/ 7 h 250"/>
                <a:gd name="T26" fmla="*/ 162 w 165"/>
                <a:gd name="T27" fmla="*/ 4 h 250"/>
                <a:gd name="T28" fmla="*/ 140 w 165"/>
                <a:gd name="T29" fmla="*/ 4 h 250"/>
                <a:gd name="T30" fmla="*/ 137 w 165"/>
                <a:gd name="T31" fmla="*/ 7 h 250"/>
                <a:gd name="T32" fmla="*/ 137 w 165"/>
                <a:gd name="T33" fmla="*/ 21 h 250"/>
                <a:gd name="T34" fmla="*/ 99 w 165"/>
                <a:gd name="T35" fmla="*/ 0 h 250"/>
                <a:gd name="T36" fmla="*/ 96 w 165"/>
                <a:gd name="T37" fmla="*/ 3 h 250"/>
                <a:gd name="T38" fmla="*/ 96 w 165"/>
                <a:gd name="T39" fmla="*/ 28 h 250"/>
                <a:gd name="T40" fmla="*/ 97 w 165"/>
                <a:gd name="T41" fmla="*/ 31 h 250"/>
                <a:gd name="T42" fmla="*/ 138 w 165"/>
                <a:gd name="T43" fmla="*/ 87 h 250"/>
                <a:gd name="T44" fmla="*/ 83 w 165"/>
                <a:gd name="T45" fmla="*/ 146 h 250"/>
                <a:gd name="T46" fmla="*/ 29 w 165"/>
                <a:gd name="T47" fmla="*/ 87 h 250"/>
                <a:gd name="T48" fmla="*/ 68 w 165"/>
                <a:gd name="T49" fmla="*/ 31 h 250"/>
                <a:gd name="T50" fmla="*/ 70 w 165"/>
                <a:gd name="T51" fmla="*/ 29 h 250"/>
                <a:gd name="T52" fmla="*/ 70 w 165"/>
                <a:gd name="T53" fmla="*/ 3 h 250"/>
                <a:gd name="T54" fmla="*/ 67 w 165"/>
                <a:gd name="T55" fmla="*/ 0 h 250"/>
                <a:gd name="T56" fmla="*/ 67 w 165"/>
                <a:gd name="T57"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5" h="250">
                  <a:moveTo>
                    <a:pt x="67" y="0"/>
                  </a:moveTo>
                  <a:cubicBezTo>
                    <a:pt x="29" y="8"/>
                    <a:pt x="0" y="44"/>
                    <a:pt x="0" y="86"/>
                  </a:cubicBezTo>
                  <a:cubicBezTo>
                    <a:pt x="0" y="135"/>
                    <a:pt x="37" y="174"/>
                    <a:pt x="82" y="174"/>
                  </a:cubicBezTo>
                  <a:cubicBezTo>
                    <a:pt x="103" y="174"/>
                    <a:pt x="122" y="166"/>
                    <a:pt x="137" y="152"/>
                  </a:cubicBezTo>
                  <a:cubicBezTo>
                    <a:pt x="137" y="173"/>
                    <a:pt x="137" y="173"/>
                    <a:pt x="137" y="173"/>
                  </a:cubicBezTo>
                  <a:cubicBezTo>
                    <a:pt x="137" y="205"/>
                    <a:pt x="120" y="222"/>
                    <a:pt x="89" y="222"/>
                  </a:cubicBezTo>
                  <a:cubicBezTo>
                    <a:pt x="66" y="222"/>
                    <a:pt x="52" y="213"/>
                    <a:pt x="48" y="194"/>
                  </a:cubicBezTo>
                  <a:cubicBezTo>
                    <a:pt x="47" y="192"/>
                    <a:pt x="46" y="190"/>
                    <a:pt x="43" y="190"/>
                  </a:cubicBezTo>
                  <a:cubicBezTo>
                    <a:pt x="24" y="190"/>
                    <a:pt x="24" y="190"/>
                    <a:pt x="24" y="190"/>
                  </a:cubicBezTo>
                  <a:cubicBezTo>
                    <a:pt x="21" y="190"/>
                    <a:pt x="19" y="192"/>
                    <a:pt x="19" y="195"/>
                  </a:cubicBezTo>
                  <a:cubicBezTo>
                    <a:pt x="22" y="228"/>
                    <a:pt x="51" y="250"/>
                    <a:pt x="89" y="250"/>
                  </a:cubicBezTo>
                  <a:cubicBezTo>
                    <a:pt x="135" y="250"/>
                    <a:pt x="165" y="219"/>
                    <a:pt x="165" y="174"/>
                  </a:cubicBezTo>
                  <a:cubicBezTo>
                    <a:pt x="165" y="7"/>
                    <a:pt x="165" y="7"/>
                    <a:pt x="165" y="7"/>
                  </a:cubicBezTo>
                  <a:cubicBezTo>
                    <a:pt x="165" y="5"/>
                    <a:pt x="164" y="4"/>
                    <a:pt x="162" y="4"/>
                  </a:cubicBezTo>
                  <a:cubicBezTo>
                    <a:pt x="140" y="4"/>
                    <a:pt x="140" y="4"/>
                    <a:pt x="140" y="4"/>
                  </a:cubicBezTo>
                  <a:cubicBezTo>
                    <a:pt x="138" y="4"/>
                    <a:pt x="137" y="5"/>
                    <a:pt x="137" y="7"/>
                  </a:cubicBezTo>
                  <a:cubicBezTo>
                    <a:pt x="137" y="21"/>
                    <a:pt x="137" y="21"/>
                    <a:pt x="137" y="21"/>
                  </a:cubicBezTo>
                  <a:cubicBezTo>
                    <a:pt x="126" y="11"/>
                    <a:pt x="113" y="4"/>
                    <a:pt x="99" y="0"/>
                  </a:cubicBezTo>
                  <a:cubicBezTo>
                    <a:pt x="97" y="0"/>
                    <a:pt x="96" y="1"/>
                    <a:pt x="96" y="3"/>
                  </a:cubicBezTo>
                  <a:cubicBezTo>
                    <a:pt x="96" y="28"/>
                    <a:pt x="96" y="28"/>
                    <a:pt x="96" y="28"/>
                  </a:cubicBezTo>
                  <a:cubicBezTo>
                    <a:pt x="96" y="29"/>
                    <a:pt x="96" y="30"/>
                    <a:pt x="97" y="31"/>
                  </a:cubicBezTo>
                  <a:cubicBezTo>
                    <a:pt x="121" y="37"/>
                    <a:pt x="138" y="60"/>
                    <a:pt x="138" y="87"/>
                  </a:cubicBezTo>
                  <a:cubicBezTo>
                    <a:pt x="138" y="119"/>
                    <a:pt x="114" y="146"/>
                    <a:pt x="83" y="146"/>
                  </a:cubicBezTo>
                  <a:cubicBezTo>
                    <a:pt x="53" y="146"/>
                    <a:pt x="29" y="119"/>
                    <a:pt x="29" y="87"/>
                  </a:cubicBezTo>
                  <a:cubicBezTo>
                    <a:pt x="29" y="61"/>
                    <a:pt x="45" y="38"/>
                    <a:pt x="68" y="31"/>
                  </a:cubicBezTo>
                  <a:cubicBezTo>
                    <a:pt x="69" y="31"/>
                    <a:pt x="70" y="30"/>
                    <a:pt x="70" y="29"/>
                  </a:cubicBezTo>
                  <a:cubicBezTo>
                    <a:pt x="70" y="3"/>
                    <a:pt x="70" y="3"/>
                    <a:pt x="70" y="3"/>
                  </a:cubicBezTo>
                  <a:cubicBezTo>
                    <a:pt x="70" y="1"/>
                    <a:pt x="69" y="0"/>
                    <a:pt x="67" y="0"/>
                  </a:cubicBezTo>
                  <a:cubicBezTo>
                    <a:pt x="67" y="0"/>
                    <a:pt x="67" y="0"/>
                    <a:pt x="6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dirty="0"/>
            </a:p>
          </p:txBody>
        </p:sp>
        <p:sp>
          <p:nvSpPr>
            <p:cNvPr id="14" name="Oval 11">
              <a:extLst>
                <a:ext uri="{FF2B5EF4-FFF2-40B4-BE49-F238E27FC236}">
                  <a16:creationId xmlns:a16="http://schemas.microsoft.com/office/drawing/2014/main" id="{48DD9144-12C1-4B89-9F6D-92B4361D96B3}"/>
                </a:ext>
              </a:extLst>
            </p:cNvPr>
            <p:cNvSpPr>
              <a:spLocks noChangeArrowheads="1"/>
            </p:cNvSpPr>
            <p:nvPr userDrawn="1"/>
          </p:nvSpPr>
          <p:spPr bwMode="auto">
            <a:xfrm>
              <a:off x="284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dirty="0"/>
            </a:p>
          </p:txBody>
        </p:sp>
        <p:sp>
          <p:nvSpPr>
            <p:cNvPr id="15" name="Oval 12">
              <a:extLst>
                <a:ext uri="{FF2B5EF4-FFF2-40B4-BE49-F238E27FC236}">
                  <a16:creationId xmlns:a16="http://schemas.microsoft.com/office/drawing/2014/main" id="{01B98C09-7AAE-43C7-82DE-9DB278B02F42}"/>
                </a:ext>
              </a:extLst>
            </p:cNvPr>
            <p:cNvSpPr>
              <a:spLocks noChangeArrowheads="1"/>
            </p:cNvSpPr>
            <p:nvPr userDrawn="1"/>
          </p:nvSpPr>
          <p:spPr bwMode="auto">
            <a:xfrm>
              <a:off x="387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dirty="0"/>
            </a:p>
          </p:txBody>
        </p:sp>
        <p:sp>
          <p:nvSpPr>
            <p:cNvPr id="16" name="Freeform 13">
              <a:extLst>
                <a:ext uri="{FF2B5EF4-FFF2-40B4-BE49-F238E27FC236}">
                  <a16:creationId xmlns:a16="http://schemas.microsoft.com/office/drawing/2014/main" id="{DF4FD3F7-7AD2-4CA4-8D7C-34E6C136A5E6}"/>
                </a:ext>
              </a:extLst>
            </p:cNvPr>
            <p:cNvSpPr>
              <a:spLocks/>
            </p:cNvSpPr>
            <p:nvPr userDrawn="1"/>
          </p:nvSpPr>
          <p:spPr bwMode="auto">
            <a:xfrm>
              <a:off x="4062" y="1584"/>
              <a:ext cx="242" cy="462"/>
            </a:xfrm>
            <a:custGeom>
              <a:avLst/>
              <a:gdLst>
                <a:gd name="T0" fmla="*/ 39 w 128"/>
                <a:gd name="T1" fmla="*/ 55 h 244"/>
                <a:gd name="T2" fmla="*/ 39 w 128"/>
                <a:gd name="T3" fmla="*/ 76 h 244"/>
                <a:gd name="T4" fmla="*/ 4 w 128"/>
                <a:gd name="T5" fmla="*/ 76 h 244"/>
                <a:gd name="T6" fmla="*/ 0 w 128"/>
                <a:gd name="T7" fmla="*/ 81 h 244"/>
                <a:gd name="T8" fmla="*/ 0 w 128"/>
                <a:gd name="T9" fmla="*/ 99 h 244"/>
                <a:gd name="T10" fmla="*/ 4 w 128"/>
                <a:gd name="T11" fmla="*/ 103 h 244"/>
                <a:gd name="T12" fmla="*/ 39 w 128"/>
                <a:gd name="T13" fmla="*/ 103 h 244"/>
                <a:gd name="T14" fmla="*/ 39 w 128"/>
                <a:gd name="T15" fmla="*/ 239 h 244"/>
                <a:gd name="T16" fmla="*/ 44 w 128"/>
                <a:gd name="T17" fmla="*/ 244 h 244"/>
                <a:gd name="T18" fmla="*/ 62 w 128"/>
                <a:gd name="T19" fmla="*/ 244 h 244"/>
                <a:gd name="T20" fmla="*/ 67 w 128"/>
                <a:gd name="T21" fmla="*/ 239 h 244"/>
                <a:gd name="T22" fmla="*/ 67 w 128"/>
                <a:gd name="T23" fmla="*/ 103 h 244"/>
                <a:gd name="T24" fmla="*/ 120 w 128"/>
                <a:gd name="T25" fmla="*/ 103 h 244"/>
                <a:gd name="T26" fmla="*/ 125 w 128"/>
                <a:gd name="T27" fmla="*/ 99 h 244"/>
                <a:gd name="T28" fmla="*/ 125 w 128"/>
                <a:gd name="T29" fmla="*/ 81 h 244"/>
                <a:gd name="T30" fmla="*/ 120 w 128"/>
                <a:gd name="T31" fmla="*/ 76 h 244"/>
                <a:gd name="T32" fmla="*/ 67 w 128"/>
                <a:gd name="T33" fmla="*/ 76 h 244"/>
                <a:gd name="T34" fmla="*/ 67 w 128"/>
                <a:gd name="T35" fmla="*/ 55 h 244"/>
                <a:gd name="T36" fmla="*/ 91 w 128"/>
                <a:gd name="T37" fmla="*/ 27 h 244"/>
                <a:gd name="T38" fmla="*/ 122 w 128"/>
                <a:gd name="T39" fmla="*/ 37 h 244"/>
                <a:gd name="T40" fmla="*/ 125 w 128"/>
                <a:gd name="T41" fmla="*/ 38 h 244"/>
                <a:gd name="T42" fmla="*/ 128 w 128"/>
                <a:gd name="T43" fmla="*/ 33 h 244"/>
                <a:gd name="T44" fmla="*/ 128 w 128"/>
                <a:gd name="T45" fmla="*/ 16 h 244"/>
                <a:gd name="T46" fmla="*/ 125 w 128"/>
                <a:gd name="T47" fmla="*/ 9 h 244"/>
                <a:gd name="T48" fmla="*/ 89 w 128"/>
                <a:gd name="T49" fmla="*/ 0 h 244"/>
                <a:gd name="T50" fmla="*/ 39 w 128"/>
                <a:gd name="T51" fmla="*/ 5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244">
                  <a:moveTo>
                    <a:pt x="39" y="55"/>
                  </a:moveTo>
                  <a:cubicBezTo>
                    <a:pt x="39" y="76"/>
                    <a:pt x="39" y="76"/>
                    <a:pt x="39" y="76"/>
                  </a:cubicBezTo>
                  <a:cubicBezTo>
                    <a:pt x="4" y="76"/>
                    <a:pt x="4" y="76"/>
                    <a:pt x="4" y="76"/>
                  </a:cubicBezTo>
                  <a:cubicBezTo>
                    <a:pt x="1" y="76"/>
                    <a:pt x="0" y="78"/>
                    <a:pt x="0" y="81"/>
                  </a:cubicBezTo>
                  <a:cubicBezTo>
                    <a:pt x="0" y="99"/>
                    <a:pt x="0" y="99"/>
                    <a:pt x="0" y="99"/>
                  </a:cubicBezTo>
                  <a:cubicBezTo>
                    <a:pt x="0" y="102"/>
                    <a:pt x="1" y="103"/>
                    <a:pt x="4" y="103"/>
                  </a:cubicBezTo>
                  <a:cubicBezTo>
                    <a:pt x="39" y="103"/>
                    <a:pt x="39" y="103"/>
                    <a:pt x="39" y="103"/>
                  </a:cubicBezTo>
                  <a:cubicBezTo>
                    <a:pt x="39" y="239"/>
                    <a:pt x="39" y="239"/>
                    <a:pt x="39" y="239"/>
                  </a:cubicBezTo>
                  <a:cubicBezTo>
                    <a:pt x="39" y="242"/>
                    <a:pt x="41" y="244"/>
                    <a:pt x="44" y="244"/>
                  </a:cubicBezTo>
                  <a:cubicBezTo>
                    <a:pt x="62" y="244"/>
                    <a:pt x="62" y="244"/>
                    <a:pt x="62" y="244"/>
                  </a:cubicBezTo>
                  <a:cubicBezTo>
                    <a:pt x="65" y="244"/>
                    <a:pt x="67" y="242"/>
                    <a:pt x="67" y="239"/>
                  </a:cubicBezTo>
                  <a:cubicBezTo>
                    <a:pt x="67" y="103"/>
                    <a:pt x="67" y="103"/>
                    <a:pt x="67" y="103"/>
                  </a:cubicBezTo>
                  <a:cubicBezTo>
                    <a:pt x="120" y="103"/>
                    <a:pt x="120" y="103"/>
                    <a:pt x="120" y="103"/>
                  </a:cubicBezTo>
                  <a:cubicBezTo>
                    <a:pt x="123" y="103"/>
                    <a:pt x="125" y="102"/>
                    <a:pt x="125" y="99"/>
                  </a:cubicBezTo>
                  <a:cubicBezTo>
                    <a:pt x="125" y="81"/>
                    <a:pt x="125" y="81"/>
                    <a:pt x="125" y="81"/>
                  </a:cubicBezTo>
                  <a:cubicBezTo>
                    <a:pt x="125" y="78"/>
                    <a:pt x="123" y="76"/>
                    <a:pt x="120" y="76"/>
                  </a:cubicBezTo>
                  <a:cubicBezTo>
                    <a:pt x="67" y="76"/>
                    <a:pt x="67" y="76"/>
                    <a:pt x="67" y="76"/>
                  </a:cubicBezTo>
                  <a:cubicBezTo>
                    <a:pt x="67" y="55"/>
                    <a:pt x="67" y="55"/>
                    <a:pt x="67" y="55"/>
                  </a:cubicBezTo>
                  <a:cubicBezTo>
                    <a:pt x="67" y="38"/>
                    <a:pt x="76" y="27"/>
                    <a:pt x="91" y="27"/>
                  </a:cubicBezTo>
                  <a:cubicBezTo>
                    <a:pt x="102" y="27"/>
                    <a:pt x="110" y="30"/>
                    <a:pt x="122" y="37"/>
                  </a:cubicBezTo>
                  <a:cubicBezTo>
                    <a:pt x="123" y="38"/>
                    <a:pt x="124" y="38"/>
                    <a:pt x="125" y="38"/>
                  </a:cubicBezTo>
                  <a:cubicBezTo>
                    <a:pt x="127" y="38"/>
                    <a:pt x="128" y="36"/>
                    <a:pt x="128" y="33"/>
                  </a:cubicBezTo>
                  <a:cubicBezTo>
                    <a:pt x="128" y="16"/>
                    <a:pt x="128" y="16"/>
                    <a:pt x="128" y="16"/>
                  </a:cubicBezTo>
                  <a:cubicBezTo>
                    <a:pt x="128" y="13"/>
                    <a:pt x="128" y="11"/>
                    <a:pt x="125" y="9"/>
                  </a:cubicBezTo>
                  <a:cubicBezTo>
                    <a:pt x="114" y="3"/>
                    <a:pt x="103" y="0"/>
                    <a:pt x="89" y="0"/>
                  </a:cubicBezTo>
                  <a:cubicBezTo>
                    <a:pt x="54" y="0"/>
                    <a:pt x="39" y="29"/>
                    <a:pt x="39"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dirty="0"/>
            </a:p>
          </p:txBody>
        </p:sp>
        <p:sp>
          <p:nvSpPr>
            <p:cNvPr id="17" name="Freeform 14">
              <a:extLst>
                <a:ext uri="{FF2B5EF4-FFF2-40B4-BE49-F238E27FC236}">
                  <a16:creationId xmlns:a16="http://schemas.microsoft.com/office/drawing/2014/main" id="{E3F74A4C-3F35-49ED-8FDB-98270CD3D01E}"/>
                </a:ext>
              </a:extLst>
            </p:cNvPr>
            <p:cNvSpPr>
              <a:spLocks/>
            </p:cNvSpPr>
            <p:nvPr userDrawn="1"/>
          </p:nvSpPr>
          <p:spPr bwMode="auto">
            <a:xfrm>
              <a:off x="2071" y="1578"/>
              <a:ext cx="632" cy="631"/>
            </a:xfrm>
            <a:custGeom>
              <a:avLst/>
              <a:gdLst>
                <a:gd name="T0" fmla="*/ 181 w 334"/>
                <a:gd name="T1" fmla="*/ 1 h 333"/>
                <a:gd name="T2" fmla="*/ 180 w 334"/>
                <a:gd name="T3" fmla="*/ 4 h 333"/>
                <a:gd name="T4" fmla="*/ 180 w 334"/>
                <a:gd name="T5" fmla="*/ 26 h 333"/>
                <a:gd name="T6" fmla="*/ 180 w 334"/>
                <a:gd name="T7" fmla="*/ 26 h 333"/>
                <a:gd name="T8" fmla="*/ 182 w 334"/>
                <a:gd name="T9" fmla="*/ 28 h 333"/>
                <a:gd name="T10" fmla="*/ 306 w 334"/>
                <a:gd name="T11" fmla="*/ 166 h 333"/>
                <a:gd name="T12" fmla="*/ 167 w 334"/>
                <a:gd name="T13" fmla="*/ 305 h 333"/>
                <a:gd name="T14" fmla="*/ 28 w 334"/>
                <a:gd name="T15" fmla="*/ 166 h 333"/>
                <a:gd name="T16" fmla="*/ 152 w 334"/>
                <a:gd name="T17" fmla="*/ 28 h 333"/>
                <a:gd name="T18" fmla="*/ 154 w 334"/>
                <a:gd name="T19" fmla="*/ 26 h 333"/>
                <a:gd name="T20" fmla="*/ 154 w 334"/>
                <a:gd name="T21" fmla="*/ 26 h 333"/>
                <a:gd name="T22" fmla="*/ 154 w 334"/>
                <a:gd name="T23" fmla="*/ 4 h 333"/>
                <a:gd name="T24" fmla="*/ 153 w 334"/>
                <a:gd name="T25" fmla="*/ 1 h 333"/>
                <a:gd name="T26" fmla="*/ 150 w 334"/>
                <a:gd name="T27" fmla="*/ 0 h 333"/>
                <a:gd name="T28" fmla="*/ 149 w 334"/>
                <a:gd name="T29" fmla="*/ 0 h 333"/>
                <a:gd name="T30" fmla="*/ 149 w 334"/>
                <a:gd name="T31" fmla="*/ 0 h 333"/>
                <a:gd name="T32" fmla="*/ 0 w 334"/>
                <a:gd name="T33" fmla="*/ 166 h 333"/>
                <a:gd name="T34" fmla="*/ 167 w 334"/>
                <a:gd name="T35" fmla="*/ 333 h 333"/>
                <a:gd name="T36" fmla="*/ 334 w 334"/>
                <a:gd name="T37" fmla="*/ 166 h 333"/>
                <a:gd name="T38" fmla="*/ 185 w 334"/>
                <a:gd name="T39" fmla="*/ 0 h 333"/>
                <a:gd name="T40" fmla="*/ 185 w 334"/>
                <a:gd name="T41" fmla="*/ 0 h 333"/>
                <a:gd name="T42" fmla="*/ 184 w 334"/>
                <a:gd name="T43" fmla="*/ 0 h 333"/>
                <a:gd name="T44" fmla="*/ 181 w 334"/>
                <a:gd name="T45" fmla="*/ 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4" h="333">
                  <a:moveTo>
                    <a:pt x="181" y="1"/>
                  </a:moveTo>
                  <a:cubicBezTo>
                    <a:pt x="180" y="2"/>
                    <a:pt x="180" y="3"/>
                    <a:pt x="180" y="4"/>
                  </a:cubicBezTo>
                  <a:cubicBezTo>
                    <a:pt x="180" y="26"/>
                    <a:pt x="180" y="26"/>
                    <a:pt x="180" y="26"/>
                  </a:cubicBezTo>
                  <a:cubicBezTo>
                    <a:pt x="180" y="26"/>
                    <a:pt x="180" y="26"/>
                    <a:pt x="180" y="26"/>
                  </a:cubicBezTo>
                  <a:cubicBezTo>
                    <a:pt x="180" y="27"/>
                    <a:pt x="181" y="28"/>
                    <a:pt x="182" y="28"/>
                  </a:cubicBezTo>
                  <a:cubicBezTo>
                    <a:pt x="251" y="35"/>
                    <a:pt x="306" y="94"/>
                    <a:pt x="306" y="166"/>
                  </a:cubicBezTo>
                  <a:cubicBezTo>
                    <a:pt x="306" y="243"/>
                    <a:pt x="244" y="305"/>
                    <a:pt x="167" y="305"/>
                  </a:cubicBezTo>
                  <a:cubicBezTo>
                    <a:pt x="90" y="305"/>
                    <a:pt x="28" y="243"/>
                    <a:pt x="28" y="166"/>
                  </a:cubicBezTo>
                  <a:cubicBezTo>
                    <a:pt x="28" y="94"/>
                    <a:pt x="82" y="35"/>
                    <a:pt x="152" y="28"/>
                  </a:cubicBezTo>
                  <a:cubicBezTo>
                    <a:pt x="153" y="28"/>
                    <a:pt x="154" y="27"/>
                    <a:pt x="154" y="26"/>
                  </a:cubicBezTo>
                  <a:cubicBezTo>
                    <a:pt x="154" y="26"/>
                    <a:pt x="154" y="26"/>
                    <a:pt x="154" y="26"/>
                  </a:cubicBezTo>
                  <a:cubicBezTo>
                    <a:pt x="154" y="4"/>
                    <a:pt x="154" y="4"/>
                    <a:pt x="154" y="4"/>
                  </a:cubicBezTo>
                  <a:cubicBezTo>
                    <a:pt x="154" y="3"/>
                    <a:pt x="154" y="2"/>
                    <a:pt x="153" y="1"/>
                  </a:cubicBezTo>
                  <a:cubicBezTo>
                    <a:pt x="152" y="0"/>
                    <a:pt x="151" y="0"/>
                    <a:pt x="150" y="0"/>
                  </a:cubicBezTo>
                  <a:cubicBezTo>
                    <a:pt x="149" y="0"/>
                    <a:pt x="149" y="0"/>
                    <a:pt x="149" y="0"/>
                  </a:cubicBezTo>
                  <a:cubicBezTo>
                    <a:pt x="149" y="0"/>
                    <a:pt x="149" y="0"/>
                    <a:pt x="149" y="0"/>
                  </a:cubicBezTo>
                  <a:cubicBezTo>
                    <a:pt x="65" y="9"/>
                    <a:pt x="0" y="80"/>
                    <a:pt x="0" y="166"/>
                  </a:cubicBezTo>
                  <a:cubicBezTo>
                    <a:pt x="0" y="258"/>
                    <a:pt x="75" y="333"/>
                    <a:pt x="167" y="333"/>
                  </a:cubicBezTo>
                  <a:cubicBezTo>
                    <a:pt x="259" y="333"/>
                    <a:pt x="334" y="258"/>
                    <a:pt x="334" y="166"/>
                  </a:cubicBezTo>
                  <a:cubicBezTo>
                    <a:pt x="334" y="80"/>
                    <a:pt x="269" y="9"/>
                    <a:pt x="185" y="0"/>
                  </a:cubicBezTo>
                  <a:cubicBezTo>
                    <a:pt x="185" y="0"/>
                    <a:pt x="185" y="0"/>
                    <a:pt x="185" y="0"/>
                  </a:cubicBezTo>
                  <a:cubicBezTo>
                    <a:pt x="185" y="0"/>
                    <a:pt x="184" y="0"/>
                    <a:pt x="184" y="0"/>
                  </a:cubicBezTo>
                  <a:cubicBezTo>
                    <a:pt x="183" y="0"/>
                    <a:pt x="182" y="0"/>
                    <a:pt x="18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dirty="0"/>
            </a:p>
          </p:txBody>
        </p:sp>
      </p:grpSp>
    </p:spTree>
    <p:extLst>
      <p:ext uri="{BB962C8B-B14F-4D97-AF65-F5344CB8AC3E}">
        <p14:creationId xmlns:p14="http://schemas.microsoft.com/office/powerpoint/2010/main" val="2244797195"/>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title" preserve="1">
  <p:cSld name="Title Slide Image">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806139"/>
            <a:ext cx="9144000" cy="3245724"/>
          </a:xfrm>
        </p:spPr>
        <p:txBody>
          <a:bodyPr anchor="ctr"/>
          <a:lstStyle>
            <a:lvl1pPr algn="ctr">
              <a:defRPr sz="4000">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524000" y="5714325"/>
            <a:ext cx="9144000" cy="453754"/>
          </a:xfrm>
        </p:spPr>
        <p:txBody>
          <a:bodyPr/>
          <a:lstStyle>
            <a:lvl1pPr marL="0" indent="0" algn="ctr">
              <a:buNone/>
              <a:defRPr sz="2399">
                <a:solidFill>
                  <a:schemeClr val="bg1"/>
                </a:solidFill>
              </a:defRPr>
            </a:lvl1pPr>
            <a:lvl2pPr marL="456963" indent="0" algn="ctr">
              <a:buNone/>
              <a:defRPr sz="1999"/>
            </a:lvl2pPr>
            <a:lvl3pPr marL="913923" indent="0" algn="ctr">
              <a:buNone/>
              <a:defRPr sz="1799"/>
            </a:lvl3pPr>
            <a:lvl4pPr marL="1370889" indent="0" algn="ctr">
              <a:buNone/>
              <a:defRPr sz="1599"/>
            </a:lvl4pPr>
            <a:lvl5pPr marL="1827852" indent="0" algn="ctr">
              <a:buNone/>
              <a:defRPr sz="1599"/>
            </a:lvl5pPr>
            <a:lvl6pPr marL="2284812" indent="0" algn="ctr">
              <a:buNone/>
              <a:defRPr sz="1599"/>
            </a:lvl6pPr>
            <a:lvl7pPr marL="2741775" indent="0" algn="ctr">
              <a:buNone/>
              <a:defRPr sz="1599"/>
            </a:lvl7pPr>
            <a:lvl8pPr marL="3198740" indent="0" algn="ctr">
              <a:buNone/>
              <a:defRPr sz="1599"/>
            </a:lvl8pPr>
            <a:lvl9pPr marL="3655703" indent="0" algn="ctr">
              <a:buNone/>
              <a:defRPr sz="1599"/>
            </a:lvl9pPr>
          </a:lstStyle>
          <a:p>
            <a:r>
              <a:rPr lang="en-US"/>
              <a:t>Click to edit Master subtitle style</a:t>
            </a:r>
            <a:endParaRPr lang="en-US" dirty="0"/>
          </a:p>
        </p:txBody>
      </p:sp>
      <p:grpSp>
        <p:nvGrpSpPr>
          <p:cNvPr id="7" name="Group 4">
            <a:extLst>
              <a:ext uri="{FF2B5EF4-FFF2-40B4-BE49-F238E27FC236}">
                <a16:creationId xmlns:a16="http://schemas.microsoft.com/office/drawing/2014/main" id="{70F54715-A93F-4896-93D9-0F87EC2FA633}"/>
              </a:ext>
            </a:extLst>
          </p:cNvPr>
          <p:cNvGrpSpPr>
            <a:grpSpLocks noChangeAspect="1"/>
          </p:cNvGrpSpPr>
          <p:nvPr userDrawn="1"/>
        </p:nvGrpSpPr>
        <p:grpSpPr bwMode="auto">
          <a:xfrm>
            <a:off x="4700788" y="689925"/>
            <a:ext cx="2793600" cy="681042"/>
            <a:chOff x="2071" y="1578"/>
            <a:chExt cx="2587" cy="631"/>
          </a:xfrm>
          <a:gradFill>
            <a:gsLst>
              <a:gs pos="50000">
                <a:srgbClr val="00E487"/>
              </a:gs>
              <a:gs pos="100000">
                <a:srgbClr val="1ECBD0"/>
              </a:gs>
            </a:gsLst>
            <a:lin ang="18900000" scaled="0"/>
          </a:gradFill>
        </p:grpSpPr>
        <p:sp>
          <p:nvSpPr>
            <p:cNvPr id="8" name="Freeform 5">
              <a:extLst>
                <a:ext uri="{FF2B5EF4-FFF2-40B4-BE49-F238E27FC236}">
                  <a16:creationId xmlns:a16="http://schemas.microsoft.com/office/drawing/2014/main" id="{846B7DFA-C5E8-4F62-AD8D-4DEE7917FD7D}"/>
                </a:ext>
              </a:extLst>
            </p:cNvPr>
            <p:cNvSpPr>
              <a:spLocks/>
            </p:cNvSpPr>
            <p:nvPr userDrawn="1"/>
          </p:nvSpPr>
          <p:spPr bwMode="auto">
            <a:xfrm>
              <a:off x="2765" y="1728"/>
              <a:ext cx="244" cy="318"/>
            </a:xfrm>
            <a:custGeom>
              <a:avLst/>
              <a:gdLst>
                <a:gd name="T0" fmla="*/ 12 w 129"/>
                <a:gd name="T1" fmla="*/ 0 h 168"/>
                <a:gd name="T2" fmla="*/ 8 w 129"/>
                <a:gd name="T3" fmla="*/ 4 h 168"/>
                <a:gd name="T4" fmla="*/ 8 w 129"/>
                <a:gd name="T5" fmla="*/ 25 h 168"/>
                <a:gd name="T6" fmla="*/ 12 w 129"/>
                <a:gd name="T7" fmla="*/ 29 h 168"/>
                <a:gd name="T8" fmla="*/ 48 w 129"/>
                <a:gd name="T9" fmla="*/ 29 h 168"/>
                <a:gd name="T10" fmla="*/ 48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2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2" y="0"/>
                  </a:moveTo>
                  <a:cubicBezTo>
                    <a:pt x="9" y="0"/>
                    <a:pt x="8" y="1"/>
                    <a:pt x="8" y="4"/>
                  </a:cubicBezTo>
                  <a:cubicBezTo>
                    <a:pt x="8" y="25"/>
                    <a:pt x="8" y="25"/>
                    <a:pt x="8" y="25"/>
                  </a:cubicBezTo>
                  <a:cubicBezTo>
                    <a:pt x="8" y="27"/>
                    <a:pt x="9" y="29"/>
                    <a:pt x="12" y="29"/>
                  </a:cubicBezTo>
                  <a:cubicBezTo>
                    <a:pt x="48" y="29"/>
                    <a:pt x="48" y="29"/>
                    <a:pt x="48" y="29"/>
                  </a:cubicBezTo>
                  <a:cubicBezTo>
                    <a:pt x="48" y="140"/>
                    <a:pt x="48" y="140"/>
                    <a:pt x="48"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8" y="140"/>
                    <a:pt x="125" y="140"/>
                  </a:cubicBezTo>
                  <a:cubicBezTo>
                    <a:pt x="76" y="140"/>
                    <a:pt x="76" y="140"/>
                    <a:pt x="76" y="140"/>
                  </a:cubicBezTo>
                  <a:cubicBezTo>
                    <a:pt x="76" y="4"/>
                    <a:pt x="76" y="4"/>
                    <a:pt x="76" y="4"/>
                  </a:cubicBezTo>
                  <a:cubicBezTo>
                    <a:pt x="76" y="1"/>
                    <a:pt x="75" y="0"/>
                    <a:pt x="72" y="0"/>
                  </a:cubicBez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dirty="0"/>
            </a:p>
          </p:txBody>
        </p:sp>
        <p:sp>
          <p:nvSpPr>
            <p:cNvPr id="9" name="Freeform 6">
              <a:extLst>
                <a:ext uri="{FF2B5EF4-FFF2-40B4-BE49-F238E27FC236}">
                  <a16:creationId xmlns:a16="http://schemas.microsoft.com/office/drawing/2014/main" id="{6ABD64B8-C9CA-4D12-BB30-52ABBBA59E99}"/>
                </a:ext>
              </a:extLst>
            </p:cNvPr>
            <p:cNvSpPr>
              <a:spLocks/>
            </p:cNvSpPr>
            <p:nvPr userDrawn="1"/>
          </p:nvSpPr>
          <p:spPr bwMode="auto">
            <a:xfrm>
              <a:off x="3798" y="1728"/>
              <a:ext cx="244" cy="318"/>
            </a:xfrm>
            <a:custGeom>
              <a:avLst/>
              <a:gdLst>
                <a:gd name="T0" fmla="*/ 11 w 129"/>
                <a:gd name="T1" fmla="*/ 0 h 168"/>
                <a:gd name="T2" fmla="*/ 8 w 129"/>
                <a:gd name="T3" fmla="*/ 4 h 168"/>
                <a:gd name="T4" fmla="*/ 8 w 129"/>
                <a:gd name="T5" fmla="*/ 25 h 168"/>
                <a:gd name="T6" fmla="*/ 11 w 129"/>
                <a:gd name="T7" fmla="*/ 29 h 168"/>
                <a:gd name="T8" fmla="*/ 47 w 129"/>
                <a:gd name="T9" fmla="*/ 29 h 168"/>
                <a:gd name="T10" fmla="*/ 47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1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1" y="0"/>
                  </a:moveTo>
                  <a:cubicBezTo>
                    <a:pt x="9" y="0"/>
                    <a:pt x="8" y="1"/>
                    <a:pt x="8" y="4"/>
                  </a:cubicBezTo>
                  <a:cubicBezTo>
                    <a:pt x="8" y="25"/>
                    <a:pt x="8" y="25"/>
                    <a:pt x="8" y="25"/>
                  </a:cubicBezTo>
                  <a:cubicBezTo>
                    <a:pt x="8" y="27"/>
                    <a:pt x="9" y="29"/>
                    <a:pt x="11" y="29"/>
                  </a:cubicBezTo>
                  <a:cubicBezTo>
                    <a:pt x="47" y="29"/>
                    <a:pt x="47" y="29"/>
                    <a:pt x="47" y="29"/>
                  </a:cubicBezTo>
                  <a:cubicBezTo>
                    <a:pt x="47" y="140"/>
                    <a:pt x="47" y="140"/>
                    <a:pt x="47"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7" y="140"/>
                    <a:pt x="125" y="140"/>
                  </a:cubicBezTo>
                  <a:cubicBezTo>
                    <a:pt x="76" y="140"/>
                    <a:pt x="76" y="140"/>
                    <a:pt x="76" y="140"/>
                  </a:cubicBezTo>
                  <a:cubicBezTo>
                    <a:pt x="76" y="4"/>
                    <a:pt x="76" y="4"/>
                    <a:pt x="76" y="4"/>
                  </a:cubicBezTo>
                  <a:cubicBezTo>
                    <a:pt x="75" y="1"/>
                    <a:pt x="74" y="0"/>
                    <a:pt x="72" y="0"/>
                  </a:cubicBez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dirty="0"/>
            </a:p>
          </p:txBody>
        </p:sp>
        <p:sp>
          <p:nvSpPr>
            <p:cNvPr id="10" name="Freeform 7">
              <a:extLst>
                <a:ext uri="{FF2B5EF4-FFF2-40B4-BE49-F238E27FC236}">
                  <a16:creationId xmlns:a16="http://schemas.microsoft.com/office/drawing/2014/main" id="{B038732F-5EB5-436D-B40F-847E37FC0954}"/>
                </a:ext>
              </a:extLst>
            </p:cNvPr>
            <p:cNvSpPr>
              <a:spLocks/>
            </p:cNvSpPr>
            <p:nvPr userDrawn="1"/>
          </p:nvSpPr>
          <p:spPr bwMode="auto">
            <a:xfrm>
              <a:off x="4361" y="1728"/>
              <a:ext cx="297" cy="464"/>
            </a:xfrm>
            <a:custGeom>
              <a:avLst/>
              <a:gdLst>
                <a:gd name="T0" fmla="*/ 132 w 157"/>
                <a:gd name="T1" fmla="*/ 0 h 245"/>
                <a:gd name="T2" fmla="*/ 127 w 157"/>
                <a:gd name="T3" fmla="*/ 3 h 245"/>
                <a:gd name="T4" fmla="*/ 127 w 157"/>
                <a:gd name="T5" fmla="*/ 3 h 245"/>
                <a:gd name="T6" fmla="*/ 79 w 157"/>
                <a:gd name="T7" fmla="*/ 128 h 245"/>
                <a:gd name="T8" fmla="*/ 30 w 157"/>
                <a:gd name="T9" fmla="*/ 4 h 245"/>
                <a:gd name="T10" fmla="*/ 25 w 157"/>
                <a:gd name="T11" fmla="*/ 0 h 245"/>
                <a:gd name="T12" fmla="*/ 4 w 157"/>
                <a:gd name="T13" fmla="*/ 0 h 245"/>
                <a:gd name="T14" fmla="*/ 0 w 157"/>
                <a:gd name="T15" fmla="*/ 3 h 245"/>
                <a:gd name="T16" fmla="*/ 1 w 157"/>
                <a:gd name="T17" fmla="*/ 6 h 245"/>
                <a:gd name="T18" fmla="*/ 1 w 157"/>
                <a:gd name="T19" fmla="*/ 6 h 245"/>
                <a:gd name="T20" fmla="*/ 1 w 157"/>
                <a:gd name="T21" fmla="*/ 6 h 245"/>
                <a:gd name="T22" fmla="*/ 64 w 157"/>
                <a:gd name="T23" fmla="*/ 168 h 245"/>
                <a:gd name="T24" fmla="*/ 59 w 157"/>
                <a:gd name="T25" fmla="*/ 182 h 245"/>
                <a:gd name="T26" fmla="*/ 48 w 157"/>
                <a:gd name="T27" fmla="*/ 205 h 245"/>
                <a:gd name="T28" fmla="*/ 38 w 157"/>
                <a:gd name="T29" fmla="*/ 215 h 245"/>
                <a:gd name="T30" fmla="*/ 30 w 157"/>
                <a:gd name="T31" fmla="*/ 217 h 245"/>
                <a:gd name="T32" fmla="*/ 26 w 157"/>
                <a:gd name="T33" fmla="*/ 216 h 245"/>
                <a:gd name="T34" fmla="*/ 14 w 157"/>
                <a:gd name="T35" fmla="*/ 213 h 245"/>
                <a:gd name="T36" fmla="*/ 7 w 157"/>
                <a:gd name="T37" fmla="*/ 210 h 245"/>
                <a:gd name="T38" fmla="*/ 3 w 157"/>
                <a:gd name="T39" fmla="*/ 215 h 245"/>
                <a:gd name="T40" fmla="*/ 3 w 157"/>
                <a:gd name="T41" fmla="*/ 233 h 245"/>
                <a:gd name="T42" fmla="*/ 3 w 157"/>
                <a:gd name="T43" fmla="*/ 233 h 245"/>
                <a:gd name="T44" fmla="*/ 7 w 157"/>
                <a:gd name="T45" fmla="*/ 240 h 245"/>
                <a:gd name="T46" fmla="*/ 32 w 157"/>
                <a:gd name="T47" fmla="*/ 245 h 245"/>
                <a:gd name="T48" fmla="*/ 54 w 157"/>
                <a:gd name="T49" fmla="*/ 238 h 245"/>
                <a:gd name="T50" fmla="*/ 73 w 157"/>
                <a:gd name="T51" fmla="*/ 220 h 245"/>
                <a:gd name="T52" fmla="*/ 79 w 157"/>
                <a:gd name="T53" fmla="*/ 208 h 245"/>
                <a:gd name="T54" fmla="*/ 156 w 157"/>
                <a:gd name="T55" fmla="*/ 6 h 245"/>
                <a:gd name="T56" fmla="*/ 157 w 157"/>
                <a:gd name="T57" fmla="*/ 3 h 245"/>
                <a:gd name="T58" fmla="*/ 153 w 157"/>
                <a:gd name="T59" fmla="*/ 0 h 245"/>
                <a:gd name="T60" fmla="*/ 132 w 157"/>
                <a:gd name="T6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7" h="245">
                  <a:moveTo>
                    <a:pt x="132" y="0"/>
                  </a:moveTo>
                  <a:cubicBezTo>
                    <a:pt x="129" y="0"/>
                    <a:pt x="128" y="1"/>
                    <a:pt x="127" y="3"/>
                  </a:cubicBezTo>
                  <a:cubicBezTo>
                    <a:pt x="127" y="3"/>
                    <a:pt x="127" y="3"/>
                    <a:pt x="127" y="3"/>
                  </a:cubicBezTo>
                  <a:cubicBezTo>
                    <a:pt x="79" y="128"/>
                    <a:pt x="79" y="128"/>
                    <a:pt x="79" y="128"/>
                  </a:cubicBezTo>
                  <a:cubicBezTo>
                    <a:pt x="30" y="4"/>
                    <a:pt x="30" y="4"/>
                    <a:pt x="30" y="4"/>
                  </a:cubicBezTo>
                  <a:cubicBezTo>
                    <a:pt x="29" y="1"/>
                    <a:pt x="28" y="0"/>
                    <a:pt x="25" y="0"/>
                  </a:cubicBezTo>
                  <a:cubicBezTo>
                    <a:pt x="4" y="0"/>
                    <a:pt x="4" y="0"/>
                    <a:pt x="4" y="0"/>
                  </a:cubicBezTo>
                  <a:cubicBezTo>
                    <a:pt x="2" y="0"/>
                    <a:pt x="0" y="1"/>
                    <a:pt x="0" y="3"/>
                  </a:cubicBezTo>
                  <a:cubicBezTo>
                    <a:pt x="0" y="4"/>
                    <a:pt x="1" y="5"/>
                    <a:pt x="1" y="6"/>
                  </a:cubicBezTo>
                  <a:cubicBezTo>
                    <a:pt x="1" y="6"/>
                    <a:pt x="1" y="6"/>
                    <a:pt x="1" y="6"/>
                  </a:cubicBezTo>
                  <a:cubicBezTo>
                    <a:pt x="1" y="6"/>
                    <a:pt x="1" y="6"/>
                    <a:pt x="1" y="6"/>
                  </a:cubicBezTo>
                  <a:cubicBezTo>
                    <a:pt x="64" y="168"/>
                    <a:pt x="64" y="168"/>
                    <a:pt x="64" y="168"/>
                  </a:cubicBezTo>
                  <a:cubicBezTo>
                    <a:pt x="59" y="182"/>
                    <a:pt x="59" y="182"/>
                    <a:pt x="59" y="182"/>
                  </a:cubicBezTo>
                  <a:cubicBezTo>
                    <a:pt x="57" y="187"/>
                    <a:pt x="53" y="199"/>
                    <a:pt x="48" y="205"/>
                  </a:cubicBezTo>
                  <a:cubicBezTo>
                    <a:pt x="44" y="211"/>
                    <a:pt x="42" y="213"/>
                    <a:pt x="38" y="215"/>
                  </a:cubicBezTo>
                  <a:cubicBezTo>
                    <a:pt x="35" y="216"/>
                    <a:pt x="33" y="217"/>
                    <a:pt x="30" y="217"/>
                  </a:cubicBezTo>
                  <a:cubicBezTo>
                    <a:pt x="28" y="217"/>
                    <a:pt x="27" y="217"/>
                    <a:pt x="26" y="216"/>
                  </a:cubicBezTo>
                  <a:cubicBezTo>
                    <a:pt x="22" y="216"/>
                    <a:pt x="18" y="214"/>
                    <a:pt x="14" y="213"/>
                  </a:cubicBezTo>
                  <a:cubicBezTo>
                    <a:pt x="11" y="212"/>
                    <a:pt x="9" y="210"/>
                    <a:pt x="7" y="210"/>
                  </a:cubicBezTo>
                  <a:cubicBezTo>
                    <a:pt x="5" y="210"/>
                    <a:pt x="3" y="212"/>
                    <a:pt x="3" y="215"/>
                  </a:cubicBezTo>
                  <a:cubicBezTo>
                    <a:pt x="3" y="233"/>
                    <a:pt x="3" y="233"/>
                    <a:pt x="3" y="233"/>
                  </a:cubicBezTo>
                  <a:cubicBezTo>
                    <a:pt x="3" y="233"/>
                    <a:pt x="3" y="233"/>
                    <a:pt x="3" y="233"/>
                  </a:cubicBezTo>
                  <a:cubicBezTo>
                    <a:pt x="3" y="236"/>
                    <a:pt x="4" y="238"/>
                    <a:pt x="7" y="240"/>
                  </a:cubicBezTo>
                  <a:cubicBezTo>
                    <a:pt x="15" y="243"/>
                    <a:pt x="21" y="245"/>
                    <a:pt x="32" y="245"/>
                  </a:cubicBezTo>
                  <a:cubicBezTo>
                    <a:pt x="41" y="244"/>
                    <a:pt x="47" y="242"/>
                    <a:pt x="54" y="238"/>
                  </a:cubicBezTo>
                  <a:cubicBezTo>
                    <a:pt x="61" y="233"/>
                    <a:pt x="67" y="227"/>
                    <a:pt x="73" y="220"/>
                  </a:cubicBezTo>
                  <a:cubicBezTo>
                    <a:pt x="75" y="216"/>
                    <a:pt x="77" y="212"/>
                    <a:pt x="79" y="208"/>
                  </a:cubicBezTo>
                  <a:cubicBezTo>
                    <a:pt x="83" y="200"/>
                    <a:pt x="144" y="40"/>
                    <a:pt x="156" y="6"/>
                  </a:cubicBezTo>
                  <a:cubicBezTo>
                    <a:pt x="157" y="5"/>
                    <a:pt x="157" y="4"/>
                    <a:pt x="157" y="3"/>
                  </a:cubicBezTo>
                  <a:cubicBezTo>
                    <a:pt x="157" y="1"/>
                    <a:pt x="155" y="0"/>
                    <a:pt x="153" y="0"/>
                  </a:cubicBezTo>
                  <a:lnTo>
                    <a:pt x="1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dirty="0"/>
            </a:p>
          </p:txBody>
        </p:sp>
        <p:sp>
          <p:nvSpPr>
            <p:cNvPr id="11" name="Freeform 8">
              <a:extLst>
                <a:ext uri="{FF2B5EF4-FFF2-40B4-BE49-F238E27FC236}">
                  <a16:creationId xmlns:a16="http://schemas.microsoft.com/office/drawing/2014/main" id="{B2C29C81-DF56-4D2E-89D6-7B7333393C3E}"/>
                </a:ext>
              </a:extLst>
            </p:cNvPr>
            <p:cNvSpPr>
              <a:spLocks/>
            </p:cNvSpPr>
            <p:nvPr userDrawn="1"/>
          </p:nvSpPr>
          <p:spPr bwMode="auto">
            <a:xfrm>
              <a:off x="3457" y="1726"/>
              <a:ext cx="263" cy="322"/>
            </a:xfrm>
            <a:custGeom>
              <a:avLst/>
              <a:gdLst>
                <a:gd name="T0" fmla="*/ 28 w 139"/>
                <a:gd name="T1" fmla="*/ 21 h 170"/>
                <a:gd name="T2" fmla="*/ 28 w 139"/>
                <a:gd name="T3" fmla="*/ 6 h 170"/>
                <a:gd name="T4" fmla="*/ 25 w 139"/>
                <a:gd name="T5" fmla="*/ 3 h 170"/>
                <a:gd name="T6" fmla="*/ 4 w 139"/>
                <a:gd name="T7" fmla="*/ 3 h 170"/>
                <a:gd name="T8" fmla="*/ 0 w 139"/>
                <a:gd name="T9" fmla="*/ 6 h 170"/>
                <a:gd name="T10" fmla="*/ 0 w 139"/>
                <a:gd name="T11" fmla="*/ 167 h 170"/>
                <a:gd name="T12" fmla="*/ 4 w 139"/>
                <a:gd name="T13" fmla="*/ 170 h 170"/>
                <a:gd name="T14" fmla="*/ 25 w 139"/>
                <a:gd name="T15" fmla="*/ 170 h 170"/>
                <a:gd name="T16" fmla="*/ 28 w 139"/>
                <a:gd name="T17" fmla="*/ 167 h 170"/>
                <a:gd name="T18" fmla="*/ 28 w 139"/>
                <a:gd name="T19" fmla="*/ 68 h 170"/>
                <a:gd name="T20" fmla="*/ 70 w 139"/>
                <a:gd name="T21" fmla="*/ 28 h 170"/>
                <a:gd name="T22" fmla="*/ 111 w 139"/>
                <a:gd name="T23" fmla="*/ 68 h 170"/>
                <a:gd name="T24" fmla="*/ 111 w 139"/>
                <a:gd name="T25" fmla="*/ 167 h 170"/>
                <a:gd name="T26" fmla="*/ 111 w 139"/>
                <a:gd name="T27" fmla="*/ 167 h 170"/>
                <a:gd name="T28" fmla="*/ 114 w 139"/>
                <a:gd name="T29" fmla="*/ 170 h 170"/>
                <a:gd name="T30" fmla="*/ 136 w 139"/>
                <a:gd name="T31" fmla="*/ 170 h 170"/>
                <a:gd name="T32" fmla="*/ 139 w 139"/>
                <a:gd name="T33" fmla="*/ 167 h 170"/>
                <a:gd name="T34" fmla="*/ 139 w 139"/>
                <a:gd name="T35" fmla="*/ 68 h 170"/>
                <a:gd name="T36" fmla="*/ 139 w 139"/>
                <a:gd name="T37" fmla="*/ 68 h 170"/>
                <a:gd name="T38" fmla="*/ 139 w 139"/>
                <a:gd name="T39" fmla="*/ 68 h 170"/>
                <a:gd name="T40" fmla="*/ 120 w 139"/>
                <a:gd name="T41" fmla="*/ 20 h 170"/>
                <a:gd name="T42" fmla="*/ 70 w 139"/>
                <a:gd name="T43" fmla="*/ 0 h 170"/>
                <a:gd name="T44" fmla="*/ 28 w 139"/>
                <a:gd name="T45" fmla="*/ 2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170">
                  <a:moveTo>
                    <a:pt x="28" y="21"/>
                  </a:moveTo>
                  <a:cubicBezTo>
                    <a:pt x="28" y="6"/>
                    <a:pt x="28" y="6"/>
                    <a:pt x="28" y="6"/>
                  </a:cubicBezTo>
                  <a:cubicBezTo>
                    <a:pt x="28" y="4"/>
                    <a:pt x="27" y="3"/>
                    <a:pt x="25" y="3"/>
                  </a:cubicBezTo>
                  <a:cubicBezTo>
                    <a:pt x="4" y="3"/>
                    <a:pt x="4" y="3"/>
                    <a:pt x="4" y="3"/>
                  </a:cubicBezTo>
                  <a:cubicBezTo>
                    <a:pt x="1" y="3"/>
                    <a:pt x="0" y="4"/>
                    <a:pt x="0" y="6"/>
                  </a:cubicBezTo>
                  <a:cubicBezTo>
                    <a:pt x="0" y="167"/>
                    <a:pt x="0" y="167"/>
                    <a:pt x="0" y="167"/>
                  </a:cubicBezTo>
                  <a:cubicBezTo>
                    <a:pt x="0" y="169"/>
                    <a:pt x="1" y="170"/>
                    <a:pt x="4" y="170"/>
                  </a:cubicBezTo>
                  <a:cubicBezTo>
                    <a:pt x="25" y="170"/>
                    <a:pt x="25" y="170"/>
                    <a:pt x="25" y="170"/>
                  </a:cubicBezTo>
                  <a:cubicBezTo>
                    <a:pt x="27" y="170"/>
                    <a:pt x="28" y="169"/>
                    <a:pt x="28" y="167"/>
                  </a:cubicBezTo>
                  <a:cubicBezTo>
                    <a:pt x="28" y="68"/>
                    <a:pt x="28" y="68"/>
                    <a:pt x="28" y="68"/>
                  </a:cubicBezTo>
                  <a:cubicBezTo>
                    <a:pt x="28" y="49"/>
                    <a:pt x="42" y="28"/>
                    <a:pt x="70" y="28"/>
                  </a:cubicBezTo>
                  <a:cubicBezTo>
                    <a:pt x="97" y="28"/>
                    <a:pt x="111" y="49"/>
                    <a:pt x="111" y="68"/>
                  </a:cubicBezTo>
                  <a:cubicBezTo>
                    <a:pt x="111" y="167"/>
                    <a:pt x="111" y="167"/>
                    <a:pt x="111" y="167"/>
                  </a:cubicBezTo>
                  <a:cubicBezTo>
                    <a:pt x="111" y="167"/>
                    <a:pt x="111" y="167"/>
                    <a:pt x="111" y="167"/>
                  </a:cubicBezTo>
                  <a:cubicBezTo>
                    <a:pt x="111" y="169"/>
                    <a:pt x="112" y="170"/>
                    <a:pt x="114" y="170"/>
                  </a:cubicBezTo>
                  <a:cubicBezTo>
                    <a:pt x="136" y="170"/>
                    <a:pt x="136" y="170"/>
                    <a:pt x="136" y="170"/>
                  </a:cubicBezTo>
                  <a:cubicBezTo>
                    <a:pt x="138" y="170"/>
                    <a:pt x="139" y="169"/>
                    <a:pt x="139" y="167"/>
                  </a:cubicBezTo>
                  <a:cubicBezTo>
                    <a:pt x="139" y="68"/>
                    <a:pt x="139" y="68"/>
                    <a:pt x="139" y="68"/>
                  </a:cubicBezTo>
                  <a:cubicBezTo>
                    <a:pt x="139" y="68"/>
                    <a:pt x="139" y="68"/>
                    <a:pt x="139" y="68"/>
                  </a:cubicBezTo>
                  <a:cubicBezTo>
                    <a:pt x="139" y="68"/>
                    <a:pt x="139" y="68"/>
                    <a:pt x="139" y="68"/>
                  </a:cubicBezTo>
                  <a:cubicBezTo>
                    <a:pt x="139" y="51"/>
                    <a:pt x="133" y="35"/>
                    <a:pt x="120" y="20"/>
                  </a:cubicBezTo>
                  <a:cubicBezTo>
                    <a:pt x="109" y="7"/>
                    <a:pt x="88" y="0"/>
                    <a:pt x="70" y="0"/>
                  </a:cubicBezTo>
                  <a:cubicBezTo>
                    <a:pt x="41" y="0"/>
                    <a:pt x="28" y="21"/>
                    <a:pt x="28"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dirty="0"/>
            </a:p>
          </p:txBody>
        </p:sp>
        <p:sp>
          <p:nvSpPr>
            <p:cNvPr id="12" name="Freeform 9">
              <a:extLst>
                <a:ext uri="{FF2B5EF4-FFF2-40B4-BE49-F238E27FC236}">
                  <a16:creationId xmlns:a16="http://schemas.microsoft.com/office/drawing/2014/main" id="{B38DB0D8-2A95-458B-BC03-75E42A03A8C8}"/>
                </a:ext>
              </a:extLst>
            </p:cNvPr>
            <p:cNvSpPr>
              <a:spLocks/>
            </p:cNvSpPr>
            <p:nvPr userDrawn="1"/>
          </p:nvSpPr>
          <p:spPr bwMode="auto">
            <a:xfrm>
              <a:off x="2264" y="1724"/>
              <a:ext cx="246" cy="328"/>
            </a:xfrm>
            <a:custGeom>
              <a:avLst/>
              <a:gdLst>
                <a:gd name="T0" fmla="*/ 4 w 130"/>
                <a:gd name="T1" fmla="*/ 48 h 173"/>
                <a:gd name="T2" fmla="*/ 56 w 130"/>
                <a:gd name="T3" fmla="*/ 97 h 173"/>
                <a:gd name="T4" fmla="*/ 57 w 130"/>
                <a:gd name="T5" fmla="*/ 98 h 173"/>
                <a:gd name="T6" fmla="*/ 101 w 130"/>
                <a:gd name="T7" fmla="*/ 124 h 173"/>
                <a:gd name="T8" fmla="*/ 66 w 130"/>
                <a:gd name="T9" fmla="*/ 146 h 173"/>
                <a:gd name="T10" fmla="*/ 30 w 130"/>
                <a:gd name="T11" fmla="*/ 118 h 173"/>
                <a:gd name="T12" fmla="*/ 26 w 130"/>
                <a:gd name="T13" fmla="*/ 114 h 173"/>
                <a:gd name="T14" fmla="*/ 5 w 130"/>
                <a:gd name="T15" fmla="*/ 114 h 173"/>
                <a:gd name="T16" fmla="*/ 0 w 130"/>
                <a:gd name="T17" fmla="*/ 118 h 173"/>
                <a:gd name="T18" fmla="*/ 65 w 130"/>
                <a:gd name="T19" fmla="*/ 173 h 173"/>
                <a:gd name="T20" fmla="*/ 130 w 130"/>
                <a:gd name="T21" fmla="*/ 120 h 173"/>
                <a:gd name="T22" fmla="*/ 72 w 130"/>
                <a:gd name="T23" fmla="*/ 74 h 173"/>
                <a:gd name="T24" fmla="*/ 32 w 130"/>
                <a:gd name="T25" fmla="*/ 48 h 173"/>
                <a:gd name="T26" fmla="*/ 63 w 130"/>
                <a:gd name="T27" fmla="*/ 27 h 173"/>
                <a:gd name="T28" fmla="*/ 97 w 130"/>
                <a:gd name="T29" fmla="*/ 49 h 173"/>
                <a:gd name="T30" fmla="*/ 102 w 130"/>
                <a:gd name="T31" fmla="*/ 53 h 173"/>
                <a:gd name="T32" fmla="*/ 120 w 130"/>
                <a:gd name="T33" fmla="*/ 53 h 173"/>
                <a:gd name="T34" fmla="*/ 125 w 130"/>
                <a:gd name="T35" fmla="*/ 48 h 173"/>
                <a:gd name="T36" fmla="*/ 63 w 130"/>
                <a:gd name="T37" fmla="*/ 0 h 173"/>
                <a:gd name="T38" fmla="*/ 4 w 130"/>
                <a:gd name="T39" fmla="*/ 4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173">
                  <a:moveTo>
                    <a:pt x="4" y="48"/>
                  </a:moveTo>
                  <a:cubicBezTo>
                    <a:pt x="4" y="77"/>
                    <a:pt x="19" y="91"/>
                    <a:pt x="56" y="97"/>
                  </a:cubicBezTo>
                  <a:cubicBezTo>
                    <a:pt x="57" y="98"/>
                    <a:pt x="57" y="98"/>
                    <a:pt x="57" y="98"/>
                  </a:cubicBezTo>
                  <a:cubicBezTo>
                    <a:pt x="83" y="102"/>
                    <a:pt x="101" y="105"/>
                    <a:pt x="101" y="124"/>
                  </a:cubicBezTo>
                  <a:cubicBezTo>
                    <a:pt x="101" y="139"/>
                    <a:pt x="83" y="146"/>
                    <a:pt x="66" y="146"/>
                  </a:cubicBezTo>
                  <a:cubicBezTo>
                    <a:pt x="46" y="146"/>
                    <a:pt x="33" y="136"/>
                    <a:pt x="30" y="118"/>
                  </a:cubicBezTo>
                  <a:cubicBezTo>
                    <a:pt x="30" y="116"/>
                    <a:pt x="29" y="114"/>
                    <a:pt x="26" y="114"/>
                  </a:cubicBezTo>
                  <a:cubicBezTo>
                    <a:pt x="5" y="114"/>
                    <a:pt x="5" y="114"/>
                    <a:pt x="5" y="114"/>
                  </a:cubicBezTo>
                  <a:cubicBezTo>
                    <a:pt x="2" y="114"/>
                    <a:pt x="0" y="116"/>
                    <a:pt x="0" y="118"/>
                  </a:cubicBezTo>
                  <a:cubicBezTo>
                    <a:pt x="0" y="150"/>
                    <a:pt x="27" y="173"/>
                    <a:pt x="65" y="173"/>
                  </a:cubicBezTo>
                  <a:cubicBezTo>
                    <a:pt x="104" y="173"/>
                    <a:pt x="130" y="151"/>
                    <a:pt x="130" y="120"/>
                  </a:cubicBezTo>
                  <a:cubicBezTo>
                    <a:pt x="130" y="86"/>
                    <a:pt x="100" y="79"/>
                    <a:pt x="72" y="74"/>
                  </a:cubicBezTo>
                  <a:cubicBezTo>
                    <a:pt x="37" y="68"/>
                    <a:pt x="32" y="58"/>
                    <a:pt x="32" y="48"/>
                  </a:cubicBezTo>
                  <a:cubicBezTo>
                    <a:pt x="32" y="32"/>
                    <a:pt x="49" y="27"/>
                    <a:pt x="63" y="27"/>
                  </a:cubicBezTo>
                  <a:cubicBezTo>
                    <a:pt x="82" y="27"/>
                    <a:pt x="94" y="34"/>
                    <a:pt x="97" y="49"/>
                  </a:cubicBezTo>
                  <a:cubicBezTo>
                    <a:pt x="98" y="51"/>
                    <a:pt x="98" y="53"/>
                    <a:pt x="102" y="53"/>
                  </a:cubicBezTo>
                  <a:cubicBezTo>
                    <a:pt x="120" y="53"/>
                    <a:pt x="120" y="53"/>
                    <a:pt x="120" y="53"/>
                  </a:cubicBezTo>
                  <a:cubicBezTo>
                    <a:pt x="123" y="53"/>
                    <a:pt x="125" y="51"/>
                    <a:pt x="125" y="48"/>
                  </a:cubicBezTo>
                  <a:cubicBezTo>
                    <a:pt x="125" y="19"/>
                    <a:pt x="100" y="0"/>
                    <a:pt x="63" y="0"/>
                  </a:cubicBezTo>
                  <a:cubicBezTo>
                    <a:pt x="22" y="0"/>
                    <a:pt x="4" y="25"/>
                    <a:pt x="4" y="4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dirty="0"/>
            </a:p>
          </p:txBody>
        </p:sp>
        <p:sp>
          <p:nvSpPr>
            <p:cNvPr id="13" name="Freeform 10">
              <a:extLst>
                <a:ext uri="{FF2B5EF4-FFF2-40B4-BE49-F238E27FC236}">
                  <a16:creationId xmlns:a16="http://schemas.microsoft.com/office/drawing/2014/main" id="{285FBA9D-B6C7-4BE7-90DC-3572BFC95303}"/>
                </a:ext>
              </a:extLst>
            </p:cNvPr>
            <p:cNvSpPr>
              <a:spLocks/>
            </p:cNvSpPr>
            <p:nvPr userDrawn="1"/>
          </p:nvSpPr>
          <p:spPr bwMode="auto">
            <a:xfrm>
              <a:off x="3062" y="1722"/>
              <a:ext cx="312" cy="474"/>
            </a:xfrm>
            <a:custGeom>
              <a:avLst/>
              <a:gdLst>
                <a:gd name="T0" fmla="*/ 67 w 165"/>
                <a:gd name="T1" fmla="*/ 0 h 250"/>
                <a:gd name="T2" fmla="*/ 0 w 165"/>
                <a:gd name="T3" fmla="*/ 86 h 250"/>
                <a:gd name="T4" fmla="*/ 82 w 165"/>
                <a:gd name="T5" fmla="*/ 174 h 250"/>
                <a:gd name="T6" fmla="*/ 137 w 165"/>
                <a:gd name="T7" fmla="*/ 152 h 250"/>
                <a:gd name="T8" fmla="*/ 137 w 165"/>
                <a:gd name="T9" fmla="*/ 173 h 250"/>
                <a:gd name="T10" fmla="*/ 89 w 165"/>
                <a:gd name="T11" fmla="*/ 222 h 250"/>
                <a:gd name="T12" fmla="*/ 48 w 165"/>
                <a:gd name="T13" fmla="*/ 194 h 250"/>
                <a:gd name="T14" fmla="*/ 43 w 165"/>
                <a:gd name="T15" fmla="*/ 190 h 250"/>
                <a:gd name="T16" fmla="*/ 24 w 165"/>
                <a:gd name="T17" fmla="*/ 190 h 250"/>
                <a:gd name="T18" fmla="*/ 19 w 165"/>
                <a:gd name="T19" fmla="*/ 195 h 250"/>
                <a:gd name="T20" fmla="*/ 89 w 165"/>
                <a:gd name="T21" fmla="*/ 250 h 250"/>
                <a:gd name="T22" fmla="*/ 165 w 165"/>
                <a:gd name="T23" fmla="*/ 174 h 250"/>
                <a:gd name="T24" fmla="*/ 165 w 165"/>
                <a:gd name="T25" fmla="*/ 7 h 250"/>
                <a:gd name="T26" fmla="*/ 162 w 165"/>
                <a:gd name="T27" fmla="*/ 4 h 250"/>
                <a:gd name="T28" fmla="*/ 140 w 165"/>
                <a:gd name="T29" fmla="*/ 4 h 250"/>
                <a:gd name="T30" fmla="*/ 137 w 165"/>
                <a:gd name="T31" fmla="*/ 7 h 250"/>
                <a:gd name="T32" fmla="*/ 137 w 165"/>
                <a:gd name="T33" fmla="*/ 21 h 250"/>
                <a:gd name="T34" fmla="*/ 99 w 165"/>
                <a:gd name="T35" fmla="*/ 0 h 250"/>
                <a:gd name="T36" fmla="*/ 96 w 165"/>
                <a:gd name="T37" fmla="*/ 3 h 250"/>
                <a:gd name="T38" fmla="*/ 96 w 165"/>
                <a:gd name="T39" fmla="*/ 28 h 250"/>
                <a:gd name="T40" fmla="*/ 97 w 165"/>
                <a:gd name="T41" fmla="*/ 31 h 250"/>
                <a:gd name="T42" fmla="*/ 138 w 165"/>
                <a:gd name="T43" fmla="*/ 87 h 250"/>
                <a:gd name="T44" fmla="*/ 83 w 165"/>
                <a:gd name="T45" fmla="*/ 146 h 250"/>
                <a:gd name="T46" fmla="*/ 29 w 165"/>
                <a:gd name="T47" fmla="*/ 87 h 250"/>
                <a:gd name="T48" fmla="*/ 68 w 165"/>
                <a:gd name="T49" fmla="*/ 31 h 250"/>
                <a:gd name="T50" fmla="*/ 70 w 165"/>
                <a:gd name="T51" fmla="*/ 29 h 250"/>
                <a:gd name="T52" fmla="*/ 70 w 165"/>
                <a:gd name="T53" fmla="*/ 3 h 250"/>
                <a:gd name="T54" fmla="*/ 67 w 165"/>
                <a:gd name="T55" fmla="*/ 0 h 250"/>
                <a:gd name="T56" fmla="*/ 67 w 165"/>
                <a:gd name="T57"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5" h="250">
                  <a:moveTo>
                    <a:pt x="67" y="0"/>
                  </a:moveTo>
                  <a:cubicBezTo>
                    <a:pt x="29" y="8"/>
                    <a:pt x="0" y="44"/>
                    <a:pt x="0" y="86"/>
                  </a:cubicBezTo>
                  <a:cubicBezTo>
                    <a:pt x="0" y="135"/>
                    <a:pt x="37" y="174"/>
                    <a:pt x="82" y="174"/>
                  </a:cubicBezTo>
                  <a:cubicBezTo>
                    <a:pt x="103" y="174"/>
                    <a:pt x="122" y="166"/>
                    <a:pt x="137" y="152"/>
                  </a:cubicBezTo>
                  <a:cubicBezTo>
                    <a:pt x="137" y="173"/>
                    <a:pt x="137" y="173"/>
                    <a:pt x="137" y="173"/>
                  </a:cubicBezTo>
                  <a:cubicBezTo>
                    <a:pt x="137" y="205"/>
                    <a:pt x="120" y="222"/>
                    <a:pt x="89" y="222"/>
                  </a:cubicBezTo>
                  <a:cubicBezTo>
                    <a:pt x="66" y="222"/>
                    <a:pt x="52" y="213"/>
                    <a:pt x="48" y="194"/>
                  </a:cubicBezTo>
                  <a:cubicBezTo>
                    <a:pt x="47" y="192"/>
                    <a:pt x="46" y="190"/>
                    <a:pt x="43" y="190"/>
                  </a:cubicBezTo>
                  <a:cubicBezTo>
                    <a:pt x="24" y="190"/>
                    <a:pt x="24" y="190"/>
                    <a:pt x="24" y="190"/>
                  </a:cubicBezTo>
                  <a:cubicBezTo>
                    <a:pt x="21" y="190"/>
                    <a:pt x="19" y="192"/>
                    <a:pt x="19" y="195"/>
                  </a:cubicBezTo>
                  <a:cubicBezTo>
                    <a:pt x="22" y="228"/>
                    <a:pt x="51" y="250"/>
                    <a:pt x="89" y="250"/>
                  </a:cubicBezTo>
                  <a:cubicBezTo>
                    <a:pt x="135" y="250"/>
                    <a:pt x="165" y="219"/>
                    <a:pt x="165" y="174"/>
                  </a:cubicBezTo>
                  <a:cubicBezTo>
                    <a:pt x="165" y="7"/>
                    <a:pt x="165" y="7"/>
                    <a:pt x="165" y="7"/>
                  </a:cubicBezTo>
                  <a:cubicBezTo>
                    <a:pt x="165" y="5"/>
                    <a:pt x="164" y="4"/>
                    <a:pt x="162" y="4"/>
                  </a:cubicBezTo>
                  <a:cubicBezTo>
                    <a:pt x="140" y="4"/>
                    <a:pt x="140" y="4"/>
                    <a:pt x="140" y="4"/>
                  </a:cubicBezTo>
                  <a:cubicBezTo>
                    <a:pt x="138" y="4"/>
                    <a:pt x="137" y="5"/>
                    <a:pt x="137" y="7"/>
                  </a:cubicBezTo>
                  <a:cubicBezTo>
                    <a:pt x="137" y="21"/>
                    <a:pt x="137" y="21"/>
                    <a:pt x="137" y="21"/>
                  </a:cubicBezTo>
                  <a:cubicBezTo>
                    <a:pt x="126" y="11"/>
                    <a:pt x="113" y="4"/>
                    <a:pt x="99" y="0"/>
                  </a:cubicBezTo>
                  <a:cubicBezTo>
                    <a:pt x="97" y="0"/>
                    <a:pt x="96" y="1"/>
                    <a:pt x="96" y="3"/>
                  </a:cubicBezTo>
                  <a:cubicBezTo>
                    <a:pt x="96" y="28"/>
                    <a:pt x="96" y="28"/>
                    <a:pt x="96" y="28"/>
                  </a:cubicBezTo>
                  <a:cubicBezTo>
                    <a:pt x="96" y="29"/>
                    <a:pt x="96" y="30"/>
                    <a:pt x="97" y="31"/>
                  </a:cubicBezTo>
                  <a:cubicBezTo>
                    <a:pt x="121" y="37"/>
                    <a:pt x="138" y="60"/>
                    <a:pt x="138" y="87"/>
                  </a:cubicBezTo>
                  <a:cubicBezTo>
                    <a:pt x="138" y="119"/>
                    <a:pt x="114" y="146"/>
                    <a:pt x="83" y="146"/>
                  </a:cubicBezTo>
                  <a:cubicBezTo>
                    <a:pt x="53" y="146"/>
                    <a:pt x="29" y="119"/>
                    <a:pt x="29" y="87"/>
                  </a:cubicBezTo>
                  <a:cubicBezTo>
                    <a:pt x="29" y="61"/>
                    <a:pt x="45" y="38"/>
                    <a:pt x="68" y="31"/>
                  </a:cubicBezTo>
                  <a:cubicBezTo>
                    <a:pt x="69" y="31"/>
                    <a:pt x="70" y="30"/>
                    <a:pt x="70" y="29"/>
                  </a:cubicBezTo>
                  <a:cubicBezTo>
                    <a:pt x="70" y="3"/>
                    <a:pt x="70" y="3"/>
                    <a:pt x="70" y="3"/>
                  </a:cubicBezTo>
                  <a:cubicBezTo>
                    <a:pt x="70" y="1"/>
                    <a:pt x="69" y="0"/>
                    <a:pt x="67" y="0"/>
                  </a:cubicBezTo>
                  <a:cubicBezTo>
                    <a:pt x="67" y="0"/>
                    <a:pt x="67" y="0"/>
                    <a:pt x="6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dirty="0"/>
            </a:p>
          </p:txBody>
        </p:sp>
        <p:sp>
          <p:nvSpPr>
            <p:cNvPr id="14" name="Oval 11">
              <a:extLst>
                <a:ext uri="{FF2B5EF4-FFF2-40B4-BE49-F238E27FC236}">
                  <a16:creationId xmlns:a16="http://schemas.microsoft.com/office/drawing/2014/main" id="{48DD9144-12C1-4B89-9F6D-92B4361D96B3}"/>
                </a:ext>
              </a:extLst>
            </p:cNvPr>
            <p:cNvSpPr>
              <a:spLocks noChangeArrowheads="1"/>
            </p:cNvSpPr>
            <p:nvPr userDrawn="1"/>
          </p:nvSpPr>
          <p:spPr bwMode="auto">
            <a:xfrm>
              <a:off x="284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dirty="0"/>
            </a:p>
          </p:txBody>
        </p:sp>
        <p:sp>
          <p:nvSpPr>
            <p:cNvPr id="15" name="Oval 12">
              <a:extLst>
                <a:ext uri="{FF2B5EF4-FFF2-40B4-BE49-F238E27FC236}">
                  <a16:creationId xmlns:a16="http://schemas.microsoft.com/office/drawing/2014/main" id="{01B98C09-7AAE-43C7-82DE-9DB278B02F42}"/>
                </a:ext>
              </a:extLst>
            </p:cNvPr>
            <p:cNvSpPr>
              <a:spLocks noChangeArrowheads="1"/>
            </p:cNvSpPr>
            <p:nvPr userDrawn="1"/>
          </p:nvSpPr>
          <p:spPr bwMode="auto">
            <a:xfrm>
              <a:off x="387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dirty="0"/>
            </a:p>
          </p:txBody>
        </p:sp>
        <p:sp>
          <p:nvSpPr>
            <p:cNvPr id="16" name="Freeform 13">
              <a:extLst>
                <a:ext uri="{FF2B5EF4-FFF2-40B4-BE49-F238E27FC236}">
                  <a16:creationId xmlns:a16="http://schemas.microsoft.com/office/drawing/2014/main" id="{DF4FD3F7-7AD2-4CA4-8D7C-34E6C136A5E6}"/>
                </a:ext>
              </a:extLst>
            </p:cNvPr>
            <p:cNvSpPr>
              <a:spLocks/>
            </p:cNvSpPr>
            <p:nvPr userDrawn="1"/>
          </p:nvSpPr>
          <p:spPr bwMode="auto">
            <a:xfrm>
              <a:off x="4062" y="1584"/>
              <a:ext cx="242" cy="462"/>
            </a:xfrm>
            <a:custGeom>
              <a:avLst/>
              <a:gdLst>
                <a:gd name="T0" fmla="*/ 39 w 128"/>
                <a:gd name="T1" fmla="*/ 55 h 244"/>
                <a:gd name="T2" fmla="*/ 39 w 128"/>
                <a:gd name="T3" fmla="*/ 76 h 244"/>
                <a:gd name="T4" fmla="*/ 4 w 128"/>
                <a:gd name="T5" fmla="*/ 76 h 244"/>
                <a:gd name="T6" fmla="*/ 0 w 128"/>
                <a:gd name="T7" fmla="*/ 81 h 244"/>
                <a:gd name="T8" fmla="*/ 0 w 128"/>
                <a:gd name="T9" fmla="*/ 99 h 244"/>
                <a:gd name="T10" fmla="*/ 4 w 128"/>
                <a:gd name="T11" fmla="*/ 103 h 244"/>
                <a:gd name="T12" fmla="*/ 39 w 128"/>
                <a:gd name="T13" fmla="*/ 103 h 244"/>
                <a:gd name="T14" fmla="*/ 39 w 128"/>
                <a:gd name="T15" fmla="*/ 239 h 244"/>
                <a:gd name="T16" fmla="*/ 44 w 128"/>
                <a:gd name="T17" fmla="*/ 244 h 244"/>
                <a:gd name="T18" fmla="*/ 62 w 128"/>
                <a:gd name="T19" fmla="*/ 244 h 244"/>
                <a:gd name="T20" fmla="*/ 67 w 128"/>
                <a:gd name="T21" fmla="*/ 239 h 244"/>
                <a:gd name="T22" fmla="*/ 67 w 128"/>
                <a:gd name="T23" fmla="*/ 103 h 244"/>
                <a:gd name="T24" fmla="*/ 120 w 128"/>
                <a:gd name="T25" fmla="*/ 103 h 244"/>
                <a:gd name="T26" fmla="*/ 125 w 128"/>
                <a:gd name="T27" fmla="*/ 99 h 244"/>
                <a:gd name="T28" fmla="*/ 125 w 128"/>
                <a:gd name="T29" fmla="*/ 81 h 244"/>
                <a:gd name="T30" fmla="*/ 120 w 128"/>
                <a:gd name="T31" fmla="*/ 76 h 244"/>
                <a:gd name="T32" fmla="*/ 67 w 128"/>
                <a:gd name="T33" fmla="*/ 76 h 244"/>
                <a:gd name="T34" fmla="*/ 67 w 128"/>
                <a:gd name="T35" fmla="*/ 55 h 244"/>
                <a:gd name="T36" fmla="*/ 91 w 128"/>
                <a:gd name="T37" fmla="*/ 27 h 244"/>
                <a:gd name="T38" fmla="*/ 122 w 128"/>
                <a:gd name="T39" fmla="*/ 37 h 244"/>
                <a:gd name="T40" fmla="*/ 125 w 128"/>
                <a:gd name="T41" fmla="*/ 38 h 244"/>
                <a:gd name="T42" fmla="*/ 128 w 128"/>
                <a:gd name="T43" fmla="*/ 33 h 244"/>
                <a:gd name="T44" fmla="*/ 128 w 128"/>
                <a:gd name="T45" fmla="*/ 16 h 244"/>
                <a:gd name="T46" fmla="*/ 125 w 128"/>
                <a:gd name="T47" fmla="*/ 9 h 244"/>
                <a:gd name="T48" fmla="*/ 89 w 128"/>
                <a:gd name="T49" fmla="*/ 0 h 244"/>
                <a:gd name="T50" fmla="*/ 39 w 128"/>
                <a:gd name="T51" fmla="*/ 5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244">
                  <a:moveTo>
                    <a:pt x="39" y="55"/>
                  </a:moveTo>
                  <a:cubicBezTo>
                    <a:pt x="39" y="76"/>
                    <a:pt x="39" y="76"/>
                    <a:pt x="39" y="76"/>
                  </a:cubicBezTo>
                  <a:cubicBezTo>
                    <a:pt x="4" y="76"/>
                    <a:pt x="4" y="76"/>
                    <a:pt x="4" y="76"/>
                  </a:cubicBezTo>
                  <a:cubicBezTo>
                    <a:pt x="1" y="76"/>
                    <a:pt x="0" y="78"/>
                    <a:pt x="0" y="81"/>
                  </a:cubicBezTo>
                  <a:cubicBezTo>
                    <a:pt x="0" y="99"/>
                    <a:pt x="0" y="99"/>
                    <a:pt x="0" y="99"/>
                  </a:cubicBezTo>
                  <a:cubicBezTo>
                    <a:pt x="0" y="102"/>
                    <a:pt x="1" y="103"/>
                    <a:pt x="4" y="103"/>
                  </a:cubicBezTo>
                  <a:cubicBezTo>
                    <a:pt x="39" y="103"/>
                    <a:pt x="39" y="103"/>
                    <a:pt x="39" y="103"/>
                  </a:cubicBezTo>
                  <a:cubicBezTo>
                    <a:pt x="39" y="239"/>
                    <a:pt x="39" y="239"/>
                    <a:pt x="39" y="239"/>
                  </a:cubicBezTo>
                  <a:cubicBezTo>
                    <a:pt x="39" y="242"/>
                    <a:pt x="41" y="244"/>
                    <a:pt x="44" y="244"/>
                  </a:cubicBezTo>
                  <a:cubicBezTo>
                    <a:pt x="62" y="244"/>
                    <a:pt x="62" y="244"/>
                    <a:pt x="62" y="244"/>
                  </a:cubicBezTo>
                  <a:cubicBezTo>
                    <a:pt x="65" y="244"/>
                    <a:pt x="67" y="242"/>
                    <a:pt x="67" y="239"/>
                  </a:cubicBezTo>
                  <a:cubicBezTo>
                    <a:pt x="67" y="103"/>
                    <a:pt x="67" y="103"/>
                    <a:pt x="67" y="103"/>
                  </a:cubicBezTo>
                  <a:cubicBezTo>
                    <a:pt x="120" y="103"/>
                    <a:pt x="120" y="103"/>
                    <a:pt x="120" y="103"/>
                  </a:cubicBezTo>
                  <a:cubicBezTo>
                    <a:pt x="123" y="103"/>
                    <a:pt x="125" y="102"/>
                    <a:pt x="125" y="99"/>
                  </a:cubicBezTo>
                  <a:cubicBezTo>
                    <a:pt x="125" y="81"/>
                    <a:pt x="125" y="81"/>
                    <a:pt x="125" y="81"/>
                  </a:cubicBezTo>
                  <a:cubicBezTo>
                    <a:pt x="125" y="78"/>
                    <a:pt x="123" y="76"/>
                    <a:pt x="120" y="76"/>
                  </a:cubicBezTo>
                  <a:cubicBezTo>
                    <a:pt x="67" y="76"/>
                    <a:pt x="67" y="76"/>
                    <a:pt x="67" y="76"/>
                  </a:cubicBezTo>
                  <a:cubicBezTo>
                    <a:pt x="67" y="55"/>
                    <a:pt x="67" y="55"/>
                    <a:pt x="67" y="55"/>
                  </a:cubicBezTo>
                  <a:cubicBezTo>
                    <a:pt x="67" y="38"/>
                    <a:pt x="76" y="27"/>
                    <a:pt x="91" y="27"/>
                  </a:cubicBezTo>
                  <a:cubicBezTo>
                    <a:pt x="102" y="27"/>
                    <a:pt x="110" y="30"/>
                    <a:pt x="122" y="37"/>
                  </a:cubicBezTo>
                  <a:cubicBezTo>
                    <a:pt x="123" y="38"/>
                    <a:pt x="124" y="38"/>
                    <a:pt x="125" y="38"/>
                  </a:cubicBezTo>
                  <a:cubicBezTo>
                    <a:pt x="127" y="38"/>
                    <a:pt x="128" y="36"/>
                    <a:pt x="128" y="33"/>
                  </a:cubicBezTo>
                  <a:cubicBezTo>
                    <a:pt x="128" y="16"/>
                    <a:pt x="128" y="16"/>
                    <a:pt x="128" y="16"/>
                  </a:cubicBezTo>
                  <a:cubicBezTo>
                    <a:pt x="128" y="13"/>
                    <a:pt x="128" y="11"/>
                    <a:pt x="125" y="9"/>
                  </a:cubicBezTo>
                  <a:cubicBezTo>
                    <a:pt x="114" y="3"/>
                    <a:pt x="103" y="0"/>
                    <a:pt x="89" y="0"/>
                  </a:cubicBezTo>
                  <a:cubicBezTo>
                    <a:pt x="54" y="0"/>
                    <a:pt x="39" y="29"/>
                    <a:pt x="39"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dirty="0"/>
            </a:p>
          </p:txBody>
        </p:sp>
        <p:sp>
          <p:nvSpPr>
            <p:cNvPr id="17" name="Freeform 14">
              <a:extLst>
                <a:ext uri="{FF2B5EF4-FFF2-40B4-BE49-F238E27FC236}">
                  <a16:creationId xmlns:a16="http://schemas.microsoft.com/office/drawing/2014/main" id="{E3F74A4C-3F35-49ED-8FDB-98270CD3D01E}"/>
                </a:ext>
              </a:extLst>
            </p:cNvPr>
            <p:cNvSpPr>
              <a:spLocks/>
            </p:cNvSpPr>
            <p:nvPr userDrawn="1"/>
          </p:nvSpPr>
          <p:spPr bwMode="auto">
            <a:xfrm>
              <a:off x="2071" y="1578"/>
              <a:ext cx="632" cy="631"/>
            </a:xfrm>
            <a:custGeom>
              <a:avLst/>
              <a:gdLst>
                <a:gd name="T0" fmla="*/ 181 w 334"/>
                <a:gd name="T1" fmla="*/ 1 h 333"/>
                <a:gd name="T2" fmla="*/ 180 w 334"/>
                <a:gd name="T3" fmla="*/ 4 h 333"/>
                <a:gd name="T4" fmla="*/ 180 w 334"/>
                <a:gd name="T5" fmla="*/ 26 h 333"/>
                <a:gd name="T6" fmla="*/ 180 w 334"/>
                <a:gd name="T7" fmla="*/ 26 h 333"/>
                <a:gd name="T8" fmla="*/ 182 w 334"/>
                <a:gd name="T9" fmla="*/ 28 h 333"/>
                <a:gd name="T10" fmla="*/ 306 w 334"/>
                <a:gd name="T11" fmla="*/ 166 h 333"/>
                <a:gd name="T12" fmla="*/ 167 w 334"/>
                <a:gd name="T13" fmla="*/ 305 h 333"/>
                <a:gd name="T14" fmla="*/ 28 w 334"/>
                <a:gd name="T15" fmla="*/ 166 h 333"/>
                <a:gd name="T16" fmla="*/ 152 w 334"/>
                <a:gd name="T17" fmla="*/ 28 h 333"/>
                <a:gd name="T18" fmla="*/ 154 w 334"/>
                <a:gd name="T19" fmla="*/ 26 h 333"/>
                <a:gd name="T20" fmla="*/ 154 w 334"/>
                <a:gd name="T21" fmla="*/ 26 h 333"/>
                <a:gd name="T22" fmla="*/ 154 w 334"/>
                <a:gd name="T23" fmla="*/ 4 h 333"/>
                <a:gd name="T24" fmla="*/ 153 w 334"/>
                <a:gd name="T25" fmla="*/ 1 h 333"/>
                <a:gd name="T26" fmla="*/ 150 w 334"/>
                <a:gd name="T27" fmla="*/ 0 h 333"/>
                <a:gd name="T28" fmla="*/ 149 w 334"/>
                <a:gd name="T29" fmla="*/ 0 h 333"/>
                <a:gd name="T30" fmla="*/ 149 w 334"/>
                <a:gd name="T31" fmla="*/ 0 h 333"/>
                <a:gd name="T32" fmla="*/ 0 w 334"/>
                <a:gd name="T33" fmla="*/ 166 h 333"/>
                <a:gd name="T34" fmla="*/ 167 w 334"/>
                <a:gd name="T35" fmla="*/ 333 h 333"/>
                <a:gd name="T36" fmla="*/ 334 w 334"/>
                <a:gd name="T37" fmla="*/ 166 h 333"/>
                <a:gd name="T38" fmla="*/ 185 w 334"/>
                <a:gd name="T39" fmla="*/ 0 h 333"/>
                <a:gd name="T40" fmla="*/ 185 w 334"/>
                <a:gd name="T41" fmla="*/ 0 h 333"/>
                <a:gd name="T42" fmla="*/ 184 w 334"/>
                <a:gd name="T43" fmla="*/ 0 h 333"/>
                <a:gd name="T44" fmla="*/ 181 w 334"/>
                <a:gd name="T45" fmla="*/ 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4" h="333">
                  <a:moveTo>
                    <a:pt x="181" y="1"/>
                  </a:moveTo>
                  <a:cubicBezTo>
                    <a:pt x="180" y="2"/>
                    <a:pt x="180" y="3"/>
                    <a:pt x="180" y="4"/>
                  </a:cubicBezTo>
                  <a:cubicBezTo>
                    <a:pt x="180" y="26"/>
                    <a:pt x="180" y="26"/>
                    <a:pt x="180" y="26"/>
                  </a:cubicBezTo>
                  <a:cubicBezTo>
                    <a:pt x="180" y="26"/>
                    <a:pt x="180" y="26"/>
                    <a:pt x="180" y="26"/>
                  </a:cubicBezTo>
                  <a:cubicBezTo>
                    <a:pt x="180" y="27"/>
                    <a:pt x="181" y="28"/>
                    <a:pt x="182" y="28"/>
                  </a:cubicBezTo>
                  <a:cubicBezTo>
                    <a:pt x="251" y="35"/>
                    <a:pt x="306" y="94"/>
                    <a:pt x="306" y="166"/>
                  </a:cubicBezTo>
                  <a:cubicBezTo>
                    <a:pt x="306" y="243"/>
                    <a:pt x="244" y="305"/>
                    <a:pt x="167" y="305"/>
                  </a:cubicBezTo>
                  <a:cubicBezTo>
                    <a:pt x="90" y="305"/>
                    <a:pt x="28" y="243"/>
                    <a:pt x="28" y="166"/>
                  </a:cubicBezTo>
                  <a:cubicBezTo>
                    <a:pt x="28" y="94"/>
                    <a:pt x="82" y="35"/>
                    <a:pt x="152" y="28"/>
                  </a:cubicBezTo>
                  <a:cubicBezTo>
                    <a:pt x="153" y="28"/>
                    <a:pt x="154" y="27"/>
                    <a:pt x="154" y="26"/>
                  </a:cubicBezTo>
                  <a:cubicBezTo>
                    <a:pt x="154" y="26"/>
                    <a:pt x="154" y="26"/>
                    <a:pt x="154" y="26"/>
                  </a:cubicBezTo>
                  <a:cubicBezTo>
                    <a:pt x="154" y="4"/>
                    <a:pt x="154" y="4"/>
                    <a:pt x="154" y="4"/>
                  </a:cubicBezTo>
                  <a:cubicBezTo>
                    <a:pt x="154" y="3"/>
                    <a:pt x="154" y="2"/>
                    <a:pt x="153" y="1"/>
                  </a:cubicBezTo>
                  <a:cubicBezTo>
                    <a:pt x="152" y="0"/>
                    <a:pt x="151" y="0"/>
                    <a:pt x="150" y="0"/>
                  </a:cubicBezTo>
                  <a:cubicBezTo>
                    <a:pt x="149" y="0"/>
                    <a:pt x="149" y="0"/>
                    <a:pt x="149" y="0"/>
                  </a:cubicBezTo>
                  <a:cubicBezTo>
                    <a:pt x="149" y="0"/>
                    <a:pt x="149" y="0"/>
                    <a:pt x="149" y="0"/>
                  </a:cubicBezTo>
                  <a:cubicBezTo>
                    <a:pt x="65" y="9"/>
                    <a:pt x="0" y="80"/>
                    <a:pt x="0" y="166"/>
                  </a:cubicBezTo>
                  <a:cubicBezTo>
                    <a:pt x="0" y="258"/>
                    <a:pt x="75" y="333"/>
                    <a:pt x="167" y="333"/>
                  </a:cubicBezTo>
                  <a:cubicBezTo>
                    <a:pt x="259" y="333"/>
                    <a:pt x="334" y="258"/>
                    <a:pt x="334" y="166"/>
                  </a:cubicBezTo>
                  <a:cubicBezTo>
                    <a:pt x="334" y="80"/>
                    <a:pt x="269" y="9"/>
                    <a:pt x="185" y="0"/>
                  </a:cubicBezTo>
                  <a:cubicBezTo>
                    <a:pt x="185" y="0"/>
                    <a:pt x="185" y="0"/>
                    <a:pt x="185" y="0"/>
                  </a:cubicBezTo>
                  <a:cubicBezTo>
                    <a:pt x="185" y="0"/>
                    <a:pt x="184" y="0"/>
                    <a:pt x="184" y="0"/>
                  </a:cubicBezTo>
                  <a:cubicBezTo>
                    <a:pt x="183" y="0"/>
                    <a:pt x="182" y="0"/>
                    <a:pt x="18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dirty="0"/>
            </a:p>
          </p:txBody>
        </p:sp>
      </p:grpSp>
    </p:spTree>
    <p:extLst>
      <p:ext uri="{BB962C8B-B14F-4D97-AF65-F5344CB8AC3E}">
        <p14:creationId xmlns:p14="http://schemas.microsoft.com/office/powerpoint/2010/main" val="3461633244"/>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10880" y="1521184"/>
            <a:ext cx="6178854" cy="3817442"/>
          </a:xfrm>
        </p:spPr>
        <p:txBody>
          <a:bodyPr anchor="ctr"/>
          <a:lstStyle>
            <a:lvl1pPr marL="0" indent="0">
              <a:buNone/>
              <a:defRPr sz="4000" b="1">
                <a:solidFill>
                  <a:schemeClr val="tx2"/>
                </a:solidFill>
              </a:defRPr>
            </a:lvl1pPr>
            <a:lvl2pPr marL="456963" indent="0">
              <a:buNone/>
              <a:defRPr sz="1999">
                <a:solidFill>
                  <a:schemeClr val="tx1">
                    <a:tint val="75000"/>
                  </a:schemeClr>
                </a:solidFill>
              </a:defRPr>
            </a:lvl2pPr>
            <a:lvl3pPr marL="913923" indent="0">
              <a:buNone/>
              <a:defRPr sz="1799">
                <a:solidFill>
                  <a:schemeClr val="tx1">
                    <a:tint val="75000"/>
                  </a:schemeClr>
                </a:solidFill>
              </a:defRPr>
            </a:lvl3pPr>
            <a:lvl4pPr marL="1370889" indent="0">
              <a:buNone/>
              <a:defRPr sz="1599">
                <a:solidFill>
                  <a:schemeClr val="tx1">
                    <a:tint val="75000"/>
                  </a:schemeClr>
                </a:solidFill>
              </a:defRPr>
            </a:lvl4pPr>
            <a:lvl5pPr marL="1827852" indent="0">
              <a:buNone/>
              <a:defRPr sz="1599">
                <a:solidFill>
                  <a:schemeClr val="tx1">
                    <a:tint val="75000"/>
                  </a:schemeClr>
                </a:solidFill>
              </a:defRPr>
            </a:lvl5pPr>
            <a:lvl6pPr marL="2284812" indent="0">
              <a:buNone/>
              <a:defRPr sz="1599">
                <a:solidFill>
                  <a:schemeClr val="tx1">
                    <a:tint val="75000"/>
                  </a:schemeClr>
                </a:solidFill>
              </a:defRPr>
            </a:lvl6pPr>
            <a:lvl7pPr marL="2741775" indent="0">
              <a:buNone/>
              <a:defRPr sz="1599">
                <a:solidFill>
                  <a:schemeClr val="tx1">
                    <a:tint val="75000"/>
                  </a:schemeClr>
                </a:solidFill>
              </a:defRPr>
            </a:lvl7pPr>
            <a:lvl8pPr marL="3198740" indent="0">
              <a:buNone/>
              <a:defRPr sz="1599">
                <a:solidFill>
                  <a:schemeClr val="tx1">
                    <a:tint val="75000"/>
                  </a:schemeClr>
                </a:solidFill>
              </a:defRPr>
            </a:lvl8pPr>
            <a:lvl9pPr marL="3655703" indent="0">
              <a:buNone/>
              <a:defRPr sz="1599">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p:txBody>
          <a:bodyPr/>
          <a:lstStyle/>
          <a:p>
            <a:r>
              <a:rPr lang="en-US" dirty="0"/>
              <a:t>An introduction</a:t>
            </a:r>
          </a:p>
        </p:txBody>
      </p:sp>
      <p:sp>
        <p:nvSpPr>
          <p:cNvPr id="6" name="Slide Number Placeholder 5"/>
          <p:cNvSpPr>
            <a:spLocks noGrp="1"/>
          </p:cNvSpPr>
          <p:nvPr>
            <p:ph type="sldNum" sz="quarter" idx="12"/>
          </p:nvPr>
        </p:nvSpPr>
        <p:spPr/>
        <p:txBody>
          <a:bodyPr/>
          <a:lstStyle/>
          <a:p>
            <a:fld id="{32B354EE-31EA-4FC2-9496-7B6202183237}" type="slidenum">
              <a:rPr lang="en-US" smtClean="0"/>
              <a:t>‹#›</a:t>
            </a:fld>
            <a:endParaRPr lang="en-US" dirty="0"/>
          </a:p>
        </p:txBody>
      </p:sp>
      <p:sp>
        <p:nvSpPr>
          <p:cNvPr id="19" name="Title 18">
            <a:extLst>
              <a:ext uri="{FF2B5EF4-FFF2-40B4-BE49-F238E27FC236}">
                <a16:creationId xmlns:a16="http://schemas.microsoft.com/office/drawing/2014/main" id="{B47DF7D0-E13C-497A-8A71-C5A8B4D7F67C}"/>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34658225"/>
      </p:ext>
    </p:extLst>
  </p:cSld>
  <p:clrMapOvr>
    <a:masterClrMapping/>
  </p:clrMapOvr>
  <p:transition>
    <p:fade/>
  </p:transition>
  <p:extLst>
    <p:ext uri="{DCECCB84-F9BA-43D5-87BE-67443E8EF086}">
      <p15:sldGuideLst xmlns:p15="http://schemas.microsoft.com/office/powerpoint/2012/main">
        <p15:guide id="1" pos="4151">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chemeClr val="tx2"/>
        </a:solid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lvl1pPr>
              <a:defRPr>
                <a:solidFill>
                  <a:schemeClr val="bg1"/>
                </a:solidFill>
              </a:defRPr>
            </a:lvl1pPr>
          </a:lstStyle>
          <a:p>
            <a:r>
              <a:rPr lang="en-US" dirty="0"/>
              <a:t>An introduction</a:t>
            </a:r>
          </a:p>
          <a:p>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32B354EE-31EA-4FC2-9496-7B6202183237}" type="slidenum">
              <a:rPr lang="en-US" smtClean="0"/>
              <a:pPr/>
              <a:t>‹#›</a:t>
            </a:fld>
            <a:endParaRPr lang="en-US" dirty="0"/>
          </a:p>
        </p:txBody>
      </p:sp>
      <p:sp>
        <p:nvSpPr>
          <p:cNvPr id="7" name="Title 6">
            <a:extLst>
              <a:ext uri="{FF2B5EF4-FFF2-40B4-BE49-F238E27FC236}">
                <a16:creationId xmlns:a16="http://schemas.microsoft.com/office/drawing/2014/main" id="{EE9D7C87-D037-4797-9A6A-B999C6F026D8}"/>
              </a:ext>
            </a:extLst>
          </p:cNvPr>
          <p:cNvSpPr>
            <a:spLocks noGrp="1"/>
          </p:cNvSpPr>
          <p:nvPr>
            <p:ph type="title"/>
          </p:nvPr>
        </p:nvSpPr>
        <p:spPr>
          <a:xfrm>
            <a:off x="410878" y="1521184"/>
            <a:ext cx="11368018" cy="3815631"/>
          </a:xfrm>
        </p:spPr>
        <p:txBody>
          <a:bodyPr anchor="ctr"/>
          <a:lstStyle>
            <a:lvl1pPr algn="ctr">
              <a:defRPr sz="6800">
                <a:solidFill>
                  <a:schemeClr val="accent1"/>
                </a:solidFill>
              </a:defRPr>
            </a:lvl1pPr>
          </a:lstStyle>
          <a:p>
            <a:r>
              <a:rPr lang="en-US"/>
              <a:t>Click to edit Master title style</a:t>
            </a:r>
            <a:endParaRPr lang="en-US" dirty="0"/>
          </a:p>
        </p:txBody>
      </p:sp>
    </p:spTree>
    <p:extLst>
      <p:ext uri="{BB962C8B-B14F-4D97-AF65-F5344CB8AC3E}">
        <p14:creationId xmlns:p14="http://schemas.microsoft.com/office/powerpoint/2010/main" val="3865031062"/>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ection Header Light Grey">
    <p:bg>
      <p:bgPr>
        <a:solidFill>
          <a:schemeClr val="accent2"/>
        </a:solid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lvl1pPr>
              <a:defRPr>
                <a:solidFill>
                  <a:schemeClr val="tx2"/>
                </a:solidFill>
              </a:defRPr>
            </a:lvl1pPr>
          </a:lstStyle>
          <a:p>
            <a:r>
              <a:rPr lang="en-US" dirty="0"/>
              <a:t>An introduction</a:t>
            </a:r>
          </a:p>
        </p:txBody>
      </p:sp>
      <p:sp>
        <p:nvSpPr>
          <p:cNvPr id="6" name="Slide Number Placeholder 5"/>
          <p:cNvSpPr>
            <a:spLocks noGrp="1"/>
          </p:cNvSpPr>
          <p:nvPr>
            <p:ph type="sldNum" sz="quarter" idx="12"/>
          </p:nvPr>
        </p:nvSpPr>
        <p:spPr/>
        <p:txBody>
          <a:bodyPr/>
          <a:lstStyle>
            <a:lvl1pPr>
              <a:defRPr>
                <a:solidFill>
                  <a:schemeClr val="tx2"/>
                </a:solidFill>
              </a:defRPr>
            </a:lvl1pPr>
          </a:lstStyle>
          <a:p>
            <a:fld id="{32B354EE-31EA-4FC2-9496-7B6202183237}" type="slidenum">
              <a:rPr lang="en-US" smtClean="0"/>
              <a:pPr/>
              <a:t>‹#›</a:t>
            </a:fld>
            <a:endParaRPr lang="en-US" dirty="0"/>
          </a:p>
        </p:txBody>
      </p:sp>
      <p:sp>
        <p:nvSpPr>
          <p:cNvPr id="7" name="Title 6">
            <a:extLst>
              <a:ext uri="{FF2B5EF4-FFF2-40B4-BE49-F238E27FC236}">
                <a16:creationId xmlns:a16="http://schemas.microsoft.com/office/drawing/2014/main" id="{EE9D7C87-D037-4797-9A6A-B999C6F026D8}"/>
              </a:ext>
            </a:extLst>
          </p:cNvPr>
          <p:cNvSpPr>
            <a:spLocks noGrp="1"/>
          </p:cNvSpPr>
          <p:nvPr>
            <p:ph type="title"/>
          </p:nvPr>
        </p:nvSpPr>
        <p:spPr>
          <a:xfrm>
            <a:off x="410878" y="1521184"/>
            <a:ext cx="11368018" cy="3815631"/>
          </a:xfrm>
        </p:spPr>
        <p:txBody>
          <a:bodyPr anchor="ctr"/>
          <a:lstStyle>
            <a:lvl1pPr algn="ctr">
              <a:defRPr sz="6800">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354417347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Fact Tiles Slide">
    <p:bg>
      <p:bgPr>
        <a:solidFill>
          <a:schemeClr val="tx2"/>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866F170A-22F9-4C51-A3F5-C624133A83B4}"/>
              </a:ext>
            </a:extLst>
          </p:cNvPr>
          <p:cNvSpPr>
            <a:spLocks noGrp="1"/>
          </p:cNvSpPr>
          <p:nvPr>
            <p:ph type="body" sz="quarter" idx="13" hasCustomPrompt="1"/>
          </p:nvPr>
        </p:nvSpPr>
        <p:spPr>
          <a:xfrm>
            <a:off x="0" y="1"/>
            <a:ext cx="4065882" cy="3428999"/>
          </a:xfrm>
        </p:spPr>
        <p:txBody>
          <a:bodyPr anchor="ctr"/>
          <a:lstStyle>
            <a:lvl1pPr algn="ctr">
              <a:lnSpc>
                <a:spcPct val="100000"/>
              </a:lnSpc>
              <a:spcAft>
                <a:spcPts val="0"/>
              </a:spcAft>
              <a:defRPr sz="9100" b="0">
                <a:solidFill>
                  <a:schemeClr val="accent3"/>
                </a:solidFill>
                <a:latin typeface="+mj-lt"/>
              </a:defRPr>
            </a:lvl1pPr>
            <a:lvl2pPr algn="ctr">
              <a:defRPr sz="2200" b="0">
                <a:solidFill>
                  <a:schemeClr val="accent3"/>
                </a:solidFill>
              </a:defRPr>
            </a:lvl2pPr>
          </a:lstStyle>
          <a:p>
            <a:pPr lvl="0"/>
            <a:r>
              <a:rPr lang="en-US"/>
              <a:t>00</a:t>
            </a:r>
          </a:p>
          <a:p>
            <a:pPr lvl="1"/>
            <a:r>
              <a:rPr lang="en-US"/>
              <a:t>Second level</a:t>
            </a:r>
            <a:endParaRPr lang="en-GB"/>
          </a:p>
        </p:txBody>
      </p:sp>
      <p:sp>
        <p:nvSpPr>
          <p:cNvPr id="8" name="Text Placeholder 6">
            <a:extLst>
              <a:ext uri="{FF2B5EF4-FFF2-40B4-BE49-F238E27FC236}">
                <a16:creationId xmlns:a16="http://schemas.microsoft.com/office/drawing/2014/main" id="{978A6CC2-2B2B-49B7-988E-7B29E92604E5}"/>
              </a:ext>
            </a:extLst>
          </p:cNvPr>
          <p:cNvSpPr>
            <a:spLocks noGrp="1"/>
          </p:cNvSpPr>
          <p:nvPr>
            <p:ph type="body" sz="quarter" idx="14" hasCustomPrompt="1"/>
          </p:nvPr>
        </p:nvSpPr>
        <p:spPr>
          <a:xfrm>
            <a:off x="4063059" y="1"/>
            <a:ext cx="4065882" cy="3428999"/>
          </a:xfrm>
          <a:solidFill>
            <a:schemeClr val="accent3"/>
          </a:solidFill>
        </p:spPr>
        <p:txBody>
          <a:bodyPr anchor="ctr"/>
          <a:lstStyle>
            <a:lvl1pPr algn="ctr">
              <a:lnSpc>
                <a:spcPct val="100000"/>
              </a:lnSpc>
              <a:spcAft>
                <a:spcPts val="0"/>
              </a:spcAft>
              <a:defRPr sz="9100" b="0">
                <a:latin typeface="+mj-lt"/>
              </a:defRPr>
            </a:lvl1pPr>
            <a:lvl2pPr algn="ctr">
              <a:defRPr sz="2200" b="0"/>
            </a:lvl2pPr>
          </a:lstStyle>
          <a:p>
            <a:pPr lvl="0"/>
            <a:r>
              <a:rPr lang="en-US"/>
              <a:t>00</a:t>
            </a:r>
          </a:p>
          <a:p>
            <a:pPr lvl="1"/>
            <a:r>
              <a:rPr lang="en-US"/>
              <a:t>Second level</a:t>
            </a:r>
            <a:endParaRPr lang="en-GB"/>
          </a:p>
        </p:txBody>
      </p:sp>
      <p:sp>
        <p:nvSpPr>
          <p:cNvPr id="9" name="Text Placeholder 6">
            <a:extLst>
              <a:ext uri="{FF2B5EF4-FFF2-40B4-BE49-F238E27FC236}">
                <a16:creationId xmlns:a16="http://schemas.microsoft.com/office/drawing/2014/main" id="{56AC9356-AA84-4F4C-B1FF-5212DBD30167}"/>
              </a:ext>
            </a:extLst>
          </p:cNvPr>
          <p:cNvSpPr>
            <a:spLocks noGrp="1"/>
          </p:cNvSpPr>
          <p:nvPr>
            <p:ph type="body" sz="quarter" idx="15" hasCustomPrompt="1"/>
          </p:nvPr>
        </p:nvSpPr>
        <p:spPr>
          <a:xfrm>
            <a:off x="8126118" y="1"/>
            <a:ext cx="4065882" cy="3428999"/>
          </a:xfrm>
          <a:solidFill>
            <a:schemeClr val="accent1"/>
          </a:solidFill>
        </p:spPr>
        <p:txBody>
          <a:bodyPr anchor="ctr"/>
          <a:lstStyle>
            <a:lvl1pPr algn="ctr">
              <a:lnSpc>
                <a:spcPct val="100000"/>
              </a:lnSpc>
              <a:spcAft>
                <a:spcPts val="0"/>
              </a:spcAft>
              <a:defRPr sz="9100" b="0">
                <a:solidFill>
                  <a:schemeClr val="bg1"/>
                </a:solidFill>
                <a:latin typeface="+mj-lt"/>
              </a:defRPr>
            </a:lvl1pPr>
            <a:lvl2pPr algn="ctr">
              <a:defRPr sz="2200" b="0">
                <a:solidFill>
                  <a:schemeClr val="bg1"/>
                </a:solidFill>
              </a:defRPr>
            </a:lvl2pPr>
          </a:lstStyle>
          <a:p>
            <a:pPr lvl="0"/>
            <a:r>
              <a:rPr lang="en-US"/>
              <a:t>00</a:t>
            </a:r>
          </a:p>
          <a:p>
            <a:pPr lvl="1"/>
            <a:r>
              <a:rPr lang="en-US"/>
              <a:t>Second level</a:t>
            </a:r>
            <a:endParaRPr lang="en-GB"/>
          </a:p>
        </p:txBody>
      </p:sp>
      <p:sp>
        <p:nvSpPr>
          <p:cNvPr id="10" name="Text Placeholder 6">
            <a:extLst>
              <a:ext uri="{FF2B5EF4-FFF2-40B4-BE49-F238E27FC236}">
                <a16:creationId xmlns:a16="http://schemas.microsoft.com/office/drawing/2014/main" id="{F0EEEBEF-05E3-4523-B510-9AB7EDBF07CF}"/>
              </a:ext>
            </a:extLst>
          </p:cNvPr>
          <p:cNvSpPr>
            <a:spLocks noGrp="1"/>
          </p:cNvSpPr>
          <p:nvPr>
            <p:ph type="body" sz="quarter" idx="16" hasCustomPrompt="1"/>
          </p:nvPr>
        </p:nvSpPr>
        <p:spPr>
          <a:xfrm>
            <a:off x="8126118" y="3429079"/>
            <a:ext cx="4065882" cy="3428999"/>
          </a:xfrm>
        </p:spPr>
        <p:txBody>
          <a:bodyPr anchor="ctr"/>
          <a:lstStyle>
            <a:lvl1pPr algn="ctr">
              <a:lnSpc>
                <a:spcPct val="100000"/>
              </a:lnSpc>
              <a:spcAft>
                <a:spcPts val="0"/>
              </a:spcAft>
              <a:defRPr sz="9100" b="0">
                <a:solidFill>
                  <a:schemeClr val="accent3"/>
                </a:solidFill>
                <a:latin typeface="+mj-lt"/>
              </a:defRPr>
            </a:lvl1pPr>
            <a:lvl2pPr algn="ctr">
              <a:defRPr sz="2200" b="0">
                <a:solidFill>
                  <a:schemeClr val="accent3"/>
                </a:solidFill>
              </a:defRPr>
            </a:lvl2pPr>
          </a:lstStyle>
          <a:p>
            <a:pPr lvl="0"/>
            <a:r>
              <a:rPr lang="en-US"/>
              <a:t>00</a:t>
            </a:r>
          </a:p>
          <a:p>
            <a:pPr lvl="1"/>
            <a:r>
              <a:rPr lang="en-US"/>
              <a:t>Second level</a:t>
            </a:r>
            <a:endParaRPr lang="en-GB"/>
          </a:p>
        </p:txBody>
      </p:sp>
      <p:sp>
        <p:nvSpPr>
          <p:cNvPr id="11" name="Text Placeholder 6">
            <a:extLst>
              <a:ext uri="{FF2B5EF4-FFF2-40B4-BE49-F238E27FC236}">
                <a16:creationId xmlns:a16="http://schemas.microsoft.com/office/drawing/2014/main" id="{E8DD8EBF-71D9-4384-B696-89AB7269F144}"/>
              </a:ext>
            </a:extLst>
          </p:cNvPr>
          <p:cNvSpPr>
            <a:spLocks noGrp="1"/>
          </p:cNvSpPr>
          <p:nvPr>
            <p:ph type="body" sz="quarter" idx="17" hasCustomPrompt="1"/>
          </p:nvPr>
        </p:nvSpPr>
        <p:spPr>
          <a:xfrm>
            <a:off x="4063059" y="3429079"/>
            <a:ext cx="4065882" cy="3428999"/>
          </a:xfrm>
          <a:solidFill>
            <a:schemeClr val="bg1"/>
          </a:solidFill>
        </p:spPr>
        <p:txBody>
          <a:bodyPr anchor="ctr"/>
          <a:lstStyle>
            <a:lvl1pPr algn="ctr">
              <a:lnSpc>
                <a:spcPct val="100000"/>
              </a:lnSpc>
              <a:spcAft>
                <a:spcPts val="0"/>
              </a:spcAft>
              <a:defRPr sz="9100" b="0">
                <a:solidFill>
                  <a:schemeClr val="accent5"/>
                </a:solidFill>
                <a:latin typeface="+mj-lt"/>
              </a:defRPr>
            </a:lvl1pPr>
            <a:lvl2pPr algn="ctr">
              <a:defRPr sz="2200" b="0">
                <a:solidFill>
                  <a:schemeClr val="accent5"/>
                </a:solidFill>
              </a:defRPr>
            </a:lvl2pPr>
          </a:lstStyle>
          <a:p>
            <a:pPr lvl="0"/>
            <a:r>
              <a:rPr lang="en-US"/>
              <a:t>00</a:t>
            </a:r>
          </a:p>
          <a:p>
            <a:pPr lvl="1"/>
            <a:r>
              <a:rPr lang="en-US"/>
              <a:t>Second level</a:t>
            </a:r>
            <a:endParaRPr lang="en-GB"/>
          </a:p>
        </p:txBody>
      </p:sp>
      <p:sp>
        <p:nvSpPr>
          <p:cNvPr id="12" name="Text Placeholder 6">
            <a:extLst>
              <a:ext uri="{FF2B5EF4-FFF2-40B4-BE49-F238E27FC236}">
                <a16:creationId xmlns:a16="http://schemas.microsoft.com/office/drawing/2014/main" id="{9BB48325-C2CB-490C-BEC5-9F1DE6155CF1}"/>
              </a:ext>
            </a:extLst>
          </p:cNvPr>
          <p:cNvSpPr>
            <a:spLocks noGrp="1"/>
          </p:cNvSpPr>
          <p:nvPr>
            <p:ph type="body" sz="quarter" idx="18" hasCustomPrompt="1"/>
          </p:nvPr>
        </p:nvSpPr>
        <p:spPr>
          <a:xfrm>
            <a:off x="0" y="3429079"/>
            <a:ext cx="4065882" cy="3428999"/>
          </a:xfrm>
          <a:solidFill>
            <a:schemeClr val="accent1"/>
          </a:solidFill>
        </p:spPr>
        <p:txBody>
          <a:bodyPr anchor="ctr"/>
          <a:lstStyle>
            <a:lvl1pPr algn="ctr">
              <a:lnSpc>
                <a:spcPct val="100000"/>
              </a:lnSpc>
              <a:spcAft>
                <a:spcPts val="0"/>
              </a:spcAft>
              <a:defRPr sz="9100" b="0">
                <a:solidFill>
                  <a:schemeClr val="bg1"/>
                </a:solidFill>
                <a:latin typeface="+mj-lt"/>
              </a:defRPr>
            </a:lvl1pPr>
            <a:lvl2pPr algn="ctr">
              <a:defRPr sz="2200" b="0">
                <a:solidFill>
                  <a:schemeClr val="bg1"/>
                </a:solidFill>
              </a:defRPr>
            </a:lvl2pPr>
          </a:lstStyle>
          <a:p>
            <a:pPr lvl="0"/>
            <a:r>
              <a:rPr lang="en-US"/>
              <a:t>00</a:t>
            </a:r>
          </a:p>
          <a:p>
            <a:pPr lvl="1"/>
            <a:r>
              <a:rPr lang="en-US"/>
              <a:t>Second level</a:t>
            </a:r>
            <a:endParaRPr lang="en-GB"/>
          </a:p>
        </p:txBody>
      </p:sp>
      <p:sp>
        <p:nvSpPr>
          <p:cNvPr id="3" name="Date Placeholder 2">
            <a:extLst>
              <a:ext uri="{FF2B5EF4-FFF2-40B4-BE49-F238E27FC236}">
                <a16:creationId xmlns:a16="http://schemas.microsoft.com/office/drawing/2014/main" id="{40F9A526-7C09-4FE7-AB48-4E3DF8072AB2}"/>
              </a:ext>
            </a:extLst>
          </p:cNvPr>
          <p:cNvSpPr>
            <a:spLocks noGrp="1"/>
          </p:cNvSpPr>
          <p:nvPr>
            <p:ph type="dt" sz="half" idx="10"/>
          </p:nvPr>
        </p:nvSpPr>
        <p:spPr/>
        <p:txBody>
          <a:bodyPr/>
          <a:lstStyle>
            <a:lvl1pPr>
              <a:defRPr>
                <a:solidFill>
                  <a:schemeClr val="bg1"/>
                </a:solidFill>
              </a:defRPr>
            </a:lvl1pPr>
          </a:lstStyle>
          <a:p>
            <a:fld id="{A70C1E90-B22E-4BFF-9028-EF438619120A}" type="datetimeFigureOut">
              <a:rPr lang="en-BE" smtClean="0"/>
              <a:t>26/09/2023</a:t>
            </a:fld>
            <a:endParaRPr lang="en-BE"/>
          </a:p>
        </p:txBody>
      </p:sp>
      <p:sp>
        <p:nvSpPr>
          <p:cNvPr id="4" name="Footer Placeholder 3">
            <a:extLst>
              <a:ext uri="{FF2B5EF4-FFF2-40B4-BE49-F238E27FC236}">
                <a16:creationId xmlns:a16="http://schemas.microsoft.com/office/drawing/2014/main" id="{C16E0864-1815-47B8-8BBA-B0910E1190F0}"/>
              </a:ext>
            </a:extLst>
          </p:cNvPr>
          <p:cNvSpPr>
            <a:spLocks noGrp="1"/>
          </p:cNvSpPr>
          <p:nvPr>
            <p:ph type="ftr" sz="quarter" idx="11"/>
          </p:nvPr>
        </p:nvSpPr>
        <p:spPr/>
        <p:txBody>
          <a:bodyPr/>
          <a:lstStyle>
            <a:lvl1pPr>
              <a:defRPr>
                <a:solidFill>
                  <a:schemeClr val="bg1"/>
                </a:solidFill>
              </a:defRPr>
            </a:lvl1pPr>
          </a:lstStyle>
          <a:p>
            <a:endParaRPr lang="en-BE"/>
          </a:p>
        </p:txBody>
      </p:sp>
      <p:sp>
        <p:nvSpPr>
          <p:cNvPr id="5" name="Slide Number Placeholder 4">
            <a:extLst>
              <a:ext uri="{FF2B5EF4-FFF2-40B4-BE49-F238E27FC236}">
                <a16:creationId xmlns:a16="http://schemas.microsoft.com/office/drawing/2014/main" id="{9DD78EFC-C516-4B8D-8CA7-6B33A2BD773D}"/>
              </a:ext>
            </a:extLst>
          </p:cNvPr>
          <p:cNvSpPr>
            <a:spLocks noGrp="1"/>
          </p:cNvSpPr>
          <p:nvPr>
            <p:ph type="sldNum" sz="quarter" idx="12"/>
          </p:nvPr>
        </p:nvSpPr>
        <p:spPr/>
        <p:txBody>
          <a:bodyPr/>
          <a:lstStyle>
            <a:lvl1pPr>
              <a:defRPr>
                <a:solidFill>
                  <a:schemeClr val="bg1"/>
                </a:solidFill>
              </a:defRPr>
            </a:lvl1pPr>
          </a:lstStyle>
          <a:p>
            <a:fld id="{9F5F79E4-174E-4D15-B5B9-2923F86E0116}" type="slidenum">
              <a:rPr lang="en-BE" smtClean="0"/>
              <a:t>‹#›</a:t>
            </a:fld>
            <a:endParaRPr lang="en-BE"/>
          </a:p>
        </p:txBody>
      </p:sp>
    </p:spTree>
    <p:extLst>
      <p:ext uri="{BB962C8B-B14F-4D97-AF65-F5344CB8AC3E}">
        <p14:creationId xmlns:p14="http://schemas.microsoft.com/office/powerpoint/2010/main" val="4279825600"/>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ection Header Image">
    <p:bg>
      <p:bgPr>
        <a:solidFill>
          <a:schemeClr val="bg1">
            <a:lumMod val="85000"/>
          </a:schemeClr>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13104" y="1521184"/>
            <a:ext cx="6176628" cy="3817442"/>
          </a:xfrm>
        </p:spPr>
        <p:txBody>
          <a:bodyPr anchor="ctr"/>
          <a:lstStyle>
            <a:lvl1pPr marL="0" indent="0">
              <a:buNone/>
              <a:defRPr sz="4000" b="1">
                <a:solidFill>
                  <a:schemeClr val="bg1"/>
                </a:solidFill>
              </a:defRPr>
            </a:lvl1pPr>
            <a:lvl2pPr marL="456963" indent="0">
              <a:buNone/>
              <a:defRPr sz="1999">
                <a:solidFill>
                  <a:schemeClr val="tx1">
                    <a:tint val="75000"/>
                  </a:schemeClr>
                </a:solidFill>
              </a:defRPr>
            </a:lvl2pPr>
            <a:lvl3pPr marL="913923" indent="0">
              <a:buNone/>
              <a:defRPr sz="1799">
                <a:solidFill>
                  <a:schemeClr val="tx1">
                    <a:tint val="75000"/>
                  </a:schemeClr>
                </a:solidFill>
              </a:defRPr>
            </a:lvl3pPr>
            <a:lvl4pPr marL="1370889" indent="0">
              <a:buNone/>
              <a:defRPr sz="1599">
                <a:solidFill>
                  <a:schemeClr val="tx1">
                    <a:tint val="75000"/>
                  </a:schemeClr>
                </a:solidFill>
              </a:defRPr>
            </a:lvl4pPr>
            <a:lvl5pPr marL="1827852" indent="0">
              <a:buNone/>
              <a:defRPr sz="1599">
                <a:solidFill>
                  <a:schemeClr val="tx1">
                    <a:tint val="75000"/>
                  </a:schemeClr>
                </a:solidFill>
              </a:defRPr>
            </a:lvl5pPr>
            <a:lvl6pPr marL="2284812" indent="0">
              <a:buNone/>
              <a:defRPr sz="1599">
                <a:solidFill>
                  <a:schemeClr val="tx1">
                    <a:tint val="75000"/>
                  </a:schemeClr>
                </a:solidFill>
              </a:defRPr>
            </a:lvl6pPr>
            <a:lvl7pPr marL="2741775" indent="0">
              <a:buNone/>
              <a:defRPr sz="1599">
                <a:solidFill>
                  <a:schemeClr val="tx1">
                    <a:tint val="75000"/>
                  </a:schemeClr>
                </a:solidFill>
              </a:defRPr>
            </a:lvl7pPr>
            <a:lvl8pPr marL="3198740" indent="0">
              <a:buNone/>
              <a:defRPr sz="1599">
                <a:solidFill>
                  <a:schemeClr val="tx1">
                    <a:tint val="75000"/>
                  </a:schemeClr>
                </a:solidFill>
              </a:defRPr>
            </a:lvl8pPr>
            <a:lvl9pPr marL="3655703" indent="0">
              <a:buNone/>
              <a:defRPr sz="1599">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dirty="0"/>
              <a:t>An introduction</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32B354EE-31EA-4FC2-9496-7B6202183237}" type="slidenum">
              <a:rPr lang="en-US" smtClean="0"/>
              <a:pPr/>
              <a:t>‹#›</a:t>
            </a:fld>
            <a:endParaRPr lang="en-US" dirty="0"/>
          </a:p>
        </p:txBody>
      </p:sp>
      <p:sp>
        <p:nvSpPr>
          <p:cNvPr id="19" name="Title 18">
            <a:extLst>
              <a:ext uri="{FF2B5EF4-FFF2-40B4-BE49-F238E27FC236}">
                <a16:creationId xmlns:a16="http://schemas.microsoft.com/office/drawing/2014/main" id="{B47DF7D0-E13C-497A-8A71-C5A8B4D7F67C}"/>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95954667"/>
      </p:ext>
    </p:extLst>
  </p:cSld>
  <p:clrMapOvr>
    <a:masterClrMapping/>
  </p:clrMapOvr>
  <p:transition>
    <p:fade/>
  </p:transition>
  <p:extLst>
    <p:ext uri="{DCECCB84-F9BA-43D5-87BE-67443E8EF086}">
      <p15:sldGuideLst xmlns:p15="http://schemas.microsoft.com/office/powerpoint/2012/main">
        <p15:guide id="1" pos="4151">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10878" y="512498"/>
            <a:ext cx="11368018" cy="776038"/>
          </a:xfrm>
        </p:spPr>
        <p:txBody>
          <a:bodyPr/>
          <a:lstStyle/>
          <a:p>
            <a:r>
              <a:rPr lang="en-US"/>
              <a:t>Click to edit Master title style</a:t>
            </a:r>
            <a:endParaRPr lang="en-US" dirty="0"/>
          </a:p>
        </p:txBody>
      </p:sp>
      <p:sp>
        <p:nvSpPr>
          <p:cNvPr id="3" name="Content Placeholder 2"/>
          <p:cNvSpPr>
            <a:spLocks noGrp="1"/>
          </p:cNvSpPr>
          <p:nvPr>
            <p:ph idx="1"/>
          </p:nvPr>
        </p:nvSpPr>
        <p:spPr>
          <a:xfrm>
            <a:off x="410880" y="1521182"/>
            <a:ext cx="6178854" cy="4517348"/>
          </a:xfr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r>
              <a:rPr lang="en-US" dirty="0"/>
              <a:t>An introduction</a:t>
            </a:r>
          </a:p>
        </p:txBody>
      </p:sp>
      <p:sp>
        <p:nvSpPr>
          <p:cNvPr id="6" name="Slide Number Placeholder 5"/>
          <p:cNvSpPr>
            <a:spLocks noGrp="1"/>
          </p:cNvSpPr>
          <p:nvPr>
            <p:ph type="sldNum" sz="quarter" idx="12"/>
          </p:nvPr>
        </p:nvSpPr>
        <p:spPr/>
        <p:txBody>
          <a:bodyPr/>
          <a:lstStyle/>
          <a:p>
            <a:fld id="{32B354EE-31EA-4FC2-9496-7B6202183237}" type="slidenum">
              <a:rPr lang="en-US" smtClean="0"/>
              <a:t>‹#›</a:t>
            </a:fld>
            <a:endParaRPr lang="en-US" dirty="0"/>
          </a:p>
        </p:txBody>
      </p:sp>
    </p:spTree>
    <p:extLst>
      <p:ext uri="{BB962C8B-B14F-4D97-AF65-F5344CB8AC3E}">
        <p14:creationId xmlns:p14="http://schemas.microsoft.com/office/powerpoint/2010/main" val="2045951861"/>
      </p:ext>
    </p:extLst>
  </p:cSld>
  <p:clrMapOvr>
    <a:masterClrMapping/>
  </p:clrMapOvr>
  <p:transition>
    <p:fade/>
  </p:transition>
  <p:extLst>
    <p:ext uri="{DCECCB84-F9BA-43D5-87BE-67443E8EF086}">
      <p15:sldGuideLst xmlns:p15="http://schemas.microsoft.com/office/powerpoint/2012/main">
        <p15:guide id="1" pos="4151">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and Content Dark">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10878" y="512498"/>
            <a:ext cx="11368018" cy="776038"/>
          </a:xfrm>
        </p:spPr>
        <p:txBody>
          <a:bodyPr/>
          <a:lstStyle>
            <a:lvl1pPr>
              <a:defRPr>
                <a:solidFill>
                  <a:schemeClr val="bg1"/>
                </a:solidFill>
              </a:defRPr>
            </a:lvl1pPr>
          </a:lstStyle>
          <a:p>
            <a:r>
              <a:rPr lang="en-US"/>
              <a:t>Click to edit Master title style</a:t>
            </a:r>
            <a:endParaRPr lang="en-US" dirty="0"/>
          </a:p>
        </p:txBody>
      </p:sp>
      <p:sp>
        <p:nvSpPr>
          <p:cNvPr id="3" name="Content Placeholder 2"/>
          <p:cNvSpPr>
            <a:spLocks noGrp="1"/>
          </p:cNvSpPr>
          <p:nvPr>
            <p:ph idx="1"/>
          </p:nvPr>
        </p:nvSpPr>
        <p:spPr>
          <a:xfrm>
            <a:off x="410880" y="1521182"/>
            <a:ext cx="6178854" cy="4517348"/>
          </a:xfrm>
        </p:spPr>
        <p:txBody>
          <a:bodyPr/>
          <a:lstStyle>
            <a:lvl1pPr>
              <a:defRPr sz="2000">
                <a:solidFill>
                  <a:schemeClr val="bg1"/>
                </a:solidFill>
              </a:defRPr>
            </a:lvl1pPr>
            <a:lvl2pPr>
              <a:defRPr sz="2000">
                <a:solidFill>
                  <a:schemeClr val="bg1"/>
                </a:solidFill>
              </a:defRPr>
            </a:lvl2pPr>
            <a:lvl3pPr>
              <a:defRPr sz="2000">
                <a:solidFill>
                  <a:schemeClr val="accent3"/>
                </a:solidFill>
              </a:defRPr>
            </a:lvl3pPr>
            <a:lvl4pPr>
              <a:defRPr sz="2000">
                <a:solidFill>
                  <a:schemeClr val="bg1"/>
                </a:solidFill>
              </a:defRPr>
            </a:lvl4pPr>
            <a:lvl5pPr>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dirty="0"/>
              <a:t>An introduction</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32B354EE-31EA-4FC2-9496-7B6202183237}" type="slidenum">
              <a:rPr lang="en-US" smtClean="0"/>
              <a:pPr/>
              <a:t>‹#›</a:t>
            </a:fld>
            <a:endParaRPr lang="en-US" dirty="0"/>
          </a:p>
        </p:txBody>
      </p:sp>
    </p:spTree>
    <p:extLst>
      <p:ext uri="{BB962C8B-B14F-4D97-AF65-F5344CB8AC3E}">
        <p14:creationId xmlns:p14="http://schemas.microsoft.com/office/powerpoint/2010/main" val="1814207480"/>
      </p:ext>
    </p:extLst>
  </p:cSld>
  <p:clrMapOvr>
    <a:masterClrMapping/>
  </p:clrMapOvr>
  <p:transition>
    <p:fade/>
  </p:transition>
  <p:extLst>
    <p:ext uri="{DCECCB84-F9BA-43D5-87BE-67443E8EF086}">
      <p15:sldGuideLst xmlns:p15="http://schemas.microsoft.com/office/powerpoint/2012/main">
        <p15:guide id="1" pos="4151">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10878" y="1521183"/>
            <a:ext cx="5292112" cy="45173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486789" y="1521183"/>
            <a:ext cx="5292112" cy="45173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p>
            <a:r>
              <a:rPr lang="en-US" dirty="0"/>
              <a:t>An introduction</a:t>
            </a:r>
          </a:p>
          <a:p>
            <a:endParaRPr lang="en-US" dirty="0"/>
          </a:p>
        </p:txBody>
      </p:sp>
      <p:sp>
        <p:nvSpPr>
          <p:cNvPr id="7" name="Slide Number Placeholder 6"/>
          <p:cNvSpPr>
            <a:spLocks noGrp="1"/>
          </p:cNvSpPr>
          <p:nvPr>
            <p:ph type="sldNum" sz="quarter" idx="12"/>
          </p:nvPr>
        </p:nvSpPr>
        <p:spPr/>
        <p:txBody>
          <a:bodyPr/>
          <a:lstStyle/>
          <a:p>
            <a:fld id="{32B354EE-31EA-4FC2-9496-7B6202183237}" type="slidenum">
              <a:rPr lang="en-US" smtClean="0"/>
              <a:t>‹#›</a:t>
            </a:fld>
            <a:endParaRPr lang="en-US" dirty="0"/>
          </a:p>
        </p:txBody>
      </p:sp>
      <p:sp>
        <p:nvSpPr>
          <p:cNvPr id="8" name="Title 7">
            <a:extLst>
              <a:ext uri="{FF2B5EF4-FFF2-40B4-BE49-F238E27FC236}">
                <a16:creationId xmlns:a16="http://schemas.microsoft.com/office/drawing/2014/main" id="{2BEC790B-BB37-46AF-9CC2-582F081B6401}"/>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005946236"/>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ext and 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623EE699-16B4-4E6C-852E-7A2C3D133E42}"/>
              </a:ext>
            </a:extLst>
          </p:cNvPr>
          <p:cNvSpPr>
            <a:spLocks noGrp="1"/>
          </p:cNvSpPr>
          <p:nvPr>
            <p:ph type="pic" sz="quarter" idx="13"/>
          </p:nvPr>
        </p:nvSpPr>
        <p:spPr>
          <a:xfrm>
            <a:off x="6096906" y="2"/>
            <a:ext cx="6095094" cy="6858000"/>
          </a:xfrm>
          <a:solidFill>
            <a:schemeClr val="bg1">
              <a:lumMod val="85000"/>
            </a:schemeClr>
          </a:solidFill>
        </p:spPr>
        <p:txBody>
          <a:bodyPr/>
          <a:lstStyle/>
          <a:p>
            <a:r>
              <a:rPr lang="en-US"/>
              <a:t>Drag picture to placeholder or click icon to add</a:t>
            </a:r>
            <a:endParaRPr lang="en-GB"/>
          </a:p>
        </p:txBody>
      </p:sp>
      <p:sp>
        <p:nvSpPr>
          <p:cNvPr id="2" name="Title 1"/>
          <p:cNvSpPr>
            <a:spLocks noGrp="1"/>
          </p:cNvSpPr>
          <p:nvPr>
            <p:ph type="title"/>
          </p:nvPr>
        </p:nvSpPr>
        <p:spPr>
          <a:xfrm>
            <a:off x="410878" y="512498"/>
            <a:ext cx="5292112" cy="776038"/>
          </a:xfrm>
        </p:spPr>
        <p:txBody>
          <a:bodyPr/>
          <a:lstStyle/>
          <a:p>
            <a:r>
              <a:rPr lang="en-US"/>
              <a:t>Click to edit Master title style</a:t>
            </a:r>
            <a:endParaRPr lang="en-US" dirty="0"/>
          </a:p>
        </p:txBody>
      </p:sp>
      <p:sp>
        <p:nvSpPr>
          <p:cNvPr id="3" name="Content Placeholder 2"/>
          <p:cNvSpPr>
            <a:spLocks noGrp="1"/>
          </p:cNvSpPr>
          <p:nvPr>
            <p:ph sz="half" idx="1"/>
          </p:nvPr>
        </p:nvSpPr>
        <p:spPr>
          <a:xfrm>
            <a:off x="410878" y="1521183"/>
            <a:ext cx="5292112" cy="45173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p>
            <a:r>
              <a:rPr lang="en-US" dirty="0"/>
              <a:t>An introduction</a:t>
            </a:r>
          </a:p>
          <a:p>
            <a:endParaRPr lang="en-US" dirty="0"/>
          </a:p>
        </p:txBody>
      </p:sp>
      <p:sp>
        <p:nvSpPr>
          <p:cNvPr id="7" name="Slide Number Placeholder 6"/>
          <p:cNvSpPr>
            <a:spLocks noGrp="1"/>
          </p:cNvSpPr>
          <p:nvPr>
            <p:ph type="sldNum" sz="quarter" idx="12"/>
          </p:nvPr>
        </p:nvSpPr>
        <p:spPr/>
        <p:txBody>
          <a:bodyPr/>
          <a:lstStyle/>
          <a:p>
            <a:fld id="{32B354EE-31EA-4FC2-9496-7B6202183237}" type="slidenum">
              <a:rPr lang="en-US" smtClean="0"/>
              <a:t>‹#›</a:t>
            </a:fld>
            <a:endParaRPr lang="en-US" dirty="0"/>
          </a:p>
        </p:txBody>
      </p:sp>
    </p:spTree>
    <p:extLst>
      <p:ext uri="{BB962C8B-B14F-4D97-AF65-F5344CB8AC3E}">
        <p14:creationId xmlns:p14="http://schemas.microsoft.com/office/powerpoint/2010/main" val="1944341642"/>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ext and Image Lef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623EE699-16B4-4E6C-852E-7A2C3D133E42}"/>
              </a:ext>
            </a:extLst>
          </p:cNvPr>
          <p:cNvSpPr>
            <a:spLocks noGrp="1"/>
          </p:cNvSpPr>
          <p:nvPr>
            <p:ph type="pic" sz="quarter" idx="13"/>
          </p:nvPr>
        </p:nvSpPr>
        <p:spPr>
          <a:xfrm>
            <a:off x="2" y="-1"/>
            <a:ext cx="6095094" cy="6858000"/>
          </a:xfrm>
          <a:solidFill>
            <a:schemeClr val="bg1">
              <a:lumMod val="85000"/>
            </a:schemeClr>
          </a:solidFill>
        </p:spPr>
        <p:txBody>
          <a:bodyPr/>
          <a:lstStyle/>
          <a:p>
            <a:r>
              <a:rPr lang="en-US"/>
              <a:t>Drag picture to placeholder or click icon to add</a:t>
            </a:r>
            <a:endParaRPr lang="en-GB"/>
          </a:p>
        </p:txBody>
      </p:sp>
      <p:sp>
        <p:nvSpPr>
          <p:cNvPr id="2" name="Title 1"/>
          <p:cNvSpPr>
            <a:spLocks noGrp="1"/>
          </p:cNvSpPr>
          <p:nvPr>
            <p:ph type="title"/>
          </p:nvPr>
        </p:nvSpPr>
        <p:spPr>
          <a:xfrm>
            <a:off x="6504203" y="512498"/>
            <a:ext cx="5274693" cy="776038"/>
          </a:xfrm>
        </p:spPr>
        <p:txBody>
          <a:bodyPr/>
          <a:lstStyle/>
          <a:p>
            <a:r>
              <a:rPr lang="en-US"/>
              <a:t>Click to edit Master title style</a:t>
            </a:r>
            <a:endParaRPr lang="en-US" dirty="0"/>
          </a:p>
        </p:txBody>
      </p:sp>
      <p:sp>
        <p:nvSpPr>
          <p:cNvPr id="3" name="Content Placeholder 2"/>
          <p:cNvSpPr>
            <a:spLocks noGrp="1"/>
          </p:cNvSpPr>
          <p:nvPr>
            <p:ph sz="half" idx="1"/>
          </p:nvPr>
        </p:nvSpPr>
        <p:spPr>
          <a:xfrm>
            <a:off x="6504203" y="1521183"/>
            <a:ext cx="5274693" cy="45173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p>
            <a:r>
              <a:rPr lang="en-US" dirty="0"/>
              <a:t>An introduction</a:t>
            </a:r>
          </a:p>
          <a:p>
            <a:endParaRPr lang="en-US" dirty="0"/>
          </a:p>
        </p:txBody>
      </p:sp>
      <p:sp>
        <p:nvSpPr>
          <p:cNvPr id="7" name="Slide Number Placeholder 6"/>
          <p:cNvSpPr>
            <a:spLocks noGrp="1"/>
          </p:cNvSpPr>
          <p:nvPr>
            <p:ph type="sldNum" sz="quarter" idx="12"/>
          </p:nvPr>
        </p:nvSpPr>
        <p:spPr/>
        <p:txBody>
          <a:bodyPr/>
          <a:lstStyle/>
          <a:p>
            <a:fld id="{32B354EE-31EA-4FC2-9496-7B6202183237}" type="slidenum">
              <a:rPr lang="en-US" smtClean="0"/>
              <a:t>‹#›</a:t>
            </a:fld>
            <a:endParaRPr lang="en-US" dirty="0"/>
          </a:p>
        </p:txBody>
      </p:sp>
    </p:spTree>
    <p:extLst>
      <p:ext uri="{BB962C8B-B14F-4D97-AF65-F5344CB8AC3E}">
        <p14:creationId xmlns:p14="http://schemas.microsoft.com/office/powerpoint/2010/main" val="1487827835"/>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ext, Key Info and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623EE699-16B4-4E6C-852E-7A2C3D133E42}"/>
              </a:ext>
            </a:extLst>
          </p:cNvPr>
          <p:cNvSpPr>
            <a:spLocks noGrp="1"/>
          </p:cNvSpPr>
          <p:nvPr>
            <p:ph type="pic" sz="quarter" idx="13"/>
          </p:nvPr>
        </p:nvSpPr>
        <p:spPr>
          <a:xfrm>
            <a:off x="6096906" y="3429905"/>
            <a:ext cx="6095094" cy="3428095"/>
          </a:xfrm>
          <a:solidFill>
            <a:schemeClr val="bg1">
              <a:lumMod val="85000"/>
            </a:schemeClr>
          </a:solidFill>
        </p:spPr>
        <p:txBody>
          <a:bodyPr/>
          <a:lstStyle/>
          <a:p>
            <a:r>
              <a:rPr lang="en-US"/>
              <a:t>Drag picture to placeholder or click icon to add</a:t>
            </a:r>
            <a:endParaRPr lang="en-GB"/>
          </a:p>
        </p:txBody>
      </p:sp>
      <p:sp>
        <p:nvSpPr>
          <p:cNvPr id="2" name="Title 1"/>
          <p:cNvSpPr>
            <a:spLocks noGrp="1"/>
          </p:cNvSpPr>
          <p:nvPr>
            <p:ph type="title"/>
          </p:nvPr>
        </p:nvSpPr>
        <p:spPr>
          <a:xfrm>
            <a:off x="410878" y="512498"/>
            <a:ext cx="5292112" cy="776038"/>
          </a:xfrm>
        </p:spPr>
        <p:txBody>
          <a:bodyPr/>
          <a:lstStyle/>
          <a:p>
            <a:r>
              <a:rPr lang="en-US"/>
              <a:t>Click to edit Master title style</a:t>
            </a:r>
            <a:endParaRPr lang="en-US" dirty="0"/>
          </a:p>
        </p:txBody>
      </p:sp>
      <p:sp>
        <p:nvSpPr>
          <p:cNvPr id="3" name="Content Placeholder 2"/>
          <p:cNvSpPr>
            <a:spLocks noGrp="1"/>
          </p:cNvSpPr>
          <p:nvPr>
            <p:ph sz="half" idx="1"/>
          </p:nvPr>
        </p:nvSpPr>
        <p:spPr>
          <a:xfrm>
            <a:off x="410878" y="1521183"/>
            <a:ext cx="5292112" cy="45173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p>
            <a:r>
              <a:rPr lang="en-US" dirty="0"/>
              <a:t>An introduction</a:t>
            </a:r>
          </a:p>
          <a:p>
            <a:endParaRPr lang="en-US" dirty="0"/>
          </a:p>
        </p:txBody>
      </p:sp>
      <p:sp>
        <p:nvSpPr>
          <p:cNvPr id="7" name="Slide Number Placeholder 6"/>
          <p:cNvSpPr>
            <a:spLocks noGrp="1"/>
          </p:cNvSpPr>
          <p:nvPr>
            <p:ph type="sldNum" sz="quarter" idx="12"/>
          </p:nvPr>
        </p:nvSpPr>
        <p:spPr/>
        <p:txBody>
          <a:bodyPr/>
          <a:lstStyle/>
          <a:p>
            <a:fld id="{32B354EE-31EA-4FC2-9496-7B6202183237}" type="slidenum">
              <a:rPr lang="en-US" smtClean="0"/>
              <a:t>‹#›</a:t>
            </a:fld>
            <a:endParaRPr lang="en-US" dirty="0"/>
          </a:p>
        </p:txBody>
      </p:sp>
      <p:sp>
        <p:nvSpPr>
          <p:cNvPr id="5" name="Text Placeholder 4">
            <a:extLst>
              <a:ext uri="{FF2B5EF4-FFF2-40B4-BE49-F238E27FC236}">
                <a16:creationId xmlns:a16="http://schemas.microsoft.com/office/drawing/2014/main" id="{F57219E9-6258-4F28-A57E-2D2A7A1479EF}"/>
              </a:ext>
            </a:extLst>
          </p:cNvPr>
          <p:cNvSpPr>
            <a:spLocks noGrp="1"/>
          </p:cNvSpPr>
          <p:nvPr>
            <p:ph type="body" sz="quarter" idx="14"/>
          </p:nvPr>
        </p:nvSpPr>
        <p:spPr>
          <a:xfrm>
            <a:off x="6096906" y="2"/>
            <a:ext cx="6095094" cy="3429905"/>
          </a:xfrm>
          <a:gradFill>
            <a:gsLst>
              <a:gs pos="50000">
                <a:srgbClr val="00E487"/>
              </a:gs>
              <a:gs pos="100000">
                <a:srgbClr val="1ECBD0"/>
              </a:gs>
            </a:gsLst>
            <a:lin ang="18900000" scaled="0"/>
          </a:gradFill>
        </p:spPr>
        <p:txBody>
          <a:bodyPr lIns="360000" tIns="360000" rIns="360000" bIns="360000" anchor="ctr"/>
          <a:lstStyle>
            <a:lvl1pPr algn="ctr">
              <a:defRPr sz="3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571659977"/>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ext and Large Image">
    <p:bg>
      <p:bgPr>
        <a:solidFill>
          <a:schemeClr val="tx2"/>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C1E61418-E972-40CA-AF1C-5059724D8739}"/>
              </a:ext>
            </a:extLst>
          </p:cNvPr>
          <p:cNvSpPr>
            <a:spLocks noGrp="1"/>
          </p:cNvSpPr>
          <p:nvPr>
            <p:ph type="pic" sz="quarter" idx="14"/>
          </p:nvPr>
        </p:nvSpPr>
        <p:spPr>
          <a:xfrm>
            <a:off x="3649841" y="2"/>
            <a:ext cx="8542159" cy="6858000"/>
          </a:xfrm>
          <a:solidFill>
            <a:schemeClr val="bg1">
              <a:lumMod val="85000"/>
            </a:schemeClr>
          </a:solidFill>
        </p:spPr>
        <p:txBody>
          <a:bodyPr/>
          <a:lstStyle/>
          <a:p>
            <a:r>
              <a:rPr lang="en-US"/>
              <a:t>Drag picture to placeholder or click icon to add</a:t>
            </a:r>
            <a:endParaRPr lang="en-GB"/>
          </a:p>
        </p:txBody>
      </p:sp>
      <p:sp>
        <p:nvSpPr>
          <p:cNvPr id="2" name="Title 1">
            <a:extLst>
              <a:ext uri="{FF2B5EF4-FFF2-40B4-BE49-F238E27FC236}">
                <a16:creationId xmlns:a16="http://schemas.microsoft.com/office/drawing/2014/main" id="{D2238646-6FE3-4B78-8959-D99C1035ACDC}"/>
              </a:ext>
            </a:extLst>
          </p:cNvPr>
          <p:cNvSpPr>
            <a:spLocks noGrp="1"/>
          </p:cNvSpPr>
          <p:nvPr>
            <p:ph type="title"/>
          </p:nvPr>
        </p:nvSpPr>
        <p:spPr>
          <a:xfrm>
            <a:off x="413104" y="512498"/>
            <a:ext cx="2998167" cy="776038"/>
          </a:xfrm>
        </p:spPr>
        <p:txBody>
          <a:bodyPr/>
          <a:lstStyle>
            <a:lvl1pPr>
              <a:defRPr>
                <a:solidFill>
                  <a:schemeClr val="bg1"/>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265266B1-3B43-413F-B581-A2BA7F232AAD}"/>
              </a:ext>
            </a:extLst>
          </p:cNvPr>
          <p:cNvSpPr>
            <a:spLocks noGrp="1"/>
          </p:cNvSpPr>
          <p:nvPr>
            <p:ph type="ftr" sz="quarter" idx="11"/>
          </p:nvPr>
        </p:nvSpPr>
        <p:spPr/>
        <p:txBody>
          <a:bodyPr/>
          <a:lstStyle>
            <a:lvl1pPr>
              <a:defRPr>
                <a:solidFill>
                  <a:schemeClr val="bg1"/>
                </a:solidFill>
              </a:defRPr>
            </a:lvl1pPr>
          </a:lstStyle>
          <a:p>
            <a:r>
              <a:rPr lang="en-US" dirty="0"/>
              <a:t>An introduction</a:t>
            </a:r>
          </a:p>
          <a:p>
            <a:endParaRPr lang="en-US" dirty="0"/>
          </a:p>
        </p:txBody>
      </p:sp>
      <p:sp>
        <p:nvSpPr>
          <p:cNvPr id="5" name="Slide Number Placeholder 4">
            <a:extLst>
              <a:ext uri="{FF2B5EF4-FFF2-40B4-BE49-F238E27FC236}">
                <a16:creationId xmlns:a16="http://schemas.microsoft.com/office/drawing/2014/main" id="{114087E5-4709-465C-88EF-C43AFDD767F1}"/>
              </a:ext>
            </a:extLst>
          </p:cNvPr>
          <p:cNvSpPr>
            <a:spLocks noGrp="1"/>
          </p:cNvSpPr>
          <p:nvPr>
            <p:ph type="sldNum" sz="quarter" idx="12"/>
          </p:nvPr>
        </p:nvSpPr>
        <p:spPr/>
        <p:txBody>
          <a:bodyPr/>
          <a:lstStyle>
            <a:lvl1pPr>
              <a:defRPr>
                <a:solidFill>
                  <a:schemeClr val="bg1"/>
                </a:solidFill>
              </a:defRPr>
            </a:lvl1pPr>
          </a:lstStyle>
          <a:p>
            <a:fld id="{32B354EE-31EA-4FC2-9496-7B6202183237}" type="slidenum">
              <a:rPr lang="en-US" smtClean="0"/>
              <a:pPr/>
              <a:t>‹#›</a:t>
            </a:fld>
            <a:endParaRPr lang="en-US" dirty="0"/>
          </a:p>
        </p:txBody>
      </p:sp>
      <p:sp>
        <p:nvSpPr>
          <p:cNvPr id="7" name="Text Placeholder 6">
            <a:extLst>
              <a:ext uri="{FF2B5EF4-FFF2-40B4-BE49-F238E27FC236}">
                <a16:creationId xmlns:a16="http://schemas.microsoft.com/office/drawing/2014/main" id="{D7F08074-975D-439A-8214-343997E50101}"/>
              </a:ext>
            </a:extLst>
          </p:cNvPr>
          <p:cNvSpPr>
            <a:spLocks noGrp="1"/>
          </p:cNvSpPr>
          <p:nvPr>
            <p:ph type="body" sz="quarter" idx="13"/>
          </p:nvPr>
        </p:nvSpPr>
        <p:spPr>
          <a:xfrm>
            <a:off x="413104" y="1521183"/>
            <a:ext cx="2998558" cy="4517348"/>
          </a:xfrm>
        </p:spPr>
        <p:txBody>
          <a:bodyPr/>
          <a:lstStyle>
            <a:lvl1pPr>
              <a:defRPr>
                <a:solidFill>
                  <a:schemeClr val="bg1"/>
                </a:solidFill>
              </a:defRPr>
            </a:lvl1pPr>
            <a:lvl2pPr>
              <a:defRPr>
                <a:solidFill>
                  <a:schemeClr val="bg1"/>
                </a:solidFill>
              </a:defRPr>
            </a:lvl2pPr>
            <a:lvl3pPr>
              <a:defRPr>
                <a:solidFill>
                  <a:schemeClr val="accent3"/>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9119537"/>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type="twoObj" preserve="1">
  <p:cSld name="Two Content Dark Righ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D86AC41-762B-4924-A899-F81343A12E1E}"/>
              </a:ext>
            </a:extLst>
          </p:cNvPr>
          <p:cNvSpPr/>
          <p:nvPr userDrawn="1"/>
        </p:nvSpPr>
        <p:spPr>
          <a:xfrm>
            <a:off x="6096000" y="2"/>
            <a:ext cx="6096000" cy="6858000"/>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53" dirty="0"/>
          </a:p>
        </p:txBody>
      </p:sp>
      <p:sp>
        <p:nvSpPr>
          <p:cNvPr id="2" name="Title 1"/>
          <p:cNvSpPr>
            <a:spLocks noGrp="1"/>
          </p:cNvSpPr>
          <p:nvPr>
            <p:ph type="title"/>
          </p:nvPr>
        </p:nvSpPr>
        <p:spPr>
          <a:xfrm>
            <a:off x="410878" y="512498"/>
            <a:ext cx="5292112" cy="776038"/>
          </a:xfrm>
        </p:spPr>
        <p:txBody>
          <a:bodyPr/>
          <a:lstStyle/>
          <a:p>
            <a:r>
              <a:rPr lang="en-US"/>
              <a:t>Click to edit Master title style</a:t>
            </a:r>
            <a:endParaRPr lang="en-US" dirty="0"/>
          </a:p>
        </p:txBody>
      </p:sp>
      <p:sp>
        <p:nvSpPr>
          <p:cNvPr id="3" name="Content Placeholder 2"/>
          <p:cNvSpPr>
            <a:spLocks noGrp="1"/>
          </p:cNvSpPr>
          <p:nvPr>
            <p:ph sz="half" idx="1"/>
          </p:nvPr>
        </p:nvSpPr>
        <p:spPr>
          <a:xfrm>
            <a:off x="410878" y="1521183"/>
            <a:ext cx="5292112" cy="45173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486789" y="1521183"/>
            <a:ext cx="5292112" cy="4517348"/>
          </a:xfrm>
        </p:spPr>
        <p:txBody>
          <a:bodyPr/>
          <a:lstStyle>
            <a:lvl1pPr>
              <a:defRPr>
                <a:solidFill>
                  <a:schemeClr val="bg1"/>
                </a:solidFill>
              </a:defRPr>
            </a:lvl1pPr>
            <a:lvl2pPr>
              <a:defRPr>
                <a:solidFill>
                  <a:schemeClr val="bg1"/>
                </a:solidFill>
              </a:defRPr>
            </a:lvl2pPr>
            <a:lvl3pPr>
              <a:defRPr>
                <a:solidFill>
                  <a:schemeClr val="accent3"/>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p>
            <a:r>
              <a:rPr lang="en-US" dirty="0"/>
              <a:t>An introduction</a:t>
            </a:r>
          </a:p>
          <a:p>
            <a:endParaRPr lang="en-US" dirty="0"/>
          </a:p>
        </p:txBody>
      </p:sp>
      <p:sp>
        <p:nvSpPr>
          <p:cNvPr id="7" name="Slide Number Placeholder 6"/>
          <p:cNvSpPr>
            <a:spLocks noGrp="1"/>
          </p:cNvSpPr>
          <p:nvPr>
            <p:ph type="sldNum" sz="quarter" idx="12"/>
          </p:nvPr>
        </p:nvSpPr>
        <p:spPr/>
        <p:txBody>
          <a:bodyPr/>
          <a:lstStyle/>
          <a:p>
            <a:fld id="{32B354EE-31EA-4FC2-9496-7B6202183237}" type="slidenum">
              <a:rPr lang="en-US" smtClean="0"/>
              <a:t>‹#›</a:t>
            </a:fld>
            <a:endParaRPr lang="en-US" dirty="0"/>
          </a:p>
        </p:txBody>
      </p:sp>
      <p:grpSp>
        <p:nvGrpSpPr>
          <p:cNvPr id="9" name="Group 4">
            <a:extLst>
              <a:ext uri="{FF2B5EF4-FFF2-40B4-BE49-F238E27FC236}">
                <a16:creationId xmlns:a16="http://schemas.microsoft.com/office/drawing/2014/main" id="{2C549275-EEE9-45E1-A90E-88FF42434544}"/>
              </a:ext>
            </a:extLst>
          </p:cNvPr>
          <p:cNvGrpSpPr>
            <a:grpSpLocks noChangeAspect="1"/>
          </p:cNvGrpSpPr>
          <p:nvPr userDrawn="1"/>
        </p:nvGrpSpPr>
        <p:grpSpPr bwMode="auto">
          <a:xfrm>
            <a:off x="10597543" y="6332830"/>
            <a:ext cx="1181358" cy="288000"/>
            <a:chOff x="2071" y="1578"/>
            <a:chExt cx="2587" cy="631"/>
          </a:xfrm>
          <a:gradFill>
            <a:gsLst>
              <a:gs pos="50000">
                <a:srgbClr val="00E487"/>
              </a:gs>
              <a:gs pos="100000">
                <a:srgbClr val="1ECBD0"/>
              </a:gs>
            </a:gsLst>
            <a:lin ang="18900000" scaled="0"/>
          </a:gradFill>
        </p:grpSpPr>
        <p:sp>
          <p:nvSpPr>
            <p:cNvPr id="10" name="Freeform 5">
              <a:extLst>
                <a:ext uri="{FF2B5EF4-FFF2-40B4-BE49-F238E27FC236}">
                  <a16:creationId xmlns:a16="http://schemas.microsoft.com/office/drawing/2014/main" id="{BE67306C-D83D-439A-A42D-709340354A80}"/>
                </a:ext>
              </a:extLst>
            </p:cNvPr>
            <p:cNvSpPr>
              <a:spLocks/>
            </p:cNvSpPr>
            <p:nvPr userDrawn="1"/>
          </p:nvSpPr>
          <p:spPr bwMode="auto">
            <a:xfrm>
              <a:off x="2765" y="1728"/>
              <a:ext cx="244" cy="318"/>
            </a:xfrm>
            <a:custGeom>
              <a:avLst/>
              <a:gdLst>
                <a:gd name="T0" fmla="*/ 12 w 129"/>
                <a:gd name="T1" fmla="*/ 0 h 168"/>
                <a:gd name="T2" fmla="*/ 8 w 129"/>
                <a:gd name="T3" fmla="*/ 4 h 168"/>
                <a:gd name="T4" fmla="*/ 8 w 129"/>
                <a:gd name="T5" fmla="*/ 25 h 168"/>
                <a:gd name="T6" fmla="*/ 12 w 129"/>
                <a:gd name="T7" fmla="*/ 29 h 168"/>
                <a:gd name="T8" fmla="*/ 48 w 129"/>
                <a:gd name="T9" fmla="*/ 29 h 168"/>
                <a:gd name="T10" fmla="*/ 48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2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2" y="0"/>
                  </a:moveTo>
                  <a:cubicBezTo>
                    <a:pt x="9" y="0"/>
                    <a:pt x="8" y="1"/>
                    <a:pt x="8" y="4"/>
                  </a:cubicBezTo>
                  <a:cubicBezTo>
                    <a:pt x="8" y="25"/>
                    <a:pt x="8" y="25"/>
                    <a:pt x="8" y="25"/>
                  </a:cubicBezTo>
                  <a:cubicBezTo>
                    <a:pt x="8" y="27"/>
                    <a:pt x="9" y="29"/>
                    <a:pt x="12" y="29"/>
                  </a:cubicBezTo>
                  <a:cubicBezTo>
                    <a:pt x="48" y="29"/>
                    <a:pt x="48" y="29"/>
                    <a:pt x="48" y="29"/>
                  </a:cubicBezTo>
                  <a:cubicBezTo>
                    <a:pt x="48" y="140"/>
                    <a:pt x="48" y="140"/>
                    <a:pt x="48"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8" y="140"/>
                    <a:pt x="125" y="140"/>
                  </a:cubicBezTo>
                  <a:cubicBezTo>
                    <a:pt x="76" y="140"/>
                    <a:pt x="76" y="140"/>
                    <a:pt x="76" y="140"/>
                  </a:cubicBezTo>
                  <a:cubicBezTo>
                    <a:pt x="76" y="4"/>
                    <a:pt x="76" y="4"/>
                    <a:pt x="76" y="4"/>
                  </a:cubicBezTo>
                  <a:cubicBezTo>
                    <a:pt x="76" y="1"/>
                    <a:pt x="75" y="0"/>
                    <a:pt x="72" y="0"/>
                  </a:cubicBez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dirty="0"/>
            </a:p>
          </p:txBody>
        </p:sp>
        <p:sp>
          <p:nvSpPr>
            <p:cNvPr id="11" name="Freeform 6">
              <a:extLst>
                <a:ext uri="{FF2B5EF4-FFF2-40B4-BE49-F238E27FC236}">
                  <a16:creationId xmlns:a16="http://schemas.microsoft.com/office/drawing/2014/main" id="{ED1EA00B-9688-4B43-BBAC-EB28102F2578}"/>
                </a:ext>
              </a:extLst>
            </p:cNvPr>
            <p:cNvSpPr>
              <a:spLocks/>
            </p:cNvSpPr>
            <p:nvPr userDrawn="1"/>
          </p:nvSpPr>
          <p:spPr bwMode="auto">
            <a:xfrm>
              <a:off x="3798" y="1728"/>
              <a:ext cx="244" cy="318"/>
            </a:xfrm>
            <a:custGeom>
              <a:avLst/>
              <a:gdLst>
                <a:gd name="T0" fmla="*/ 11 w 129"/>
                <a:gd name="T1" fmla="*/ 0 h 168"/>
                <a:gd name="T2" fmla="*/ 8 w 129"/>
                <a:gd name="T3" fmla="*/ 4 h 168"/>
                <a:gd name="T4" fmla="*/ 8 w 129"/>
                <a:gd name="T5" fmla="*/ 25 h 168"/>
                <a:gd name="T6" fmla="*/ 11 w 129"/>
                <a:gd name="T7" fmla="*/ 29 h 168"/>
                <a:gd name="T8" fmla="*/ 47 w 129"/>
                <a:gd name="T9" fmla="*/ 29 h 168"/>
                <a:gd name="T10" fmla="*/ 47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1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1" y="0"/>
                  </a:moveTo>
                  <a:cubicBezTo>
                    <a:pt x="9" y="0"/>
                    <a:pt x="8" y="1"/>
                    <a:pt x="8" y="4"/>
                  </a:cubicBezTo>
                  <a:cubicBezTo>
                    <a:pt x="8" y="25"/>
                    <a:pt x="8" y="25"/>
                    <a:pt x="8" y="25"/>
                  </a:cubicBezTo>
                  <a:cubicBezTo>
                    <a:pt x="8" y="27"/>
                    <a:pt x="9" y="29"/>
                    <a:pt x="11" y="29"/>
                  </a:cubicBezTo>
                  <a:cubicBezTo>
                    <a:pt x="47" y="29"/>
                    <a:pt x="47" y="29"/>
                    <a:pt x="47" y="29"/>
                  </a:cubicBezTo>
                  <a:cubicBezTo>
                    <a:pt x="47" y="140"/>
                    <a:pt x="47" y="140"/>
                    <a:pt x="47"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7" y="140"/>
                    <a:pt x="125" y="140"/>
                  </a:cubicBezTo>
                  <a:cubicBezTo>
                    <a:pt x="76" y="140"/>
                    <a:pt x="76" y="140"/>
                    <a:pt x="76" y="140"/>
                  </a:cubicBezTo>
                  <a:cubicBezTo>
                    <a:pt x="76" y="4"/>
                    <a:pt x="76" y="4"/>
                    <a:pt x="76" y="4"/>
                  </a:cubicBezTo>
                  <a:cubicBezTo>
                    <a:pt x="75" y="1"/>
                    <a:pt x="74" y="0"/>
                    <a:pt x="72" y="0"/>
                  </a:cubicBez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dirty="0"/>
            </a:p>
          </p:txBody>
        </p:sp>
        <p:sp>
          <p:nvSpPr>
            <p:cNvPr id="12" name="Freeform 7">
              <a:extLst>
                <a:ext uri="{FF2B5EF4-FFF2-40B4-BE49-F238E27FC236}">
                  <a16:creationId xmlns:a16="http://schemas.microsoft.com/office/drawing/2014/main" id="{49986679-F59A-47E3-9B50-AFB7A565C77F}"/>
                </a:ext>
              </a:extLst>
            </p:cNvPr>
            <p:cNvSpPr>
              <a:spLocks/>
            </p:cNvSpPr>
            <p:nvPr userDrawn="1"/>
          </p:nvSpPr>
          <p:spPr bwMode="auto">
            <a:xfrm>
              <a:off x="4361" y="1728"/>
              <a:ext cx="297" cy="464"/>
            </a:xfrm>
            <a:custGeom>
              <a:avLst/>
              <a:gdLst>
                <a:gd name="T0" fmla="*/ 132 w 157"/>
                <a:gd name="T1" fmla="*/ 0 h 245"/>
                <a:gd name="T2" fmla="*/ 127 w 157"/>
                <a:gd name="T3" fmla="*/ 3 h 245"/>
                <a:gd name="T4" fmla="*/ 127 w 157"/>
                <a:gd name="T5" fmla="*/ 3 h 245"/>
                <a:gd name="T6" fmla="*/ 79 w 157"/>
                <a:gd name="T7" fmla="*/ 128 h 245"/>
                <a:gd name="T8" fmla="*/ 30 w 157"/>
                <a:gd name="T9" fmla="*/ 4 h 245"/>
                <a:gd name="T10" fmla="*/ 25 w 157"/>
                <a:gd name="T11" fmla="*/ 0 h 245"/>
                <a:gd name="T12" fmla="*/ 4 w 157"/>
                <a:gd name="T13" fmla="*/ 0 h 245"/>
                <a:gd name="T14" fmla="*/ 0 w 157"/>
                <a:gd name="T15" fmla="*/ 3 h 245"/>
                <a:gd name="T16" fmla="*/ 1 w 157"/>
                <a:gd name="T17" fmla="*/ 6 h 245"/>
                <a:gd name="T18" fmla="*/ 1 w 157"/>
                <a:gd name="T19" fmla="*/ 6 h 245"/>
                <a:gd name="T20" fmla="*/ 1 w 157"/>
                <a:gd name="T21" fmla="*/ 6 h 245"/>
                <a:gd name="T22" fmla="*/ 64 w 157"/>
                <a:gd name="T23" fmla="*/ 168 h 245"/>
                <a:gd name="T24" fmla="*/ 59 w 157"/>
                <a:gd name="T25" fmla="*/ 182 h 245"/>
                <a:gd name="T26" fmla="*/ 48 w 157"/>
                <a:gd name="T27" fmla="*/ 205 h 245"/>
                <a:gd name="T28" fmla="*/ 38 w 157"/>
                <a:gd name="T29" fmla="*/ 215 h 245"/>
                <a:gd name="T30" fmla="*/ 30 w 157"/>
                <a:gd name="T31" fmla="*/ 217 h 245"/>
                <a:gd name="T32" fmla="*/ 26 w 157"/>
                <a:gd name="T33" fmla="*/ 216 h 245"/>
                <a:gd name="T34" fmla="*/ 14 w 157"/>
                <a:gd name="T35" fmla="*/ 213 h 245"/>
                <a:gd name="T36" fmla="*/ 7 w 157"/>
                <a:gd name="T37" fmla="*/ 210 h 245"/>
                <a:gd name="T38" fmla="*/ 3 w 157"/>
                <a:gd name="T39" fmla="*/ 215 h 245"/>
                <a:gd name="T40" fmla="*/ 3 w 157"/>
                <a:gd name="T41" fmla="*/ 233 h 245"/>
                <a:gd name="T42" fmla="*/ 3 w 157"/>
                <a:gd name="T43" fmla="*/ 233 h 245"/>
                <a:gd name="T44" fmla="*/ 7 w 157"/>
                <a:gd name="T45" fmla="*/ 240 h 245"/>
                <a:gd name="T46" fmla="*/ 32 w 157"/>
                <a:gd name="T47" fmla="*/ 245 h 245"/>
                <a:gd name="T48" fmla="*/ 54 w 157"/>
                <a:gd name="T49" fmla="*/ 238 h 245"/>
                <a:gd name="T50" fmla="*/ 73 w 157"/>
                <a:gd name="T51" fmla="*/ 220 h 245"/>
                <a:gd name="T52" fmla="*/ 79 w 157"/>
                <a:gd name="T53" fmla="*/ 208 h 245"/>
                <a:gd name="T54" fmla="*/ 156 w 157"/>
                <a:gd name="T55" fmla="*/ 6 h 245"/>
                <a:gd name="T56" fmla="*/ 157 w 157"/>
                <a:gd name="T57" fmla="*/ 3 h 245"/>
                <a:gd name="T58" fmla="*/ 153 w 157"/>
                <a:gd name="T59" fmla="*/ 0 h 245"/>
                <a:gd name="T60" fmla="*/ 132 w 157"/>
                <a:gd name="T6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7" h="245">
                  <a:moveTo>
                    <a:pt x="132" y="0"/>
                  </a:moveTo>
                  <a:cubicBezTo>
                    <a:pt x="129" y="0"/>
                    <a:pt x="128" y="1"/>
                    <a:pt x="127" y="3"/>
                  </a:cubicBezTo>
                  <a:cubicBezTo>
                    <a:pt x="127" y="3"/>
                    <a:pt x="127" y="3"/>
                    <a:pt x="127" y="3"/>
                  </a:cubicBezTo>
                  <a:cubicBezTo>
                    <a:pt x="79" y="128"/>
                    <a:pt x="79" y="128"/>
                    <a:pt x="79" y="128"/>
                  </a:cubicBezTo>
                  <a:cubicBezTo>
                    <a:pt x="30" y="4"/>
                    <a:pt x="30" y="4"/>
                    <a:pt x="30" y="4"/>
                  </a:cubicBezTo>
                  <a:cubicBezTo>
                    <a:pt x="29" y="1"/>
                    <a:pt x="28" y="0"/>
                    <a:pt x="25" y="0"/>
                  </a:cubicBezTo>
                  <a:cubicBezTo>
                    <a:pt x="4" y="0"/>
                    <a:pt x="4" y="0"/>
                    <a:pt x="4" y="0"/>
                  </a:cubicBezTo>
                  <a:cubicBezTo>
                    <a:pt x="2" y="0"/>
                    <a:pt x="0" y="1"/>
                    <a:pt x="0" y="3"/>
                  </a:cubicBezTo>
                  <a:cubicBezTo>
                    <a:pt x="0" y="4"/>
                    <a:pt x="1" y="5"/>
                    <a:pt x="1" y="6"/>
                  </a:cubicBezTo>
                  <a:cubicBezTo>
                    <a:pt x="1" y="6"/>
                    <a:pt x="1" y="6"/>
                    <a:pt x="1" y="6"/>
                  </a:cubicBezTo>
                  <a:cubicBezTo>
                    <a:pt x="1" y="6"/>
                    <a:pt x="1" y="6"/>
                    <a:pt x="1" y="6"/>
                  </a:cubicBezTo>
                  <a:cubicBezTo>
                    <a:pt x="64" y="168"/>
                    <a:pt x="64" y="168"/>
                    <a:pt x="64" y="168"/>
                  </a:cubicBezTo>
                  <a:cubicBezTo>
                    <a:pt x="59" y="182"/>
                    <a:pt x="59" y="182"/>
                    <a:pt x="59" y="182"/>
                  </a:cubicBezTo>
                  <a:cubicBezTo>
                    <a:pt x="57" y="187"/>
                    <a:pt x="53" y="199"/>
                    <a:pt x="48" y="205"/>
                  </a:cubicBezTo>
                  <a:cubicBezTo>
                    <a:pt x="44" y="211"/>
                    <a:pt x="42" y="213"/>
                    <a:pt x="38" y="215"/>
                  </a:cubicBezTo>
                  <a:cubicBezTo>
                    <a:pt x="35" y="216"/>
                    <a:pt x="33" y="217"/>
                    <a:pt x="30" y="217"/>
                  </a:cubicBezTo>
                  <a:cubicBezTo>
                    <a:pt x="28" y="217"/>
                    <a:pt x="27" y="217"/>
                    <a:pt x="26" y="216"/>
                  </a:cubicBezTo>
                  <a:cubicBezTo>
                    <a:pt x="22" y="216"/>
                    <a:pt x="18" y="214"/>
                    <a:pt x="14" y="213"/>
                  </a:cubicBezTo>
                  <a:cubicBezTo>
                    <a:pt x="11" y="212"/>
                    <a:pt x="9" y="210"/>
                    <a:pt x="7" y="210"/>
                  </a:cubicBezTo>
                  <a:cubicBezTo>
                    <a:pt x="5" y="210"/>
                    <a:pt x="3" y="212"/>
                    <a:pt x="3" y="215"/>
                  </a:cubicBezTo>
                  <a:cubicBezTo>
                    <a:pt x="3" y="233"/>
                    <a:pt x="3" y="233"/>
                    <a:pt x="3" y="233"/>
                  </a:cubicBezTo>
                  <a:cubicBezTo>
                    <a:pt x="3" y="233"/>
                    <a:pt x="3" y="233"/>
                    <a:pt x="3" y="233"/>
                  </a:cubicBezTo>
                  <a:cubicBezTo>
                    <a:pt x="3" y="236"/>
                    <a:pt x="4" y="238"/>
                    <a:pt x="7" y="240"/>
                  </a:cubicBezTo>
                  <a:cubicBezTo>
                    <a:pt x="15" y="243"/>
                    <a:pt x="21" y="245"/>
                    <a:pt x="32" y="245"/>
                  </a:cubicBezTo>
                  <a:cubicBezTo>
                    <a:pt x="41" y="244"/>
                    <a:pt x="47" y="242"/>
                    <a:pt x="54" y="238"/>
                  </a:cubicBezTo>
                  <a:cubicBezTo>
                    <a:pt x="61" y="233"/>
                    <a:pt x="67" y="227"/>
                    <a:pt x="73" y="220"/>
                  </a:cubicBezTo>
                  <a:cubicBezTo>
                    <a:pt x="75" y="216"/>
                    <a:pt x="77" y="212"/>
                    <a:pt x="79" y="208"/>
                  </a:cubicBezTo>
                  <a:cubicBezTo>
                    <a:pt x="83" y="200"/>
                    <a:pt x="144" y="40"/>
                    <a:pt x="156" y="6"/>
                  </a:cubicBezTo>
                  <a:cubicBezTo>
                    <a:pt x="157" y="5"/>
                    <a:pt x="157" y="4"/>
                    <a:pt x="157" y="3"/>
                  </a:cubicBezTo>
                  <a:cubicBezTo>
                    <a:pt x="157" y="1"/>
                    <a:pt x="155" y="0"/>
                    <a:pt x="153" y="0"/>
                  </a:cubicBezTo>
                  <a:lnTo>
                    <a:pt x="1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dirty="0"/>
            </a:p>
          </p:txBody>
        </p:sp>
        <p:sp>
          <p:nvSpPr>
            <p:cNvPr id="13" name="Freeform 8">
              <a:extLst>
                <a:ext uri="{FF2B5EF4-FFF2-40B4-BE49-F238E27FC236}">
                  <a16:creationId xmlns:a16="http://schemas.microsoft.com/office/drawing/2014/main" id="{8F1B8FF5-9CE5-4766-B576-EBC2CC80ADAE}"/>
                </a:ext>
              </a:extLst>
            </p:cNvPr>
            <p:cNvSpPr>
              <a:spLocks/>
            </p:cNvSpPr>
            <p:nvPr userDrawn="1"/>
          </p:nvSpPr>
          <p:spPr bwMode="auto">
            <a:xfrm>
              <a:off x="3457" y="1726"/>
              <a:ext cx="263" cy="322"/>
            </a:xfrm>
            <a:custGeom>
              <a:avLst/>
              <a:gdLst>
                <a:gd name="T0" fmla="*/ 28 w 139"/>
                <a:gd name="T1" fmla="*/ 21 h 170"/>
                <a:gd name="T2" fmla="*/ 28 w 139"/>
                <a:gd name="T3" fmla="*/ 6 h 170"/>
                <a:gd name="T4" fmla="*/ 25 w 139"/>
                <a:gd name="T5" fmla="*/ 3 h 170"/>
                <a:gd name="T6" fmla="*/ 4 w 139"/>
                <a:gd name="T7" fmla="*/ 3 h 170"/>
                <a:gd name="T8" fmla="*/ 0 w 139"/>
                <a:gd name="T9" fmla="*/ 6 h 170"/>
                <a:gd name="T10" fmla="*/ 0 w 139"/>
                <a:gd name="T11" fmla="*/ 167 h 170"/>
                <a:gd name="T12" fmla="*/ 4 w 139"/>
                <a:gd name="T13" fmla="*/ 170 h 170"/>
                <a:gd name="T14" fmla="*/ 25 w 139"/>
                <a:gd name="T15" fmla="*/ 170 h 170"/>
                <a:gd name="T16" fmla="*/ 28 w 139"/>
                <a:gd name="T17" fmla="*/ 167 h 170"/>
                <a:gd name="T18" fmla="*/ 28 w 139"/>
                <a:gd name="T19" fmla="*/ 68 h 170"/>
                <a:gd name="T20" fmla="*/ 70 w 139"/>
                <a:gd name="T21" fmla="*/ 28 h 170"/>
                <a:gd name="T22" fmla="*/ 111 w 139"/>
                <a:gd name="T23" fmla="*/ 68 h 170"/>
                <a:gd name="T24" fmla="*/ 111 w 139"/>
                <a:gd name="T25" fmla="*/ 167 h 170"/>
                <a:gd name="T26" fmla="*/ 111 w 139"/>
                <a:gd name="T27" fmla="*/ 167 h 170"/>
                <a:gd name="T28" fmla="*/ 114 w 139"/>
                <a:gd name="T29" fmla="*/ 170 h 170"/>
                <a:gd name="T30" fmla="*/ 136 w 139"/>
                <a:gd name="T31" fmla="*/ 170 h 170"/>
                <a:gd name="T32" fmla="*/ 139 w 139"/>
                <a:gd name="T33" fmla="*/ 167 h 170"/>
                <a:gd name="T34" fmla="*/ 139 w 139"/>
                <a:gd name="T35" fmla="*/ 68 h 170"/>
                <a:gd name="T36" fmla="*/ 139 w 139"/>
                <a:gd name="T37" fmla="*/ 68 h 170"/>
                <a:gd name="T38" fmla="*/ 139 w 139"/>
                <a:gd name="T39" fmla="*/ 68 h 170"/>
                <a:gd name="T40" fmla="*/ 120 w 139"/>
                <a:gd name="T41" fmla="*/ 20 h 170"/>
                <a:gd name="T42" fmla="*/ 70 w 139"/>
                <a:gd name="T43" fmla="*/ 0 h 170"/>
                <a:gd name="T44" fmla="*/ 28 w 139"/>
                <a:gd name="T45" fmla="*/ 2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170">
                  <a:moveTo>
                    <a:pt x="28" y="21"/>
                  </a:moveTo>
                  <a:cubicBezTo>
                    <a:pt x="28" y="6"/>
                    <a:pt x="28" y="6"/>
                    <a:pt x="28" y="6"/>
                  </a:cubicBezTo>
                  <a:cubicBezTo>
                    <a:pt x="28" y="4"/>
                    <a:pt x="27" y="3"/>
                    <a:pt x="25" y="3"/>
                  </a:cubicBezTo>
                  <a:cubicBezTo>
                    <a:pt x="4" y="3"/>
                    <a:pt x="4" y="3"/>
                    <a:pt x="4" y="3"/>
                  </a:cubicBezTo>
                  <a:cubicBezTo>
                    <a:pt x="1" y="3"/>
                    <a:pt x="0" y="4"/>
                    <a:pt x="0" y="6"/>
                  </a:cubicBezTo>
                  <a:cubicBezTo>
                    <a:pt x="0" y="167"/>
                    <a:pt x="0" y="167"/>
                    <a:pt x="0" y="167"/>
                  </a:cubicBezTo>
                  <a:cubicBezTo>
                    <a:pt x="0" y="169"/>
                    <a:pt x="1" y="170"/>
                    <a:pt x="4" y="170"/>
                  </a:cubicBezTo>
                  <a:cubicBezTo>
                    <a:pt x="25" y="170"/>
                    <a:pt x="25" y="170"/>
                    <a:pt x="25" y="170"/>
                  </a:cubicBezTo>
                  <a:cubicBezTo>
                    <a:pt x="27" y="170"/>
                    <a:pt x="28" y="169"/>
                    <a:pt x="28" y="167"/>
                  </a:cubicBezTo>
                  <a:cubicBezTo>
                    <a:pt x="28" y="68"/>
                    <a:pt x="28" y="68"/>
                    <a:pt x="28" y="68"/>
                  </a:cubicBezTo>
                  <a:cubicBezTo>
                    <a:pt x="28" y="49"/>
                    <a:pt x="42" y="28"/>
                    <a:pt x="70" y="28"/>
                  </a:cubicBezTo>
                  <a:cubicBezTo>
                    <a:pt x="97" y="28"/>
                    <a:pt x="111" y="49"/>
                    <a:pt x="111" y="68"/>
                  </a:cubicBezTo>
                  <a:cubicBezTo>
                    <a:pt x="111" y="167"/>
                    <a:pt x="111" y="167"/>
                    <a:pt x="111" y="167"/>
                  </a:cubicBezTo>
                  <a:cubicBezTo>
                    <a:pt x="111" y="167"/>
                    <a:pt x="111" y="167"/>
                    <a:pt x="111" y="167"/>
                  </a:cubicBezTo>
                  <a:cubicBezTo>
                    <a:pt x="111" y="169"/>
                    <a:pt x="112" y="170"/>
                    <a:pt x="114" y="170"/>
                  </a:cubicBezTo>
                  <a:cubicBezTo>
                    <a:pt x="136" y="170"/>
                    <a:pt x="136" y="170"/>
                    <a:pt x="136" y="170"/>
                  </a:cubicBezTo>
                  <a:cubicBezTo>
                    <a:pt x="138" y="170"/>
                    <a:pt x="139" y="169"/>
                    <a:pt x="139" y="167"/>
                  </a:cubicBezTo>
                  <a:cubicBezTo>
                    <a:pt x="139" y="68"/>
                    <a:pt x="139" y="68"/>
                    <a:pt x="139" y="68"/>
                  </a:cubicBezTo>
                  <a:cubicBezTo>
                    <a:pt x="139" y="68"/>
                    <a:pt x="139" y="68"/>
                    <a:pt x="139" y="68"/>
                  </a:cubicBezTo>
                  <a:cubicBezTo>
                    <a:pt x="139" y="68"/>
                    <a:pt x="139" y="68"/>
                    <a:pt x="139" y="68"/>
                  </a:cubicBezTo>
                  <a:cubicBezTo>
                    <a:pt x="139" y="51"/>
                    <a:pt x="133" y="35"/>
                    <a:pt x="120" y="20"/>
                  </a:cubicBezTo>
                  <a:cubicBezTo>
                    <a:pt x="109" y="7"/>
                    <a:pt x="88" y="0"/>
                    <a:pt x="70" y="0"/>
                  </a:cubicBezTo>
                  <a:cubicBezTo>
                    <a:pt x="41" y="0"/>
                    <a:pt x="28" y="21"/>
                    <a:pt x="28"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dirty="0"/>
            </a:p>
          </p:txBody>
        </p:sp>
        <p:sp>
          <p:nvSpPr>
            <p:cNvPr id="14" name="Freeform 9">
              <a:extLst>
                <a:ext uri="{FF2B5EF4-FFF2-40B4-BE49-F238E27FC236}">
                  <a16:creationId xmlns:a16="http://schemas.microsoft.com/office/drawing/2014/main" id="{754C77E2-9DA6-4CF5-A591-E325C546323C}"/>
                </a:ext>
              </a:extLst>
            </p:cNvPr>
            <p:cNvSpPr>
              <a:spLocks/>
            </p:cNvSpPr>
            <p:nvPr userDrawn="1"/>
          </p:nvSpPr>
          <p:spPr bwMode="auto">
            <a:xfrm>
              <a:off x="2264" y="1724"/>
              <a:ext cx="246" cy="328"/>
            </a:xfrm>
            <a:custGeom>
              <a:avLst/>
              <a:gdLst>
                <a:gd name="T0" fmla="*/ 4 w 130"/>
                <a:gd name="T1" fmla="*/ 48 h 173"/>
                <a:gd name="T2" fmla="*/ 56 w 130"/>
                <a:gd name="T3" fmla="*/ 97 h 173"/>
                <a:gd name="T4" fmla="*/ 57 w 130"/>
                <a:gd name="T5" fmla="*/ 98 h 173"/>
                <a:gd name="T6" fmla="*/ 101 w 130"/>
                <a:gd name="T7" fmla="*/ 124 h 173"/>
                <a:gd name="T8" fmla="*/ 66 w 130"/>
                <a:gd name="T9" fmla="*/ 146 h 173"/>
                <a:gd name="T10" fmla="*/ 30 w 130"/>
                <a:gd name="T11" fmla="*/ 118 h 173"/>
                <a:gd name="T12" fmla="*/ 26 w 130"/>
                <a:gd name="T13" fmla="*/ 114 h 173"/>
                <a:gd name="T14" fmla="*/ 5 w 130"/>
                <a:gd name="T15" fmla="*/ 114 h 173"/>
                <a:gd name="T16" fmla="*/ 0 w 130"/>
                <a:gd name="T17" fmla="*/ 118 h 173"/>
                <a:gd name="T18" fmla="*/ 65 w 130"/>
                <a:gd name="T19" fmla="*/ 173 h 173"/>
                <a:gd name="T20" fmla="*/ 130 w 130"/>
                <a:gd name="T21" fmla="*/ 120 h 173"/>
                <a:gd name="T22" fmla="*/ 72 w 130"/>
                <a:gd name="T23" fmla="*/ 74 h 173"/>
                <a:gd name="T24" fmla="*/ 32 w 130"/>
                <a:gd name="T25" fmla="*/ 48 h 173"/>
                <a:gd name="T26" fmla="*/ 63 w 130"/>
                <a:gd name="T27" fmla="*/ 27 h 173"/>
                <a:gd name="T28" fmla="*/ 97 w 130"/>
                <a:gd name="T29" fmla="*/ 49 h 173"/>
                <a:gd name="T30" fmla="*/ 102 w 130"/>
                <a:gd name="T31" fmla="*/ 53 h 173"/>
                <a:gd name="T32" fmla="*/ 120 w 130"/>
                <a:gd name="T33" fmla="*/ 53 h 173"/>
                <a:gd name="T34" fmla="*/ 125 w 130"/>
                <a:gd name="T35" fmla="*/ 48 h 173"/>
                <a:gd name="T36" fmla="*/ 63 w 130"/>
                <a:gd name="T37" fmla="*/ 0 h 173"/>
                <a:gd name="T38" fmla="*/ 4 w 130"/>
                <a:gd name="T39" fmla="*/ 4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173">
                  <a:moveTo>
                    <a:pt x="4" y="48"/>
                  </a:moveTo>
                  <a:cubicBezTo>
                    <a:pt x="4" y="77"/>
                    <a:pt x="19" y="91"/>
                    <a:pt x="56" y="97"/>
                  </a:cubicBezTo>
                  <a:cubicBezTo>
                    <a:pt x="57" y="98"/>
                    <a:pt x="57" y="98"/>
                    <a:pt x="57" y="98"/>
                  </a:cubicBezTo>
                  <a:cubicBezTo>
                    <a:pt x="83" y="102"/>
                    <a:pt x="101" y="105"/>
                    <a:pt x="101" y="124"/>
                  </a:cubicBezTo>
                  <a:cubicBezTo>
                    <a:pt x="101" y="139"/>
                    <a:pt x="83" y="146"/>
                    <a:pt x="66" y="146"/>
                  </a:cubicBezTo>
                  <a:cubicBezTo>
                    <a:pt x="46" y="146"/>
                    <a:pt x="33" y="136"/>
                    <a:pt x="30" y="118"/>
                  </a:cubicBezTo>
                  <a:cubicBezTo>
                    <a:pt x="30" y="116"/>
                    <a:pt x="29" y="114"/>
                    <a:pt x="26" y="114"/>
                  </a:cubicBezTo>
                  <a:cubicBezTo>
                    <a:pt x="5" y="114"/>
                    <a:pt x="5" y="114"/>
                    <a:pt x="5" y="114"/>
                  </a:cubicBezTo>
                  <a:cubicBezTo>
                    <a:pt x="2" y="114"/>
                    <a:pt x="0" y="116"/>
                    <a:pt x="0" y="118"/>
                  </a:cubicBezTo>
                  <a:cubicBezTo>
                    <a:pt x="0" y="150"/>
                    <a:pt x="27" y="173"/>
                    <a:pt x="65" y="173"/>
                  </a:cubicBezTo>
                  <a:cubicBezTo>
                    <a:pt x="104" y="173"/>
                    <a:pt x="130" y="151"/>
                    <a:pt x="130" y="120"/>
                  </a:cubicBezTo>
                  <a:cubicBezTo>
                    <a:pt x="130" y="86"/>
                    <a:pt x="100" y="79"/>
                    <a:pt x="72" y="74"/>
                  </a:cubicBezTo>
                  <a:cubicBezTo>
                    <a:pt x="37" y="68"/>
                    <a:pt x="32" y="58"/>
                    <a:pt x="32" y="48"/>
                  </a:cubicBezTo>
                  <a:cubicBezTo>
                    <a:pt x="32" y="32"/>
                    <a:pt x="49" y="27"/>
                    <a:pt x="63" y="27"/>
                  </a:cubicBezTo>
                  <a:cubicBezTo>
                    <a:pt x="82" y="27"/>
                    <a:pt x="94" y="34"/>
                    <a:pt x="97" y="49"/>
                  </a:cubicBezTo>
                  <a:cubicBezTo>
                    <a:pt x="98" y="51"/>
                    <a:pt x="98" y="53"/>
                    <a:pt x="102" y="53"/>
                  </a:cubicBezTo>
                  <a:cubicBezTo>
                    <a:pt x="120" y="53"/>
                    <a:pt x="120" y="53"/>
                    <a:pt x="120" y="53"/>
                  </a:cubicBezTo>
                  <a:cubicBezTo>
                    <a:pt x="123" y="53"/>
                    <a:pt x="125" y="51"/>
                    <a:pt x="125" y="48"/>
                  </a:cubicBezTo>
                  <a:cubicBezTo>
                    <a:pt x="125" y="19"/>
                    <a:pt x="100" y="0"/>
                    <a:pt x="63" y="0"/>
                  </a:cubicBezTo>
                  <a:cubicBezTo>
                    <a:pt x="22" y="0"/>
                    <a:pt x="4" y="25"/>
                    <a:pt x="4" y="4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dirty="0"/>
            </a:p>
          </p:txBody>
        </p:sp>
        <p:sp>
          <p:nvSpPr>
            <p:cNvPr id="15" name="Freeform 10">
              <a:extLst>
                <a:ext uri="{FF2B5EF4-FFF2-40B4-BE49-F238E27FC236}">
                  <a16:creationId xmlns:a16="http://schemas.microsoft.com/office/drawing/2014/main" id="{3F66E709-BE0A-4F12-9432-E758B38B5A77}"/>
                </a:ext>
              </a:extLst>
            </p:cNvPr>
            <p:cNvSpPr>
              <a:spLocks/>
            </p:cNvSpPr>
            <p:nvPr userDrawn="1"/>
          </p:nvSpPr>
          <p:spPr bwMode="auto">
            <a:xfrm>
              <a:off x="3062" y="1722"/>
              <a:ext cx="312" cy="474"/>
            </a:xfrm>
            <a:custGeom>
              <a:avLst/>
              <a:gdLst>
                <a:gd name="T0" fmla="*/ 67 w 165"/>
                <a:gd name="T1" fmla="*/ 0 h 250"/>
                <a:gd name="T2" fmla="*/ 0 w 165"/>
                <a:gd name="T3" fmla="*/ 86 h 250"/>
                <a:gd name="T4" fmla="*/ 82 w 165"/>
                <a:gd name="T5" fmla="*/ 174 h 250"/>
                <a:gd name="T6" fmla="*/ 137 w 165"/>
                <a:gd name="T7" fmla="*/ 152 h 250"/>
                <a:gd name="T8" fmla="*/ 137 w 165"/>
                <a:gd name="T9" fmla="*/ 173 h 250"/>
                <a:gd name="T10" fmla="*/ 89 w 165"/>
                <a:gd name="T11" fmla="*/ 222 h 250"/>
                <a:gd name="T12" fmla="*/ 48 w 165"/>
                <a:gd name="T13" fmla="*/ 194 h 250"/>
                <a:gd name="T14" fmla="*/ 43 w 165"/>
                <a:gd name="T15" fmla="*/ 190 h 250"/>
                <a:gd name="T16" fmla="*/ 24 w 165"/>
                <a:gd name="T17" fmla="*/ 190 h 250"/>
                <a:gd name="T18" fmla="*/ 19 w 165"/>
                <a:gd name="T19" fmla="*/ 195 h 250"/>
                <a:gd name="T20" fmla="*/ 89 w 165"/>
                <a:gd name="T21" fmla="*/ 250 h 250"/>
                <a:gd name="T22" fmla="*/ 165 w 165"/>
                <a:gd name="T23" fmla="*/ 174 h 250"/>
                <a:gd name="T24" fmla="*/ 165 w 165"/>
                <a:gd name="T25" fmla="*/ 7 h 250"/>
                <a:gd name="T26" fmla="*/ 162 w 165"/>
                <a:gd name="T27" fmla="*/ 4 h 250"/>
                <a:gd name="T28" fmla="*/ 140 w 165"/>
                <a:gd name="T29" fmla="*/ 4 h 250"/>
                <a:gd name="T30" fmla="*/ 137 w 165"/>
                <a:gd name="T31" fmla="*/ 7 h 250"/>
                <a:gd name="T32" fmla="*/ 137 w 165"/>
                <a:gd name="T33" fmla="*/ 21 h 250"/>
                <a:gd name="T34" fmla="*/ 99 w 165"/>
                <a:gd name="T35" fmla="*/ 0 h 250"/>
                <a:gd name="T36" fmla="*/ 96 w 165"/>
                <a:gd name="T37" fmla="*/ 3 h 250"/>
                <a:gd name="T38" fmla="*/ 96 w 165"/>
                <a:gd name="T39" fmla="*/ 28 h 250"/>
                <a:gd name="T40" fmla="*/ 97 w 165"/>
                <a:gd name="T41" fmla="*/ 31 h 250"/>
                <a:gd name="T42" fmla="*/ 138 w 165"/>
                <a:gd name="T43" fmla="*/ 87 h 250"/>
                <a:gd name="T44" fmla="*/ 83 w 165"/>
                <a:gd name="T45" fmla="*/ 146 h 250"/>
                <a:gd name="T46" fmla="*/ 29 w 165"/>
                <a:gd name="T47" fmla="*/ 87 h 250"/>
                <a:gd name="T48" fmla="*/ 68 w 165"/>
                <a:gd name="T49" fmla="*/ 31 h 250"/>
                <a:gd name="T50" fmla="*/ 70 w 165"/>
                <a:gd name="T51" fmla="*/ 29 h 250"/>
                <a:gd name="T52" fmla="*/ 70 w 165"/>
                <a:gd name="T53" fmla="*/ 3 h 250"/>
                <a:gd name="T54" fmla="*/ 67 w 165"/>
                <a:gd name="T55" fmla="*/ 0 h 250"/>
                <a:gd name="T56" fmla="*/ 67 w 165"/>
                <a:gd name="T57"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5" h="250">
                  <a:moveTo>
                    <a:pt x="67" y="0"/>
                  </a:moveTo>
                  <a:cubicBezTo>
                    <a:pt x="29" y="8"/>
                    <a:pt x="0" y="44"/>
                    <a:pt x="0" y="86"/>
                  </a:cubicBezTo>
                  <a:cubicBezTo>
                    <a:pt x="0" y="135"/>
                    <a:pt x="37" y="174"/>
                    <a:pt x="82" y="174"/>
                  </a:cubicBezTo>
                  <a:cubicBezTo>
                    <a:pt x="103" y="174"/>
                    <a:pt x="122" y="166"/>
                    <a:pt x="137" y="152"/>
                  </a:cubicBezTo>
                  <a:cubicBezTo>
                    <a:pt x="137" y="173"/>
                    <a:pt x="137" y="173"/>
                    <a:pt x="137" y="173"/>
                  </a:cubicBezTo>
                  <a:cubicBezTo>
                    <a:pt x="137" y="205"/>
                    <a:pt x="120" y="222"/>
                    <a:pt x="89" y="222"/>
                  </a:cubicBezTo>
                  <a:cubicBezTo>
                    <a:pt x="66" y="222"/>
                    <a:pt x="52" y="213"/>
                    <a:pt x="48" y="194"/>
                  </a:cubicBezTo>
                  <a:cubicBezTo>
                    <a:pt x="47" y="192"/>
                    <a:pt x="46" y="190"/>
                    <a:pt x="43" y="190"/>
                  </a:cubicBezTo>
                  <a:cubicBezTo>
                    <a:pt x="24" y="190"/>
                    <a:pt x="24" y="190"/>
                    <a:pt x="24" y="190"/>
                  </a:cubicBezTo>
                  <a:cubicBezTo>
                    <a:pt x="21" y="190"/>
                    <a:pt x="19" y="192"/>
                    <a:pt x="19" y="195"/>
                  </a:cubicBezTo>
                  <a:cubicBezTo>
                    <a:pt x="22" y="228"/>
                    <a:pt x="51" y="250"/>
                    <a:pt x="89" y="250"/>
                  </a:cubicBezTo>
                  <a:cubicBezTo>
                    <a:pt x="135" y="250"/>
                    <a:pt x="165" y="219"/>
                    <a:pt x="165" y="174"/>
                  </a:cubicBezTo>
                  <a:cubicBezTo>
                    <a:pt x="165" y="7"/>
                    <a:pt x="165" y="7"/>
                    <a:pt x="165" y="7"/>
                  </a:cubicBezTo>
                  <a:cubicBezTo>
                    <a:pt x="165" y="5"/>
                    <a:pt x="164" y="4"/>
                    <a:pt x="162" y="4"/>
                  </a:cubicBezTo>
                  <a:cubicBezTo>
                    <a:pt x="140" y="4"/>
                    <a:pt x="140" y="4"/>
                    <a:pt x="140" y="4"/>
                  </a:cubicBezTo>
                  <a:cubicBezTo>
                    <a:pt x="138" y="4"/>
                    <a:pt x="137" y="5"/>
                    <a:pt x="137" y="7"/>
                  </a:cubicBezTo>
                  <a:cubicBezTo>
                    <a:pt x="137" y="21"/>
                    <a:pt x="137" y="21"/>
                    <a:pt x="137" y="21"/>
                  </a:cubicBezTo>
                  <a:cubicBezTo>
                    <a:pt x="126" y="11"/>
                    <a:pt x="113" y="4"/>
                    <a:pt x="99" y="0"/>
                  </a:cubicBezTo>
                  <a:cubicBezTo>
                    <a:pt x="97" y="0"/>
                    <a:pt x="96" y="1"/>
                    <a:pt x="96" y="3"/>
                  </a:cubicBezTo>
                  <a:cubicBezTo>
                    <a:pt x="96" y="28"/>
                    <a:pt x="96" y="28"/>
                    <a:pt x="96" y="28"/>
                  </a:cubicBezTo>
                  <a:cubicBezTo>
                    <a:pt x="96" y="29"/>
                    <a:pt x="96" y="30"/>
                    <a:pt x="97" y="31"/>
                  </a:cubicBezTo>
                  <a:cubicBezTo>
                    <a:pt x="121" y="37"/>
                    <a:pt x="138" y="60"/>
                    <a:pt x="138" y="87"/>
                  </a:cubicBezTo>
                  <a:cubicBezTo>
                    <a:pt x="138" y="119"/>
                    <a:pt x="114" y="146"/>
                    <a:pt x="83" y="146"/>
                  </a:cubicBezTo>
                  <a:cubicBezTo>
                    <a:pt x="53" y="146"/>
                    <a:pt x="29" y="119"/>
                    <a:pt x="29" y="87"/>
                  </a:cubicBezTo>
                  <a:cubicBezTo>
                    <a:pt x="29" y="61"/>
                    <a:pt x="45" y="38"/>
                    <a:pt x="68" y="31"/>
                  </a:cubicBezTo>
                  <a:cubicBezTo>
                    <a:pt x="69" y="31"/>
                    <a:pt x="70" y="30"/>
                    <a:pt x="70" y="29"/>
                  </a:cubicBezTo>
                  <a:cubicBezTo>
                    <a:pt x="70" y="3"/>
                    <a:pt x="70" y="3"/>
                    <a:pt x="70" y="3"/>
                  </a:cubicBezTo>
                  <a:cubicBezTo>
                    <a:pt x="70" y="1"/>
                    <a:pt x="69" y="0"/>
                    <a:pt x="67" y="0"/>
                  </a:cubicBezTo>
                  <a:cubicBezTo>
                    <a:pt x="67" y="0"/>
                    <a:pt x="67" y="0"/>
                    <a:pt x="6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dirty="0"/>
            </a:p>
          </p:txBody>
        </p:sp>
        <p:sp>
          <p:nvSpPr>
            <p:cNvPr id="16" name="Oval 11">
              <a:extLst>
                <a:ext uri="{FF2B5EF4-FFF2-40B4-BE49-F238E27FC236}">
                  <a16:creationId xmlns:a16="http://schemas.microsoft.com/office/drawing/2014/main" id="{0206D854-B604-48EE-919B-064E5233BA70}"/>
                </a:ext>
              </a:extLst>
            </p:cNvPr>
            <p:cNvSpPr>
              <a:spLocks noChangeArrowheads="1"/>
            </p:cNvSpPr>
            <p:nvPr userDrawn="1"/>
          </p:nvSpPr>
          <p:spPr bwMode="auto">
            <a:xfrm>
              <a:off x="284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dirty="0"/>
            </a:p>
          </p:txBody>
        </p:sp>
        <p:sp>
          <p:nvSpPr>
            <p:cNvPr id="17" name="Oval 12">
              <a:extLst>
                <a:ext uri="{FF2B5EF4-FFF2-40B4-BE49-F238E27FC236}">
                  <a16:creationId xmlns:a16="http://schemas.microsoft.com/office/drawing/2014/main" id="{198EB32C-0E3F-4505-9A49-1059A6CE2374}"/>
                </a:ext>
              </a:extLst>
            </p:cNvPr>
            <p:cNvSpPr>
              <a:spLocks noChangeArrowheads="1"/>
            </p:cNvSpPr>
            <p:nvPr userDrawn="1"/>
          </p:nvSpPr>
          <p:spPr bwMode="auto">
            <a:xfrm>
              <a:off x="387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dirty="0"/>
            </a:p>
          </p:txBody>
        </p:sp>
        <p:sp>
          <p:nvSpPr>
            <p:cNvPr id="18" name="Freeform 13">
              <a:extLst>
                <a:ext uri="{FF2B5EF4-FFF2-40B4-BE49-F238E27FC236}">
                  <a16:creationId xmlns:a16="http://schemas.microsoft.com/office/drawing/2014/main" id="{1A2FDBD3-5D09-43A6-B8DA-D6FC1307334B}"/>
                </a:ext>
              </a:extLst>
            </p:cNvPr>
            <p:cNvSpPr>
              <a:spLocks/>
            </p:cNvSpPr>
            <p:nvPr userDrawn="1"/>
          </p:nvSpPr>
          <p:spPr bwMode="auto">
            <a:xfrm>
              <a:off x="4062" y="1584"/>
              <a:ext cx="242" cy="462"/>
            </a:xfrm>
            <a:custGeom>
              <a:avLst/>
              <a:gdLst>
                <a:gd name="T0" fmla="*/ 39 w 128"/>
                <a:gd name="T1" fmla="*/ 55 h 244"/>
                <a:gd name="T2" fmla="*/ 39 w 128"/>
                <a:gd name="T3" fmla="*/ 76 h 244"/>
                <a:gd name="T4" fmla="*/ 4 w 128"/>
                <a:gd name="T5" fmla="*/ 76 h 244"/>
                <a:gd name="T6" fmla="*/ 0 w 128"/>
                <a:gd name="T7" fmla="*/ 81 h 244"/>
                <a:gd name="T8" fmla="*/ 0 w 128"/>
                <a:gd name="T9" fmla="*/ 99 h 244"/>
                <a:gd name="T10" fmla="*/ 4 w 128"/>
                <a:gd name="T11" fmla="*/ 103 h 244"/>
                <a:gd name="T12" fmla="*/ 39 w 128"/>
                <a:gd name="T13" fmla="*/ 103 h 244"/>
                <a:gd name="T14" fmla="*/ 39 w 128"/>
                <a:gd name="T15" fmla="*/ 239 h 244"/>
                <a:gd name="T16" fmla="*/ 44 w 128"/>
                <a:gd name="T17" fmla="*/ 244 h 244"/>
                <a:gd name="T18" fmla="*/ 62 w 128"/>
                <a:gd name="T19" fmla="*/ 244 h 244"/>
                <a:gd name="T20" fmla="*/ 67 w 128"/>
                <a:gd name="T21" fmla="*/ 239 h 244"/>
                <a:gd name="T22" fmla="*/ 67 w 128"/>
                <a:gd name="T23" fmla="*/ 103 h 244"/>
                <a:gd name="T24" fmla="*/ 120 w 128"/>
                <a:gd name="T25" fmla="*/ 103 h 244"/>
                <a:gd name="T26" fmla="*/ 125 w 128"/>
                <a:gd name="T27" fmla="*/ 99 h 244"/>
                <a:gd name="T28" fmla="*/ 125 w 128"/>
                <a:gd name="T29" fmla="*/ 81 h 244"/>
                <a:gd name="T30" fmla="*/ 120 w 128"/>
                <a:gd name="T31" fmla="*/ 76 h 244"/>
                <a:gd name="T32" fmla="*/ 67 w 128"/>
                <a:gd name="T33" fmla="*/ 76 h 244"/>
                <a:gd name="T34" fmla="*/ 67 w 128"/>
                <a:gd name="T35" fmla="*/ 55 h 244"/>
                <a:gd name="T36" fmla="*/ 91 w 128"/>
                <a:gd name="T37" fmla="*/ 27 h 244"/>
                <a:gd name="T38" fmla="*/ 122 w 128"/>
                <a:gd name="T39" fmla="*/ 37 h 244"/>
                <a:gd name="T40" fmla="*/ 125 w 128"/>
                <a:gd name="T41" fmla="*/ 38 h 244"/>
                <a:gd name="T42" fmla="*/ 128 w 128"/>
                <a:gd name="T43" fmla="*/ 33 h 244"/>
                <a:gd name="T44" fmla="*/ 128 w 128"/>
                <a:gd name="T45" fmla="*/ 16 h 244"/>
                <a:gd name="T46" fmla="*/ 125 w 128"/>
                <a:gd name="T47" fmla="*/ 9 h 244"/>
                <a:gd name="T48" fmla="*/ 89 w 128"/>
                <a:gd name="T49" fmla="*/ 0 h 244"/>
                <a:gd name="T50" fmla="*/ 39 w 128"/>
                <a:gd name="T51" fmla="*/ 5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244">
                  <a:moveTo>
                    <a:pt x="39" y="55"/>
                  </a:moveTo>
                  <a:cubicBezTo>
                    <a:pt x="39" y="76"/>
                    <a:pt x="39" y="76"/>
                    <a:pt x="39" y="76"/>
                  </a:cubicBezTo>
                  <a:cubicBezTo>
                    <a:pt x="4" y="76"/>
                    <a:pt x="4" y="76"/>
                    <a:pt x="4" y="76"/>
                  </a:cubicBezTo>
                  <a:cubicBezTo>
                    <a:pt x="1" y="76"/>
                    <a:pt x="0" y="78"/>
                    <a:pt x="0" y="81"/>
                  </a:cubicBezTo>
                  <a:cubicBezTo>
                    <a:pt x="0" y="99"/>
                    <a:pt x="0" y="99"/>
                    <a:pt x="0" y="99"/>
                  </a:cubicBezTo>
                  <a:cubicBezTo>
                    <a:pt x="0" y="102"/>
                    <a:pt x="1" y="103"/>
                    <a:pt x="4" y="103"/>
                  </a:cubicBezTo>
                  <a:cubicBezTo>
                    <a:pt x="39" y="103"/>
                    <a:pt x="39" y="103"/>
                    <a:pt x="39" y="103"/>
                  </a:cubicBezTo>
                  <a:cubicBezTo>
                    <a:pt x="39" y="239"/>
                    <a:pt x="39" y="239"/>
                    <a:pt x="39" y="239"/>
                  </a:cubicBezTo>
                  <a:cubicBezTo>
                    <a:pt x="39" y="242"/>
                    <a:pt x="41" y="244"/>
                    <a:pt x="44" y="244"/>
                  </a:cubicBezTo>
                  <a:cubicBezTo>
                    <a:pt x="62" y="244"/>
                    <a:pt x="62" y="244"/>
                    <a:pt x="62" y="244"/>
                  </a:cubicBezTo>
                  <a:cubicBezTo>
                    <a:pt x="65" y="244"/>
                    <a:pt x="67" y="242"/>
                    <a:pt x="67" y="239"/>
                  </a:cubicBezTo>
                  <a:cubicBezTo>
                    <a:pt x="67" y="103"/>
                    <a:pt x="67" y="103"/>
                    <a:pt x="67" y="103"/>
                  </a:cubicBezTo>
                  <a:cubicBezTo>
                    <a:pt x="120" y="103"/>
                    <a:pt x="120" y="103"/>
                    <a:pt x="120" y="103"/>
                  </a:cubicBezTo>
                  <a:cubicBezTo>
                    <a:pt x="123" y="103"/>
                    <a:pt x="125" y="102"/>
                    <a:pt x="125" y="99"/>
                  </a:cubicBezTo>
                  <a:cubicBezTo>
                    <a:pt x="125" y="81"/>
                    <a:pt x="125" y="81"/>
                    <a:pt x="125" y="81"/>
                  </a:cubicBezTo>
                  <a:cubicBezTo>
                    <a:pt x="125" y="78"/>
                    <a:pt x="123" y="76"/>
                    <a:pt x="120" y="76"/>
                  </a:cubicBezTo>
                  <a:cubicBezTo>
                    <a:pt x="67" y="76"/>
                    <a:pt x="67" y="76"/>
                    <a:pt x="67" y="76"/>
                  </a:cubicBezTo>
                  <a:cubicBezTo>
                    <a:pt x="67" y="55"/>
                    <a:pt x="67" y="55"/>
                    <a:pt x="67" y="55"/>
                  </a:cubicBezTo>
                  <a:cubicBezTo>
                    <a:pt x="67" y="38"/>
                    <a:pt x="76" y="27"/>
                    <a:pt x="91" y="27"/>
                  </a:cubicBezTo>
                  <a:cubicBezTo>
                    <a:pt x="102" y="27"/>
                    <a:pt x="110" y="30"/>
                    <a:pt x="122" y="37"/>
                  </a:cubicBezTo>
                  <a:cubicBezTo>
                    <a:pt x="123" y="38"/>
                    <a:pt x="124" y="38"/>
                    <a:pt x="125" y="38"/>
                  </a:cubicBezTo>
                  <a:cubicBezTo>
                    <a:pt x="127" y="38"/>
                    <a:pt x="128" y="36"/>
                    <a:pt x="128" y="33"/>
                  </a:cubicBezTo>
                  <a:cubicBezTo>
                    <a:pt x="128" y="16"/>
                    <a:pt x="128" y="16"/>
                    <a:pt x="128" y="16"/>
                  </a:cubicBezTo>
                  <a:cubicBezTo>
                    <a:pt x="128" y="13"/>
                    <a:pt x="128" y="11"/>
                    <a:pt x="125" y="9"/>
                  </a:cubicBezTo>
                  <a:cubicBezTo>
                    <a:pt x="114" y="3"/>
                    <a:pt x="103" y="0"/>
                    <a:pt x="89" y="0"/>
                  </a:cubicBezTo>
                  <a:cubicBezTo>
                    <a:pt x="54" y="0"/>
                    <a:pt x="39" y="29"/>
                    <a:pt x="39"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dirty="0"/>
            </a:p>
          </p:txBody>
        </p:sp>
        <p:sp>
          <p:nvSpPr>
            <p:cNvPr id="19" name="Freeform 14">
              <a:extLst>
                <a:ext uri="{FF2B5EF4-FFF2-40B4-BE49-F238E27FC236}">
                  <a16:creationId xmlns:a16="http://schemas.microsoft.com/office/drawing/2014/main" id="{8A1865E5-DA78-4DF6-8B41-586B3F364632}"/>
                </a:ext>
              </a:extLst>
            </p:cNvPr>
            <p:cNvSpPr>
              <a:spLocks/>
            </p:cNvSpPr>
            <p:nvPr userDrawn="1"/>
          </p:nvSpPr>
          <p:spPr bwMode="auto">
            <a:xfrm>
              <a:off x="2071" y="1578"/>
              <a:ext cx="632" cy="631"/>
            </a:xfrm>
            <a:custGeom>
              <a:avLst/>
              <a:gdLst>
                <a:gd name="T0" fmla="*/ 181 w 334"/>
                <a:gd name="T1" fmla="*/ 1 h 333"/>
                <a:gd name="T2" fmla="*/ 180 w 334"/>
                <a:gd name="T3" fmla="*/ 4 h 333"/>
                <a:gd name="T4" fmla="*/ 180 w 334"/>
                <a:gd name="T5" fmla="*/ 26 h 333"/>
                <a:gd name="T6" fmla="*/ 180 w 334"/>
                <a:gd name="T7" fmla="*/ 26 h 333"/>
                <a:gd name="T8" fmla="*/ 182 w 334"/>
                <a:gd name="T9" fmla="*/ 28 h 333"/>
                <a:gd name="T10" fmla="*/ 306 w 334"/>
                <a:gd name="T11" fmla="*/ 166 h 333"/>
                <a:gd name="T12" fmla="*/ 167 w 334"/>
                <a:gd name="T13" fmla="*/ 305 h 333"/>
                <a:gd name="T14" fmla="*/ 28 w 334"/>
                <a:gd name="T15" fmla="*/ 166 h 333"/>
                <a:gd name="T16" fmla="*/ 152 w 334"/>
                <a:gd name="T17" fmla="*/ 28 h 333"/>
                <a:gd name="T18" fmla="*/ 154 w 334"/>
                <a:gd name="T19" fmla="*/ 26 h 333"/>
                <a:gd name="T20" fmla="*/ 154 w 334"/>
                <a:gd name="T21" fmla="*/ 26 h 333"/>
                <a:gd name="T22" fmla="*/ 154 w 334"/>
                <a:gd name="T23" fmla="*/ 4 h 333"/>
                <a:gd name="T24" fmla="*/ 153 w 334"/>
                <a:gd name="T25" fmla="*/ 1 h 333"/>
                <a:gd name="T26" fmla="*/ 150 w 334"/>
                <a:gd name="T27" fmla="*/ 0 h 333"/>
                <a:gd name="T28" fmla="*/ 149 w 334"/>
                <a:gd name="T29" fmla="*/ 0 h 333"/>
                <a:gd name="T30" fmla="*/ 149 w 334"/>
                <a:gd name="T31" fmla="*/ 0 h 333"/>
                <a:gd name="T32" fmla="*/ 0 w 334"/>
                <a:gd name="T33" fmla="*/ 166 h 333"/>
                <a:gd name="T34" fmla="*/ 167 w 334"/>
                <a:gd name="T35" fmla="*/ 333 h 333"/>
                <a:gd name="T36" fmla="*/ 334 w 334"/>
                <a:gd name="T37" fmla="*/ 166 h 333"/>
                <a:gd name="T38" fmla="*/ 185 w 334"/>
                <a:gd name="T39" fmla="*/ 0 h 333"/>
                <a:gd name="T40" fmla="*/ 185 w 334"/>
                <a:gd name="T41" fmla="*/ 0 h 333"/>
                <a:gd name="T42" fmla="*/ 184 w 334"/>
                <a:gd name="T43" fmla="*/ 0 h 333"/>
                <a:gd name="T44" fmla="*/ 181 w 334"/>
                <a:gd name="T45" fmla="*/ 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4" h="333">
                  <a:moveTo>
                    <a:pt x="181" y="1"/>
                  </a:moveTo>
                  <a:cubicBezTo>
                    <a:pt x="180" y="2"/>
                    <a:pt x="180" y="3"/>
                    <a:pt x="180" y="4"/>
                  </a:cubicBezTo>
                  <a:cubicBezTo>
                    <a:pt x="180" y="26"/>
                    <a:pt x="180" y="26"/>
                    <a:pt x="180" y="26"/>
                  </a:cubicBezTo>
                  <a:cubicBezTo>
                    <a:pt x="180" y="26"/>
                    <a:pt x="180" y="26"/>
                    <a:pt x="180" y="26"/>
                  </a:cubicBezTo>
                  <a:cubicBezTo>
                    <a:pt x="180" y="27"/>
                    <a:pt x="181" y="28"/>
                    <a:pt x="182" y="28"/>
                  </a:cubicBezTo>
                  <a:cubicBezTo>
                    <a:pt x="251" y="35"/>
                    <a:pt x="306" y="94"/>
                    <a:pt x="306" y="166"/>
                  </a:cubicBezTo>
                  <a:cubicBezTo>
                    <a:pt x="306" y="243"/>
                    <a:pt x="244" y="305"/>
                    <a:pt x="167" y="305"/>
                  </a:cubicBezTo>
                  <a:cubicBezTo>
                    <a:pt x="90" y="305"/>
                    <a:pt x="28" y="243"/>
                    <a:pt x="28" y="166"/>
                  </a:cubicBezTo>
                  <a:cubicBezTo>
                    <a:pt x="28" y="94"/>
                    <a:pt x="82" y="35"/>
                    <a:pt x="152" y="28"/>
                  </a:cubicBezTo>
                  <a:cubicBezTo>
                    <a:pt x="153" y="28"/>
                    <a:pt x="154" y="27"/>
                    <a:pt x="154" y="26"/>
                  </a:cubicBezTo>
                  <a:cubicBezTo>
                    <a:pt x="154" y="26"/>
                    <a:pt x="154" y="26"/>
                    <a:pt x="154" y="26"/>
                  </a:cubicBezTo>
                  <a:cubicBezTo>
                    <a:pt x="154" y="4"/>
                    <a:pt x="154" y="4"/>
                    <a:pt x="154" y="4"/>
                  </a:cubicBezTo>
                  <a:cubicBezTo>
                    <a:pt x="154" y="3"/>
                    <a:pt x="154" y="2"/>
                    <a:pt x="153" y="1"/>
                  </a:cubicBezTo>
                  <a:cubicBezTo>
                    <a:pt x="152" y="0"/>
                    <a:pt x="151" y="0"/>
                    <a:pt x="150" y="0"/>
                  </a:cubicBezTo>
                  <a:cubicBezTo>
                    <a:pt x="149" y="0"/>
                    <a:pt x="149" y="0"/>
                    <a:pt x="149" y="0"/>
                  </a:cubicBezTo>
                  <a:cubicBezTo>
                    <a:pt x="149" y="0"/>
                    <a:pt x="149" y="0"/>
                    <a:pt x="149" y="0"/>
                  </a:cubicBezTo>
                  <a:cubicBezTo>
                    <a:pt x="65" y="9"/>
                    <a:pt x="0" y="80"/>
                    <a:pt x="0" y="166"/>
                  </a:cubicBezTo>
                  <a:cubicBezTo>
                    <a:pt x="0" y="258"/>
                    <a:pt x="75" y="333"/>
                    <a:pt x="167" y="333"/>
                  </a:cubicBezTo>
                  <a:cubicBezTo>
                    <a:pt x="259" y="333"/>
                    <a:pt x="334" y="258"/>
                    <a:pt x="334" y="166"/>
                  </a:cubicBezTo>
                  <a:cubicBezTo>
                    <a:pt x="334" y="80"/>
                    <a:pt x="269" y="9"/>
                    <a:pt x="185" y="0"/>
                  </a:cubicBezTo>
                  <a:cubicBezTo>
                    <a:pt x="185" y="0"/>
                    <a:pt x="185" y="0"/>
                    <a:pt x="185" y="0"/>
                  </a:cubicBezTo>
                  <a:cubicBezTo>
                    <a:pt x="185" y="0"/>
                    <a:pt x="184" y="0"/>
                    <a:pt x="184" y="0"/>
                  </a:cubicBezTo>
                  <a:cubicBezTo>
                    <a:pt x="183" y="0"/>
                    <a:pt x="182" y="0"/>
                    <a:pt x="18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dirty="0"/>
            </a:p>
          </p:txBody>
        </p:sp>
      </p:grpSp>
    </p:spTree>
    <p:extLst>
      <p:ext uri="{BB962C8B-B14F-4D97-AF65-F5344CB8AC3E}">
        <p14:creationId xmlns:p14="http://schemas.microsoft.com/office/powerpoint/2010/main" val="3669232601"/>
      </p:ext>
    </p:extLst>
  </p:cSld>
  <p:clrMapOvr>
    <a:masterClrMapping/>
  </p:clrMapOvr>
  <p:transition>
    <p:fade/>
  </p:transition>
  <p:extLst>
    <p:ext uri="{DCECCB84-F9BA-43D5-87BE-67443E8EF086}">
      <p15:sldGuideLst xmlns:p15="http://schemas.microsoft.com/office/powerpoint/2012/main"/>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type="twoObj" preserve="1">
  <p:cSld name="Two Content Dark Lef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D86AC41-762B-4924-A899-F81343A12E1E}"/>
              </a:ext>
            </a:extLst>
          </p:cNvPr>
          <p:cNvSpPr/>
          <p:nvPr userDrawn="1"/>
        </p:nvSpPr>
        <p:spPr>
          <a:xfrm>
            <a:off x="906" y="-1"/>
            <a:ext cx="6096000" cy="6858000"/>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53" dirty="0"/>
          </a:p>
        </p:txBody>
      </p:sp>
      <p:sp>
        <p:nvSpPr>
          <p:cNvPr id="4" name="Content Placeholder 3"/>
          <p:cNvSpPr>
            <a:spLocks noGrp="1"/>
          </p:cNvSpPr>
          <p:nvPr>
            <p:ph sz="half" idx="2"/>
          </p:nvPr>
        </p:nvSpPr>
        <p:spPr>
          <a:xfrm>
            <a:off x="410878" y="1521183"/>
            <a:ext cx="5292112" cy="4517348"/>
          </a:xfrm>
        </p:spPr>
        <p:txBody>
          <a:bodyPr/>
          <a:lstStyle>
            <a:lvl1pPr>
              <a:defRPr>
                <a:solidFill>
                  <a:schemeClr val="bg1"/>
                </a:solidFill>
              </a:defRPr>
            </a:lvl1pPr>
            <a:lvl2pPr>
              <a:defRPr>
                <a:solidFill>
                  <a:schemeClr val="bg1"/>
                </a:solidFill>
              </a:defRPr>
            </a:lvl2pPr>
            <a:lvl3pPr>
              <a:defRPr>
                <a:solidFill>
                  <a:schemeClr val="accent3"/>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6504203" y="512500"/>
            <a:ext cx="5274693" cy="776038"/>
          </a:xfrm>
        </p:spPr>
        <p:txBody>
          <a:bodyPr/>
          <a:lstStyle/>
          <a:p>
            <a:r>
              <a:rPr lang="en-US"/>
              <a:t>Click to edit Master title style</a:t>
            </a:r>
            <a:endParaRPr lang="en-US" dirty="0"/>
          </a:p>
        </p:txBody>
      </p:sp>
      <p:sp>
        <p:nvSpPr>
          <p:cNvPr id="3" name="Content Placeholder 2"/>
          <p:cNvSpPr>
            <a:spLocks noGrp="1"/>
          </p:cNvSpPr>
          <p:nvPr>
            <p:ph sz="half" idx="1"/>
          </p:nvPr>
        </p:nvSpPr>
        <p:spPr>
          <a:xfrm>
            <a:off x="6504203" y="1521184"/>
            <a:ext cx="5274693" cy="45173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lvl1pPr>
              <a:defRPr>
                <a:solidFill>
                  <a:schemeClr val="bg1"/>
                </a:solidFill>
              </a:defRPr>
            </a:lvl1pPr>
          </a:lstStyle>
          <a:p>
            <a:r>
              <a:rPr lang="en-US" dirty="0"/>
              <a:t>An introduction</a:t>
            </a:r>
          </a:p>
          <a:p>
            <a:endParaRPr lang="en-US"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32B354EE-31EA-4FC2-9496-7B6202183237}" type="slidenum">
              <a:rPr lang="en-US" smtClean="0"/>
              <a:pPr/>
              <a:t>‹#›</a:t>
            </a:fld>
            <a:endParaRPr lang="en-US" dirty="0"/>
          </a:p>
        </p:txBody>
      </p:sp>
    </p:spTree>
    <p:extLst>
      <p:ext uri="{BB962C8B-B14F-4D97-AF65-F5344CB8AC3E}">
        <p14:creationId xmlns:p14="http://schemas.microsoft.com/office/powerpoint/2010/main" val="414056534"/>
      </p:ext>
    </p:extLst>
  </p:cSld>
  <p:clrMapOvr>
    <a:masterClrMapping/>
  </p:clrMapOvr>
  <p:transition>
    <p:fade/>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17" name="Freeform 5">
            <a:extLst>
              <a:ext uri="{FF2B5EF4-FFF2-40B4-BE49-F238E27FC236}">
                <a16:creationId xmlns:a16="http://schemas.microsoft.com/office/drawing/2014/main" id="{BA983841-2E67-4BBE-85F6-5824A21EE170}"/>
              </a:ext>
            </a:extLst>
          </p:cNvPr>
          <p:cNvSpPr>
            <a:spLocks noChangeAspect="1" noEditPoints="1"/>
          </p:cNvSpPr>
          <p:nvPr/>
        </p:nvSpPr>
        <p:spPr bwMode="auto">
          <a:xfrm>
            <a:off x="2841600" y="2861916"/>
            <a:ext cx="6508800" cy="1134169"/>
          </a:xfrm>
          <a:custGeom>
            <a:avLst/>
            <a:gdLst>
              <a:gd name="T0" fmla="*/ 2108 w 2301"/>
              <a:gd name="T1" fmla="*/ 43 h 400"/>
              <a:gd name="T2" fmla="*/ 2257 w 2301"/>
              <a:gd name="T3" fmla="*/ 121 h 400"/>
              <a:gd name="T4" fmla="*/ 2154 w 2301"/>
              <a:gd name="T5" fmla="*/ 289 h 400"/>
              <a:gd name="T6" fmla="*/ 2261 w 2301"/>
              <a:gd name="T7" fmla="*/ 295 h 400"/>
              <a:gd name="T8" fmla="*/ 2301 w 2301"/>
              <a:gd name="T9" fmla="*/ 300 h 400"/>
              <a:gd name="T10" fmla="*/ 2108 w 2301"/>
              <a:gd name="T11" fmla="*/ 167 h 400"/>
              <a:gd name="T12" fmla="*/ 548 w 2301"/>
              <a:gd name="T13" fmla="*/ 121 h 400"/>
              <a:gd name="T14" fmla="*/ 643 w 2301"/>
              <a:gd name="T15" fmla="*/ 43 h 400"/>
              <a:gd name="T16" fmla="*/ 746 w 2301"/>
              <a:gd name="T17" fmla="*/ 167 h 400"/>
              <a:gd name="T18" fmla="*/ 729 w 2301"/>
              <a:gd name="T19" fmla="*/ 342 h 400"/>
              <a:gd name="T20" fmla="*/ 789 w 2301"/>
              <a:gd name="T21" fmla="*/ 296 h 400"/>
              <a:gd name="T22" fmla="*/ 622 w 2301"/>
              <a:gd name="T23" fmla="*/ 371 h 400"/>
              <a:gd name="T24" fmla="*/ 1997 w 2301"/>
              <a:gd name="T25" fmla="*/ 297 h 400"/>
              <a:gd name="T26" fmla="*/ 1822 w 2301"/>
              <a:gd name="T27" fmla="*/ 327 h 400"/>
              <a:gd name="T28" fmla="*/ 1954 w 2301"/>
              <a:gd name="T29" fmla="*/ 213 h 400"/>
              <a:gd name="T30" fmla="*/ 1962 w 2301"/>
              <a:gd name="T31" fmla="*/ 141 h 400"/>
              <a:gd name="T32" fmla="*/ 1885 w 2301"/>
              <a:gd name="T33" fmla="*/ 400 h 400"/>
              <a:gd name="T34" fmla="*/ 0 w 2301"/>
              <a:gd name="T35" fmla="*/ 389 h 400"/>
              <a:gd name="T36" fmla="*/ 19 w 2301"/>
              <a:gd name="T37" fmla="*/ 167 h 400"/>
              <a:gd name="T38" fmla="*/ 125 w 2301"/>
              <a:gd name="T39" fmla="*/ 126 h 400"/>
              <a:gd name="T40" fmla="*/ 206 w 2301"/>
              <a:gd name="T41" fmla="*/ 395 h 400"/>
              <a:gd name="T42" fmla="*/ 381 w 2301"/>
              <a:gd name="T43" fmla="*/ 116 h 400"/>
              <a:gd name="T44" fmla="*/ 266 w 2301"/>
              <a:gd name="T45" fmla="*/ 126 h 400"/>
              <a:gd name="T46" fmla="*/ 272 w 2301"/>
              <a:gd name="T47" fmla="*/ 395 h 400"/>
              <a:gd name="T48" fmla="*/ 312 w 2301"/>
              <a:gd name="T49" fmla="*/ 250 h 400"/>
              <a:gd name="T50" fmla="*/ 313 w 2301"/>
              <a:gd name="T51" fmla="*/ 228 h 400"/>
              <a:gd name="T52" fmla="*/ 313 w 2301"/>
              <a:gd name="T53" fmla="*/ 215 h 400"/>
              <a:gd name="T54" fmla="*/ 316 w 2301"/>
              <a:gd name="T55" fmla="*/ 206 h 400"/>
              <a:gd name="T56" fmla="*/ 319 w 2301"/>
              <a:gd name="T57" fmla="*/ 197 h 400"/>
              <a:gd name="T58" fmla="*/ 327 w 2301"/>
              <a:gd name="T59" fmla="*/ 186 h 400"/>
              <a:gd name="T60" fmla="*/ 447 w 2301"/>
              <a:gd name="T61" fmla="*/ 389 h 400"/>
              <a:gd name="T62" fmla="*/ 493 w 2301"/>
              <a:gd name="T63" fmla="*/ 228 h 400"/>
              <a:gd name="T64" fmla="*/ 142 w 2301"/>
              <a:gd name="T65" fmla="*/ 38 h 400"/>
              <a:gd name="T66" fmla="*/ 1292 w 2301"/>
              <a:gd name="T67" fmla="*/ 116 h 400"/>
              <a:gd name="T68" fmla="*/ 1177 w 2301"/>
              <a:gd name="T69" fmla="*/ 126 h 400"/>
              <a:gd name="T70" fmla="*/ 1183 w 2301"/>
              <a:gd name="T71" fmla="*/ 395 h 400"/>
              <a:gd name="T72" fmla="*/ 1223 w 2301"/>
              <a:gd name="T73" fmla="*/ 250 h 400"/>
              <a:gd name="T74" fmla="*/ 1224 w 2301"/>
              <a:gd name="T75" fmla="*/ 228 h 400"/>
              <a:gd name="T76" fmla="*/ 1224 w 2301"/>
              <a:gd name="T77" fmla="*/ 215 h 400"/>
              <a:gd name="T78" fmla="*/ 1227 w 2301"/>
              <a:gd name="T79" fmla="*/ 206 h 400"/>
              <a:gd name="T80" fmla="*/ 1230 w 2301"/>
              <a:gd name="T81" fmla="*/ 197 h 400"/>
              <a:gd name="T82" fmla="*/ 1238 w 2301"/>
              <a:gd name="T83" fmla="*/ 186 h 400"/>
              <a:gd name="T84" fmla="*/ 1386 w 2301"/>
              <a:gd name="T85" fmla="*/ 179 h 400"/>
              <a:gd name="T86" fmla="*/ 1002 w 2301"/>
              <a:gd name="T87" fmla="*/ 126 h 400"/>
              <a:gd name="T88" fmla="*/ 956 w 2301"/>
              <a:gd name="T89" fmla="*/ 170 h 400"/>
              <a:gd name="T90" fmla="*/ 981 w 2301"/>
              <a:gd name="T91" fmla="*/ 400 h 400"/>
              <a:gd name="T92" fmla="*/ 981 w 2301"/>
              <a:gd name="T93" fmla="*/ 354 h 400"/>
              <a:gd name="T94" fmla="*/ 1692 w 2301"/>
              <a:gd name="T95" fmla="*/ 232 h 400"/>
              <a:gd name="T96" fmla="*/ 1646 w 2301"/>
              <a:gd name="T97" fmla="*/ 149 h 400"/>
              <a:gd name="T98" fmla="*/ 1648 w 2301"/>
              <a:gd name="T99" fmla="*/ 258 h 400"/>
              <a:gd name="T100" fmla="*/ 1536 w 2301"/>
              <a:gd name="T101" fmla="*/ 120 h 400"/>
              <a:gd name="T102" fmla="*/ 1646 w 2301"/>
              <a:gd name="T103" fmla="*/ 390 h 400"/>
              <a:gd name="T104" fmla="*/ 1692 w 2301"/>
              <a:gd name="T105" fmla="*/ 242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01" h="400">
                <a:moveTo>
                  <a:pt x="2054" y="162"/>
                </a:moveTo>
                <a:cubicBezTo>
                  <a:pt x="2054" y="126"/>
                  <a:pt x="2054" y="126"/>
                  <a:pt x="2054" y="126"/>
                </a:cubicBezTo>
                <a:cubicBezTo>
                  <a:pt x="2054" y="122"/>
                  <a:pt x="2055" y="121"/>
                  <a:pt x="2059" y="121"/>
                </a:cubicBezTo>
                <a:cubicBezTo>
                  <a:pt x="2108" y="121"/>
                  <a:pt x="2108" y="121"/>
                  <a:pt x="2108" y="121"/>
                </a:cubicBezTo>
                <a:cubicBezTo>
                  <a:pt x="2108" y="43"/>
                  <a:pt x="2108" y="43"/>
                  <a:pt x="2108" y="43"/>
                </a:cubicBezTo>
                <a:cubicBezTo>
                  <a:pt x="2108" y="39"/>
                  <a:pt x="2110" y="38"/>
                  <a:pt x="2113" y="38"/>
                </a:cubicBezTo>
                <a:cubicBezTo>
                  <a:pt x="2149" y="38"/>
                  <a:pt x="2149" y="38"/>
                  <a:pt x="2149" y="38"/>
                </a:cubicBezTo>
                <a:cubicBezTo>
                  <a:pt x="2152" y="38"/>
                  <a:pt x="2154" y="39"/>
                  <a:pt x="2154" y="43"/>
                </a:cubicBezTo>
                <a:cubicBezTo>
                  <a:pt x="2154" y="121"/>
                  <a:pt x="2154" y="121"/>
                  <a:pt x="2154" y="121"/>
                </a:cubicBezTo>
                <a:cubicBezTo>
                  <a:pt x="2257" y="121"/>
                  <a:pt x="2257" y="121"/>
                  <a:pt x="2257" y="121"/>
                </a:cubicBezTo>
                <a:cubicBezTo>
                  <a:pt x="2260" y="121"/>
                  <a:pt x="2262" y="122"/>
                  <a:pt x="2262" y="126"/>
                </a:cubicBezTo>
                <a:cubicBezTo>
                  <a:pt x="2262" y="162"/>
                  <a:pt x="2262" y="162"/>
                  <a:pt x="2262" y="162"/>
                </a:cubicBezTo>
                <a:cubicBezTo>
                  <a:pt x="2262" y="165"/>
                  <a:pt x="2260" y="167"/>
                  <a:pt x="2257" y="167"/>
                </a:cubicBezTo>
                <a:cubicBezTo>
                  <a:pt x="2154" y="167"/>
                  <a:pt x="2154" y="167"/>
                  <a:pt x="2154" y="167"/>
                </a:cubicBezTo>
                <a:cubicBezTo>
                  <a:pt x="2154" y="289"/>
                  <a:pt x="2154" y="289"/>
                  <a:pt x="2154" y="289"/>
                </a:cubicBezTo>
                <a:cubicBezTo>
                  <a:pt x="2154" y="311"/>
                  <a:pt x="2158" y="326"/>
                  <a:pt x="2166" y="336"/>
                </a:cubicBezTo>
                <a:cubicBezTo>
                  <a:pt x="2174" y="348"/>
                  <a:pt x="2186" y="353"/>
                  <a:pt x="2204" y="353"/>
                </a:cubicBezTo>
                <a:cubicBezTo>
                  <a:pt x="2221" y="353"/>
                  <a:pt x="2232" y="351"/>
                  <a:pt x="2240" y="342"/>
                </a:cubicBezTo>
                <a:cubicBezTo>
                  <a:pt x="2248" y="333"/>
                  <a:pt x="2252" y="319"/>
                  <a:pt x="2255" y="300"/>
                </a:cubicBezTo>
                <a:cubicBezTo>
                  <a:pt x="2255" y="297"/>
                  <a:pt x="2257" y="295"/>
                  <a:pt x="2261" y="295"/>
                </a:cubicBezTo>
                <a:cubicBezTo>
                  <a:pt x="2296" y="295"/>
                  <a:pt x="2296" y="295"/>
                  <a:pt x="2296" y="295"/>
                </a:cubicBezTo>
                <a:cubicBezTo>
                  <a:pt x="2298" y="295"/>
                  <a:pt x="2298" y="295"/>
                  <a:pt x="2298" y="295"/>
                </a:cubicBezTo>
                <a:cubicBezTo>
                  <a:pt x="2298" y="295"/>
                  <a:pt x="2299" y="295"/>
                  <a:pt x="2300" y="296"/>
                </a:cubicBezTo>
                <a:cubicBezTo>
                  <a:pt x="2300" y="296"/>
                  <a:pt x="2301" y="297"/>
                  <a:pt x="2301" y="297"/>
                </a:cubicBezTo>
                <a:cubicBezTo>
                  <a:pt x="2301" y="298"/>
                  <a:pt x="2301" y="299"/>
                  <a:pt x="2301" y="300"/>
                </a:cubicBezTo>
                <a:cubicBezTo>
                  <a:pt x="2301" y="327"/>
                  <a:pt x="2295" y="350"/>
                  <a:pt x="2276" y="371"/>
                </a:cubicBezTo>
                <a:cubicBezTo>
                  <a:pt x="2259" y="390"/>
                  <a:pt x="2235" y="400"/>
                  <a:pt x="2205" y="400"/>
                </a:cubicBezTo>
                <a:cubicBezTo>
                  <a:pt x="2173" y="400"/>
                  <a:pt x="2149" y="390"/>
                  <a:pt x="2133" y="371"/>
                </a:cubicBezTo>
                <a:cubicBezTo>
                  <a:pt x="2116" y="353"/>
                  <a:pt x="2108" y="325"/>
                  <a:pt x="2108" y="289"/>
                </a:cubicBezTo>
                <a:cubicBezTo>
                  <a:pt x="2108" y="167"/>
                  <a:pt x="2108" y="167"/>
                  <a:pt x="2108" y="167"/>
                </a:cubicBezTo>
                <a:cubicBezTo>
                  <a:pt x="2059" y="167"/>
                  <a:pt x="2059" y="167"/>
                  <a:pt x="2059" y="167"/>
                </a:cubicBezTo>
                <a:cubicBezTo>
                  <a:pt x="2055" y="167"/>
                  <a:pt x="2054" y="165"/>
                  <a:pt x="2054" y="162"/>
                </a:cubicBezTo>
                <a:moveTo>
                  <a:pt x="543" y="162"/>
                </a:moveTo>
                <a:cubicBezTo>
                  <a:pt x="543" y="126"/>
                  <a:pt x="543" y="126"/>
                  <a:pt x="543" y="126"/>
                </a:cubicBezTo>
                <a:cubicBezTo>
                  <a:pt x="543" y="122"/>
                  <a:pt x="545" y="121"/>
                  <a:pt x="548" y="121"/>
                </a:cubicBezTo>
                <a:cubicBezTo>
                  <a:pt x="597" y="121"/>
                  <a:pt x="597" y="121"/>
                  <a:pt x="597" y="121"/>
                </a:cubicBezTo>
                <a:cubicBezTo>
                  <a:pt x="597" y="43"/>
                  <a:pt x="597" y="43"/>
                  <a:pt x="597" y="43"/>
                </a:cubicBezTo>
                <a:cubicBezTo>
                  <a:pt x="597" y="39"/>
                  <a:pt x="599" y="38"/>
                  <a:pt x="603" y="38"/>
                </a:cubicBezTo>
                <a:cubicBezTo>
                  <a:pt x="638" y="38"/>
                  <a:pt x="638" y="38"/>
                  <a:pt x="638" y="38"/>
                </a:cubicBezTo>
                <a:cubicBezTo>
                  <a:pt x="642" y="38"/>
                  <a:pt x="643" y="39"/>
                  <a:pt x="643" y="43"/>
                </a:cubicBezTo>
                <a:cubicBezTo>
                  <a:pt x="643" y="121"/>
                  <a:pt x="643" y="121"/>
                  <a:pt x="643" y="121"/>
                </a:cubicBezTo>
                <a:cubicBezTo>
                  <a:pt x="746" y="121"/>
                  <a:pt x="746" y="121"/>
                  <a:pt x="746" y="121"/>
                </a:cubicBezTo>
                <a:cubicBezTo>
                  <a:pt x="750" y="121"/>
                  <a:pt x="751" y="122"/>
                  <a:pt x="751" y="126"/>
                </a:cubicBezTo>
                <a:cubicBezTo>
                  <a:pt x="751" y="162"/>
                  <a:pt x="751" y="162"/>
                  <a:pt x="751" y="162"/>
                </a:cubicBezTo>
                <a:cubicBezTo>
                  <a:pt x="751" y="165"/>
                  <a:pt x="750" y="167"/>
                  <a:pt x="746" y="167"/>
                </a:cubicBezTo>
                <a:cubicBezTo>
                  <a:pt x="644" y="167"/>
                  <a:pt x="644" y="167"/>
                  <a:pt x="644" y="167"/>
                </a:cubicBezTo>
                <a:cubicBezTo>
                  <a:pt x="644" y="289"/>
                  <a:pt x="644" y="289"/>
                  <a:pt x="644" y="289"/>
                </a:cubicBezTo>
                <a:cubicBezTo>
                  <a:pt x="644" y="311"/>
                  <a:pt x="648" y="326"/>
                  <a:pt x="655" y="336"/>
                </a:cubicBezTo>
                <a:cubicBezTo>
                  <a:pt x="663" y="348"/>
                  <a:pt x="675" y="353"/>
                  <a:pt x="694" y="353"/>
                </a:cubicBezTo>
                <a:cubicBezTo>
                  <a:pt x="711" y="353"/>
                  <a:pt x="721" y="351"/>
                  <a:pt x="729" y="342"/>
                </a:cubicBezTo>
                <a:cubicBezTo>
                  <a:pt x="737" y="333"/>
                  <a:pt x="741" y="319"/>
                  <a:pt x="744" y="300"/>
                </a:cubicBezTo>
                <a:cubicBezTo>
                  <a:pt x="745" y="297"/>
                  <a:pt x="746" y="295"/>
                  <a:pt x="750" y="295"/>
                </a:cubicBezTo>
                <a:cubicBezTo>
                  <a:pt x="785" y="295"/>
                  <a:pt x="785" y="295"/>
                  <a:pt x="785" y="295"/>
                </a:cubicBezTo>
                <a:cubicBezTo>
                  <a:pt x="787" y="295"/>
                  <a:pt x="787" y="295"/>
                  <a:pt x="787" y="295"/>
                </a:cubicBezTo>
                <a:cubicBezTo>
                  <a:pt x="788" y="295"/>
                  <a:pt x="788" y="295"/>
                  <a:pt x="789" y="296"/>
                </a:cubicBezTo>
                <a:cubicBezTo>
                  <a:pt x="790" y="296"/>
                  <a:pt x="790" y="297"/>
                  <a:pt x="790" y="297"/>
                </a:cubicBezTo>
                <a:cubicBezTo>
                  <a:pt x="790" y="298"/>
                  <a:pt x="790" y="299"/>
                  <a:pt x="790" y="300"/>
                </a:cubicBezTo>
                <a:cubicBezTo>
                  <a:pt x="790" y="327"/>
                  <a:pt x="784" y="350"/>
                  <a:pt x="765" y="371"/>
                </a:cubicBezTo>
                <a:cubicBezTo>
                  <a:pt x="748" y="390"/>
                  <a:pt x="725" y="400"/>
                  <a:pt x="694" y="400"/>
                </a:cubicBezTo>
                <a:cubicBezTo>
                  <a:pt x="662" y="400"/>
                  <a:pt x="639" y="390"/>
                  <a:pt x="622" y="371"/>
                </a:cubicBezTo>
                <a:cubicBezTo>
                  <a:pt x="606" y="353"/>
                  <a:pt x="597" y="325"/>
                  <a:pt x="597" y="289"/>
                </a:cubicBezTo>
                <a:cubicBezTo>
                  <a:pt x="597" y="167"/>
                  <a:pt x="597" y="167"/>
                  <a:pt x="597" y="167"/>
                </a:cubicBezTo>
                <a:cubicBezTo>
                  <a:pt x="548" y="167"/>
                  <a:pt x="548" y="167"/>
                  <a:pt x="548" y="167"/>
                </a:cubicBezTo>
                <a:cubicBezTo>
                  <a:pt x="545" y="167"/>
                  <a:pt x="543" y="165"/>
                  <a:pt x="543" y="162"/>
                </a:cubicBezTo>
                <a:moveTo>
                  <a:pt x="1997" y="297"/>
                </a:moveTo>
                <a:cubicBezTo>
                  <a:pt x="1965" y="297"/>
                  <a:pt x="1965" y="297"/>
                  <a:pt x="1965" y="297"/>
                </a:cubicBezTo>
                <a:cubicBezTo>
                  <a:pt x="1958" y="297"/>
                  <a:pt x="1956" y="301"/>
                  <a:pt x="1955" y="304"/>
                </a:cubicBezTo>
                <a:cubicBezTo>
                  <a:pt x="1950" y="319"/>
                  <a:pt x="1942" y="331"/>
                  <a:pt x="1929" y="340"/>
                </a:cubicBezTo>
                <a:cubicBezTo>
                  <a:pt x="1917" y="349"/>
                  <a:pt x="1902" y="354"/>
                  <a:pt x="1885" y="354"/>
                </a:cubicBezTo>
                <a:cubicBezTo>
                  <a:pt x="1860" y="354"/>
                  <a:pt x="1837" y="345"/>
                  <a:pt x="1822" y="327"/>
                </a:cubicBezTo>
                <a:cubicBezTo>
                  <a:pt x="1807" y="309"/>
                  <a:pt x="1799" y="286"/>
                  <a:pt x="1799" y="258"/>
                </a:cubicBezTo>
                <a:cubicBezTo>
                  <a:pt x="1799" y="230"/>
                  <a:pt x="1807" y="206"/>
                  <a:pt x="1822" y="188"/>
                </a:cubicBezTo>
                <a:cubicBezTo>
                  <a:pt x="1837" y="170"/>
                  <a:pt x="1860" y="162"/>
                  <a:pt x="1885" y="162"/>
                </a:cubicBezTo>
                <a:cubicBezTo>
                  <a:pt x="1902" y="162"/>
                  <a:pt x="1916" y="166"/>
                  <a:pt x="1928" y="175"/>
                </a:cubicBezTo>
                <a:cubicBezTo>
                  <a:pt x="1941" y="184"/>
                  <a:pt x="1949" y="197"/>
                  <a:pt x="1954" y="213"/>
                </a:cubicBezTo>
                <a:cubicBezTo>
                  <a:pt x="1955" y="215"/>
                  <a:pt x="1957" y="219"/>
                  <a:pt x="1964" y="219"/>
                </a:cubicBezTo>
                <a:cubicBezTo>
                  <a:pt x="1996" y="219"/>
                  <a:pt x="1996" y="219"/>
                  <a:pt x="1996" y="219"/>
                </a:cubicBezTo>
                <a:cubicBezTo>
                  <a:pt x="1999" y="219"/>
                  <a:pt x="2002" y="217"/>
                  <a:pt x="2002" y="213"/>
                </a:cubicBezTo>
                <a:cubicBezTo>
                  <a:pt x="2002" y="211"/>
                  <a:pt x="2002" y="209"/>
                  <a:pt x="2001" y="207"/>
                </a:cubicBezTo>
                <a:cubicBezTo>
                  <a:pt x="1994" y="179"/>
                  <a:pt x="1982" y="157"/>
                  <a:pt x="1962" y="141"/>
                </a:cubicBezTo>
                <a:cubicBezTo>
                  <a:pt x="1942" y="125"/>
                  <a:pt x="1916" y="117"/>
                  <a:pt x="1885" y="117"/>
                </a:cubicBezTo>
                <a:cubicBezTo>
                  <a:pt x="1845" y="117"/>
                  <a:pt x="1812" y="130"/>
                  <a:pt x="1788" y="157"/>
                </a:cubicBezTo>
                <a:cubicBezTo>
                  <a:pt x="1765" y="183"/>
                  <a:pt x="1753" y="217"/>
                  <a:pt x="1753" y="258"/>
                </a:cubicBezTo>
                <a:cubicBezTo>
                  <a:pt x="1753" y="299"/>
                  <a:pt x="1765" y="333"/>
                  <a:pt x="1789" y="360"/>
                </a:cubicBezTo>
                <a:cubicBezTo>
                  <a:pt x="1812" y="386"/>
                  <a:pt x="1845" y="400"/>
                  <a:pt x="1885" y="400"/>
                </a:cubicBezTo>
                <a:cubicBezTo>
                  <a:pt x="1916" y="400"/>
                  <a:pt x="1942" y="392"/>
                  <a:pt x="1962" y="376"/>
                </a:cubicBezTo>
                <a:cubicBezTo>
                  <a:pt x="1982" y="360"/>
                  <a:pt x="1995" y="337"/>
                  <a:pt x="2003" y="309"/>
                </a:cubicBezTo>
                <a:cubicBezTo>
                  <a:pt x="2003" y="307"/>
                  <a:pt x="2003" y="305"/>
                  <a:pt x="2003" y="303"/>
                </a:cubicBezTo>
                <a:cubicBezTo>
                  <a:pt x="2003" y="300"/>
                  <a:pt x="2002" y="297"/>
                  <a:pt x="1997" y="297"/>
                </a:cubicBezTo>
                <a:moveTo>
                  <a:pt x="0" y="389"/>
                </a:moveTo>
                <a:cubicBezTo>
                  <a:pt x="0" y="354"/>
                  <a:pt x="0" y="354"/>
                  <a:pt x="0" y="354"/>
                </a:cubicBezTo>
                <a:cubicBezTo>
                  <a:pt x="0" y="351"/>
                  <a:pt x="2" y="349"/>
                  <a:pt x="6" y="349"/>
                </a:cubicBezTo>
                <a:cubicBezTo>
                  <a:pt x="78" y="349"/>
                  <a:pt x="78" y="349"/>
                  <a:pt x="78" y="349"/>
                </a:cubicBezTo>
                <a:cubicBezTo>
                  <a:pt x="78" y="167"/>
                  <a:pt x="78" y="167"/>
                  <a:pt x="78" y="167"/>
                </a:cubicBezTo>
                <a:cubicBezTo>
                  <a:pt x="19" y="167"/>
                  <a:pt x="19" y="167"/>
                  <a:pt x="19" y="167"/>
                </a:cubicBezTo>
                <a:cubicBezTo>
                  <a:pt x="16" y="167"/>
                  <a:pt x="14" y="165"/>
                  <a:pt x="14" y="162"/>
                </a:cubicBezTo>
                <a:cubicBezTo>
                  <a:pt x="14" y="126"/>
                  <a:pt x="14" y="126"/>
                  <a:pt x="14" y="126"/>
                </a:cubicBezTo>
                <a:cubicBezTo>
                  <a:pt x="14" y="122"/>
                  <a:pt x="16" y="121"/>
                  <a:pt x="19" y="121"/>
                </a:cubicBezTo>
                <a:cubicBezTo>
                  <a:pt x="119" y="121"/>
                  <a:pt x="119" y="121"/>
                  <a:pt x="119" y="121"/>
                </a:cubicBezTo>
                <a:cubicBezTo>
                  <a:pt x="122" y="121"/>
                  <a:pt x="124" y="122"/>
                  <a:pt x="125" y="126"/>
                </a:cubicBezTo>
                <a:cubicBezTo>
                  <a:pt x="125" y="349"/>
                  <a:pt x="125" y="349"/>
                  <a:pt x="125" y="349"/>
                </a:cubicBezTo>
                <a:cubicBezTo>
                  <a:pt x="206" y="349"/>
                  <a:pt x="206" y="349"/>
                  <a:pt x="206" y="349"/>
                </a:cubicBezTo>
                <a:cubicBezTo>
                  <a:pt x="209" y="349"/>
                  <a:pt x="211" y="351"/>
                  <a:pt x="211" y="354"/>
                </a:cubicBezTo>
                <a:cubicBezTo>
                  <a:pt x="211" y="389"/>
                  <a:pt x="211" y="389"/>
                  <a:pt x="211" y="389"/>
                </a:cubicBezTo>
                <a:cubicBezTo>
                  <a:pt x="211" y="393"/>
                  <a:pt x="210" y="395"/>
                  <a:pt x="206" y="395"/>
                </a:cubicBezTo>
                <a:cubicBezTo>
                  <a:pt x="6" y="395"/>
                  <a:pt x="6" y="395"/>
                  <a:pt x="6" y="395"/>
                </a:cubicBezTo>
                <a:cubicBezTo>
                  <a:pt x="2" y="395"/>
                  <a:pt x="0" y="393"/>
                  <a:pt x="0" y="389"/>
                </a:cubicBezTo>
                <a:moveTo>
                  <a:pt x="493" y="227"/>
                </a:moveTo>
                <a:cubicBezTo>
                  <a:pt x="493" y="199"/>
                  <a:pt x="485" y="173"/>
                  <a:pt x="463" y="149"/>
                </a:cubicBezTo>
                <a:cubicBezTo>
                  <a:pt x="444" y="128"/>
                  <a:pt x="411" y="116"/>
                  <a:pt x="381" y="116"/>
                </a:cubicBezTo>
                <a:cubicBezTo>
                  <a:pt x="332" y="116"/>
                  <a:pt x="312" y="150"/>
                  <a:pt x="312" y="150"/>
                </a:cubicBezTo>
                <a:cubicBezTo>
                  <a:pt x="312" y="126"/>
                  <a:pt x="312" y="126"/>
                  <a:pt x="312" y="126"/>
                </a:cubicBezTo>
                <a:cubicBezTo>
                  <a:pt x="312" y="122"/>
                  <a:pt x="311" y="121"/>
                  <a:pt x="307" y="121"/>
                </a:cubicBezTo>
                <a:cubicBezTo>
                  <a:pt x="272" y="121"/>
                  <a:pt x="272" y="121"/>
                  <a:pt x="272" y="121"/>
                </a:cubicBezTo>
                <a:cubicBezTo>
                  <a:pt x="268" y="121"/>
                  <a:pt x="266" y="122"/>
                  <a:pt x="266" y="126"/>
                </a:cubicBezTo>
                <a:cubicBezTo>
                  <a:pt x="266" y="231"/>
                  <a:pt x="266" y="231"/>
                  <a:pt x="266" y="231"/>
                </a:cubicBezTo>
                <a:cubicBezTo>
                  <a:pt x="266" y="235"/>
                  <a:pt x="266" y="238"/>
                  <a:pt x="266" y="242"/>
                </a:cubicBezTo>
                <a:cubicBezTo>
                  <a:pt x="266" y="244"/>
                  <a:pt x="266" y="247"/>
                  <a:pt x="266" y="250"/>
                </a:cubicBezTo>
                <a:cubicBezTo>
                  <a:pt x="266" y="389"/>
                  <a:pt x="266" y="389"/>
                  <a:pt x="266" y="389"/>
                </a:cubicBezTo>
                <a:cubicBezTo>
                  <a:pt x="266" y="393"/>
                  <a:pt x="268" y="395"/>
                  <a:pt x="272" y="395"/>
                </a:cubicBezTo>
                <a:cubicBezTo>
                  <a:pt x="307" y="395"/>
                  <a:pt x="307" y="395"/>
                  <a:pt x="307" y="395"/>
                </a:cubicBezTo>
                <a:cubicBezTo>
                  <a:pt x="311" y="395"/>
                  <a:pt x="312" y="393"/>
                  <a:pt x="312" y="389"/>
                </a:cubicBezTo>
                <a:cubicBezTo>
                  <a:pt x="312" y="251"/>
                  <a:pt x="312" y="251"/>
                  <a:pt x="312" y="251"/>
                </a:cubicBezTo>
                <a:cubicBezTo>
                  <a:pt x="312" y="250"/>
                  <a:pt x="312" y="250"/>
                  <a:pt x="312" y="250"/>
                </a:cubicBezTo>
                <a:cubicBezTo>
                  <a:pt x="312" y="250"/>
                  <a:pt x="312" y="250"/>
                  <a:pt x="312" y="250"/>
                </a:cubicBezTo>
                <a:cubicBezTo>
                  <a:pt x="312" y="243"/>
                  <a:pt x="312" y="241"/>
                  <a:pt x="312" y="236"/>
                </a:cubicBezTo>
                <a:cubicBezTo>
                  <a:pt x="312" y="235"/>
                  <a:pt x="312" y="235"/>
                  <a:pt x="312" y="235"/>
                </a:cubicBezTo>
                <a:cubicBezTo>
                  <a:pt x="312" y="234"/>
                  <a:pt x="312" y="233"/>
                  <a:pt x="312" y="232"/>
                </a:cubicBezTo>
                <a:cubicBezTo>
                  <a:pt x="312" y="232"/>
                  <a:pt x="312" y="231"/>
                  <a:pt x="312" y="231"/>
                </a:cubicBezTo>
                <a:cubicBezTo>
                  <a:pt x="312" y="230"/>
                  <a:pt x="313" y="229"/>
                  <a:pt x="313" y="228"/>
                </a:cubicBezTo>
                <a:cubicBezTo>
                  <a:pt x="313" y="228"/>
                  <a:pt x="313" y="224"/>
                  <a:pt x="313" y="223"/>
                </a:cubicBezTo>
                <a:cubicBezTo>
                  <a:pt x="313" y="222"/>
                  <a:pt x="313" y="222"/>
                  <a:pt x="313" y="221"/>
                </a:cubicBezTo>
                <a:cubicBezTo>
                  <a:pt x="313" y="220"/>
                  <a:pt x="313" y="220"/>
                  <a:pt x="313" y="219"/>
                </a:cubicBezTo>
                <a:cubicBezTo>
                  <a:pt x="313" y="218"/>
                  <a:pt x="313" y="218"/>
                  <a:pt x="313" y="217"/>
                </a:cubicBezTo>
                <a:cubicBezTo>
                  <a:pt x="313" y="216"/>
                  <a:pt x="313" y="216"/>
                  <a:pt x="313" y="215"/>
                </a:cubicBezTo>
                <a:cubicBezTo>
                  <a:pt x="314" y="215"/>
                  <a:pt x="314" y="214"/>
                  <a:pt x="314" y="213"/>
                </a:cubicBezTo>
                <a:cubicBezTo>
                  <a:pt x="314" y="213"/>
                  <a:pt x="314" y="212"/>
                  <a:pt x="314" y="211"/>
                </a:cubicBezTo>
                <a:cubicBezTo>
                  <a:pt x="314" y="211"/>
                  <a:pt x="314" y="210"/>
                  <a:pt x="315" y="210"/>
                </a:cubicBezTo>
                <a:cubicBezTo>
                  <a:pt x="315" y="209"/>
                  <a:pt x="315" y="208"/>
                  <a:pt x="315" y="208"/>
                </a:cubicBezTo>
                <a:cubicBezTo>
                  <a:pt x="315" y="207"/>
                  <a:pt x="315" y="207"/>
                  <a:pt x="316" y="206"/>
                </a:cubicBezTo>
                <a:cubicBezTo>
                  <a:pt x="316" y="205"/>
                  <a:pt x="316" y="205"/>
                  <a:pt x="316" y="204"/>
                </a:cubicBezTo>
                <a:cubicBezTo>
                  <a:pt x="316" y="203"/>
                  <a:pt x="317" y="203"/>
                  <a:pt x="317" y="202"/>
                </a:cubicBezTo>
                <a:cubicBezTo>
                  <a:pt x="317" y="202"/>
                  <a:pt x="317" y="201"/>
                  <a:pt x="318" y="200"/>
                </a:cubicBezTo>
                <a:cubicBezTo>
                  <a:pt x="318" y="200"/>
                  <a:pt x="318" y="199"/>
                  <a:pt x="319" y="199"/>
                </a:cubicBezTo>
                <a:cubicBezTo>
                  <a:pt x="319" y="198"/>
                  <a:pt x="319" y="197"/>
                  <a:pt x="319" y="197"/>
                </a:cubicBezTo>
                <a:cubicBezTo>
                  <a:pt x="320" y="196"/>
                  <a:pt x="320" y="195"/>
                  <a:pt x="321" y="195"/>
                </a:cubicBezTo>
                <a:cubicBezTo>
                  <a:pt x="321" y="194"/>
                  <a:pt x="321" y="194"/>
                  <a:pt x="322" y="193"/>
                </a:cubicBezTo>
                <a:cubicBezTo>
                  <a:pt x="322" y="192"/>
                  <a:pt x="323" y="192"/>
                  <a:pt x="323" y="191"/>
                </a:cubicBezTo>
                <a:cubicBezTo>
                  <a:pt x="323" y="190"/>
                  <a:pt x="324" y="190"/>
                  <a:pt x="324" y="189"/>
                </a:cubicBezTo>
                <a:cubicBezTo>
                  <a:pt x="325" y="188"/>
                  <a:pt x="326" y="187"/>
                  <a:pt x="327" y="186"/>
                </a:cubicBezTo>
                <a:cubicBezTo>
                  <a:pt x="342" y="168"/>
                  <a:pt x="360" y="162"/>
                  <a:pt x="380" y="162"/>
                </a:cubicBezTo>
                <a:cubicBezTo>
                  <a:pt x="398" y="162"/>
                  <a:pt x="416" y="169"/>
                  <a:pt x="427" y="180"/>
                </a:cubicBezTo>
                <a:cubicBezTo>
                  <a:pt x="439" y="192"/>
                  <a:pt x="447" y="210"/>
                  <a:pt x="447" y="229"/>
                </a:cubicBezTo>
                <a:cubicBezTo>
                  <a:pt x="447" y="254"/>
                  <a:pt x="447" y="254"/>
                  <a:pt x="447" y="254"/>
                </a:cubicBezTo>
                <a:cubicBezTo>
                  <a:pt x="447" y="389"/>
                  <a:pt x="447" y="389"/>
                  <a:pt x="447" y="389"/>
                </a:cubicBezTo>
                <a:cubicBezTo>
                  <a:pt x="447" y="393"/>
                  <a:pt x="449" y="395"/>
                  <a:pt x="453" y="395"/>
                </a:cubicBezTo>
                <a:cubicBezTo>
                  <a:pt x="488" y="395"/>
                  <a:pt x="488" y="395"/>
                  <a:pt x="488" y="395"/>
                </a:cubicBezTo>
                <a:cubicBezTo>
                  <a:pt x="492" y="395"/>
                  <a:pt x="493" y="393"/>
                  <a:pt x="493" y="389"/>
                </a:cubicBezTo>
                <a:cubicBezTo>
                  <a:pt x="493" y="254"/>
                  <a:pt x="493" y="254"/>
                  <a:pt x="493" y="254"/>
                </a:cubicBezTo>
                <a:cubicBezTo>
                  <a:pt x="493" y="228"/>
                  <a:pt x="493" y="228"/>
                  <a:pt x="493" y="228"/>
                </a:cubicBezTo>
                <a:cubicBezTo>
                  <a:pt x="493" y="227"/>
                  <a:pt x="493" y="227"/>
                  <a:pt x="493" y="227"/>
                </a:cubicBezTo>
                <a:close/>
                <a:moveTo>
                  <a:pt x="105" y="0"/>
                </a:moveTo>
                <a:cubicBezTo>
                  <a:pt x="84" y="0"/>
                  <a:pt x="67" y="17"/>
                  <a:pt x="67" y="38"/>
                </a:cubicBezTo>
                <a:cubicBezTo>
                  <a:pt x="67" y="58"/>
                  <a:pt x="84" y="75"/>
                  <a:pt x="105" y="75"/>
                </a:cubicBezTo>
                <a:cubicBezTo>
                  <a:pt x="125" y="75"/>
                  <a:pt x="142" y="58"/>
                  <a:pt x="142" y="38"/>
                </a:cubicBezTo>
                <a:cubicBezTo>
                  <a:pt x="142" y="17"/>
                  <a:pt x="125" y="0"/>
                  <a:pt x="105" y="0"/>
                </a:cubicBezTo>
                <a:moveTo>
                  <a:pt x="1386" y="179"/>
                </a:moveTo>
                <a:cubicBezTo>
                  <a:pt x="1390" y="177"/>
                  <a:pt x="1391" y="173"/>
                  <a:pt x="1389" y="169"/>
                </a:cubicBezTo>
                <a:cubicBezTo>
                  <a:pt x="1385" y="162"/>
                  <a:pt x="1380" y="156"/>
                  <a:pt x="1374" y="149"/>
                </a:cubicBezTo>
                <a:cubicBezTo>
                  <a:pt x="1355" y="128"/>
                  <a:pt x="1322" y="116"/>
                  <a:pt x="1292" y="116"/>
                </a:cubicBezTo>
                <a:cubicBezTo>
                  <a:pt x="1243" y="116"/>
                  <a:pt x="1223" y="150"/>
                  <a:pt x="1223" y="150"/>
                </a:cubicBezTo>
                <a:cubicBezTo>
                  <a:pt x="1223" y="126"/>
                  <a:pt x="1223" y="126"/>
                  <a:pt x="1223" y="126"/>
                </a:cubicBezTo>
                <a:cubicBezTo>
                  <a:pt x="1223" y="123"/>
                  <a:pt x="1221" y="121"/>
                  <a:pt x="1218" y="121"/>
                </a:cubicBezTo>
                <a:cubicBezTo>
                  <a:pt x="1183" y="121"/>
                  <a:pt x="1183" y="121"/>
                  <a:pt x="1183" y="121"/>
                </a:cubicBezTo>
                <a:cubicBezTo>
                  <a:pt x="1179" y="121"/>
                  <a:pt x="1177" y="122"/>
                  <a:pt x="1177" y="126"/>
                </a:cubicBezTo>
                <a:cubicBezTo>
                  <a:pt x="1177" y="231"/>
                  <a:pt x="1177" y="231"/>
                  <a:pt x="1177" y="231"/>
                </a:cubicBezTo>
                <a:cubicBezTo>
                  <a:pt x="1177" y="235"/>
                  <a:pt x="1177" y="238"/>
                  <a:pt x="1177" y="242"/>
                </a:cubicBezTo>
                <a:cubicBezTo>
                  <a:pt x="1177" y="244"/>
                  <a:pt x="1177" y="247"/>
                  <a:pt x="1177" y="250"/>
                </a:cubicBezTo>
                <a:cubicBezTo>
                  <a:pt x="1177" y="389"/>
                  <a:pt x="1177" y="389"/>
                  <a:pt x="1177" y="389"/>
                </a:cubicBezTo>
                <a:cubicBezTo>
                  <a:pt x="1177" y="393"/>
                  <a:pt x="1179" y="395"/>
                  <a:pt x="1183" y="395"/>
                </a:cubicBezTo>
                <a:cubicBezTo>
                  <a:pt x="1218" y="395"/>
                  <a:pt x="1218" y="395"/>
                  <a:pt x="1218" y="395"/>
                </a:cubicBezTo>
                <a:cubicBezTo>
                  <a:pt x="1221" y="395"/>
                  <a:pt x="1223" y="392"/>
                  <a:pt x="1223" y="389"/>
                </a:cubicBezTo>
                <a:cubicBezTo>
                  <a:pt x="1223" y="251"/>
                  <a:pt x="1223" y="251"/>
                  <a:pt x="1223" y="251"/>
                </a:cubicBezTo>
                <a:cubicBezTo>
                  <a:pt x="1223" y="250"/>
                  <a:pt x="1223" y="250"/>
                  <a:pt x="1223" y="250"/>
                </a:cubicBezTo>
                <a:cubicBezTo>
                  <a:pt x="1223" y="250"/>
                  <a:pt x="1223" y="250"/>
                  <a:pt x="1223" y="250"/>
                </a:cubicBezTo>
                <a:cubicBezTo>
                  <a:pt x="1223" y="243"/>
                  <a:pt x="1223" y="241"/>
                  <a:pt x="1223" y="236"/>
                </a:cubicBezTo>
                <a:cubicBezTo>
                  <a:pt x="1223" y="236"/>
                  <a:pt x="1223" y="235"/>
                  <a:pt x="1223" y="235"/>
                </a:cubicBezTo>
                <a:cubicBezTo>
                  <a:pt x="1223" y="234"/>
                  <a:pt x="1223" y="233"/>
                  <a:pt x="1223" y="232"/>
                </a:cubicBezTo>
                <a:cubicBezTo>
                  <a:pt x="1223" y="232"/>
                  <a:pt x="1223" y="231"/>
                  <a:pt x="1223" y="231"/>
                </a:cubicBezTo>
                <a:cubicBezTo>
                  <a:pt x="1223" y="230"/>
                  <a:pt x="1223" y="229"/>
                  <a:pt x="1224" y="228"/>
                </a:cubicBezTo>
                <a:cubicBezTo>
                  <a:pt x="1224" y="228"/>
                  <a:pt x="1224" y="224"/>
                  <a:pt x="1224" y="223"/>
                </a:cubicBezTo>
                <a:cubicBezTo>
                  <a:pt x="1224" y="222"/>
                  <a:pt x="1224" y="222"/>
                  <a:pt x="1224" y="221"/>
                </a:cubicBezTo>
                <a:cubicBezTo>
                  <a:pt x="1224" y="220"/>
                  <a:pt x="1224" y="220"/>
                  <a:pt x="1224" y="219"/>
                </a:cubicBezTo>
                <a:cubicBezTo>
                  <a:pt x="1224" y="218"/>
                  <a:pt x="1224" y="218"/>
                  <a:pt x="1224" y="217"/>
                </a:cubicBezTo>
                <a:cubicBezTo>
                  <a:pt x="1224" y="216"/>
                  <a:pt x="1224" y="216"/>
                  <a:pt x="1224" y="215"/>
                </a:cubicBezTo>
                <a:cubicBezTo>
                  <a:pt x="1225" y="215"/>
                  <a:pt x="1225" y="214"/>
                  <a:pt x="1225" y="213"/>
                </a:cubicBezTo>
                <a:cubicBezTo>
                  <a:pt x="1225" y="213"/>
                  <a:pt x="1225" y="212"/>
                  <a:pt x="1225" y="211"/>
                </a:cubicBezTo>
                <a:cubicBezTo>
                  <a:pt x="1225" y="211"/>
                  <a:pt x="1225" y="210"/>
                  <a:pt x="1226" y="210"/>
                </a:cubicBezTo>
                <a:cubicBezTo>
                  <a:pt x="1226" y="209"/>
                  <a:pt x="1226" y="208"/>
                  <a:pt x="1226" y="208"/>
                </a:cubicBezTo>
                <a:cubicBezTo>
                  <a:pt x="1226" y="207"/>
                  <a:pt x="1226" y="207"/>
                  <a:pt x="1227" y="206"/>
                </a:cubicBezTo>
                <a:cubicBezTo>
                  <a:pt x="1227" y="205"/>
                  <a:pt x="1227" y="205"/>
                  <a:pt x="1227" y="204"/>
                </a:cubicBezTo>
                <a:cubicBezTo>
                  <a:pt x="1227" y="203"/>
                  <a:pt x="1228" y="203"/>
                  <a:pt x="1228" y="202"/>
                </a:cubicBezTo>
                <a:cubicBezTo>
                  <a:pt x="1228" y="202"/>
                  <a:pt x="1228" y="201"/>
                  <a:pt x="1229" y="200"/>
                </a:cubicBezTo>
                <a:cubicBezTo>
                  <a:pt x="1229" y="200"/>
                  <a:pt x="1229" y="199"/>
                  <a:pt x="1230" y="199"/>
                </a:cubicBezTo>
                <a:cubicBezTo>
                  <a:pt x="1230" y="198"/>
                  <a:pt x="1230" y="197"/>
                  <a:pt x="1230" y="197"/>
                </a:cubicBezTo>
                <a:cubicBezTo>
                  <a:pt x="1231" y="196"/>
                  <a:pt x="1231" y="195"/>
                  <a:pt x="1232" y="195"/>
                </a:cubicBezTo>
                <a:cubicBezTo>
                  <a:pt x="1232" y="194"/>
                  <a:pt x="1232" y="194"/>
                  <a:pt x="1232" y="193"/>
                </a:cubicBezTo>
                <a:cubicBezTo>
                  <a:pt x="1233" y="192"/>
                  <a:pt x="1233" y="192"/>
                  <a:pt x="1234" y="191"/>
                </a:cubicBezTo>
                <a:cubicBezTo>
                  <a:pt x="1234" y="190"/>
                  <a:pt x="1235" y="190"/>
                  <a:pt x="1235" y="189"/>
                </a:cubicBezTo>
                <a:cubicBezTo>
                  <a:pt x="1236" y="188"/>
                  <a:pt x="1237" y="187"/>
                  <a:pt x="1238" y="186"/>
                </a:cubicBezTo>
                <a:cubicBezTo>
                  <a:pt x="1253" y="168"/>
                  <a:pt x="1271" y="162"/>
                  <a:pt x="1291" y="162"/>
                </a:cubicBezTo>
                <a:cubicBezTo>
                  <a:pt x="1308" y="162"/>
                  <a:pt x="1328" y="169"/>
                  <a:pt x="1338" y="180"/>
                </a:cubicBezTo>
                <a:cubicBezTo>
                  <a:pt x="1341" y="184"/>
                  <a:pt x="1345" y="188"/>
                  <a:pt x="1348" y="192"/>
                </a:cubicBezTo>
                <a:cubicBezTo>
                  <a:pt x="1350" y="196"/>
                  <a:pt x="1354" y="197"/>
                  <a:pt x="1357" y="195"/>
                </a:cubicBezTo>
                <a:lnTo>
                  <a:pt x="1386" y="179"/>
                </a:lnTo>
                <a:close/>
                <a:moveTo>
                  <a:pt x="1106" y="268"/>
                </a:moveTo>
                <a:cubicBezTo>
                  <a:pt x="1109" y="268"/>
                  <a:pt x="1112" y="265"/>
                  <a:pt x="1112" y="262"/>
                </a:cubicBezTo>
                <a:cubicBezTo>
                  <a:pt x="1112" y="256"/>
                  <a:pt x="1112" y="249"/>
                  <a:pt x="1112" y="246"/>
                </a:cubicBezTo>
                <a:cubicBezTo>
                  <a:pt x="1107" y="184"/>
                  <a:pt x="1065" y="133"/>
                  <a:pt x="1010" y="120"/>
                </a:cubicBezTo>
                <a:cubicBezTo>
                  <a:pt x="1006" y="119"/>
                  <a:pt x="1002" y="122"/>
                  <a:pt x="1002" y="126"/>
                </a:cubicBezTo>
                <a:cubicBezTo>
                  <a:pt x="1002" y="164"/>
                  <a:pt x="1002" y="164"/>
                  <a:pt x="1002" y="164"/>
                </a:cubicBezTo>
                <a:cubicBezTo>
                  <a:pt x="1002" y="166"/>
                  <a:pt x="1004" y="169"/>
                  <a:pt x="1006" y="170"/>
                </a:cubicBezTo>
                <a:cubicBezTo>
                  <a:pt x="1032" y="179"/>
                  <a:pt x="1053" y="201"/>
                  <a:pt x="1062" y="229"/>
                </a:cubicBezTo>
                <a:cubicBezTo>
                  <a:pt x="900" y="229"/>
                  <a:pt x="900" y="229"/>
                  <a:pt x="900" y="229"/>
                </a:cubicBezTo>
                <a:cubicBezTo>
                  <a:pt x="909" y="201"/>
                  <a:pt x="930" y="179"/>
                  <a:pt x="956" y="170"/>
                </a:cubicBezTo>
                <a:cubicBezTo>
                  <a:pt x="958" y="169"/>
                  <a:pt x="960" y="166"/>
                  <a:pt x="960" y="164"/>
                </a:cubicBezTo>
                <a:cubicBezTo>
                  <a:pt x="960" y="126"/>
                  <a:pt x="960" y="126"/>
                  <a:pt x="960" y="126"/>
                </a:cubicBezTo>
                <a:cubicBezTo>
                  <a:pt x="960" y="122"/>
                  <a:pt x="956" y="119"/>
                  <a:pt x="952" y="120"/>
                </a:cubicBezTo>
                <a:cubicBezTo>
                  <a:pt x="893" y="134"/>
                  <a:pt x="850" y="191"/>
                  <a:pt x="850" y="258"/>
                </a:cubicBezTo>
                <a:cubicBezTo>
                  <a:pt x="850" y="337"/>
                  <a:pt x="908" y="400"/>
                  <a:pt x="981" y="400"/>
                </a:cubicBezTo>
                <a:cubicBezTo>
                  <a:pt x="1032" y="400"/>
                  <a:pt x="1076" y="369"/>
                  <a:pt x="1098" y="322"/>
                </a:cubicBezTo>
                <a:cubicBezTo>
                  <a:pt x="1100" y="318"/>
                  <a:pt x="1097" y="313"/>
                  <a:pt x="1092" y="313"/>
                </a:cubicBezTo>
                <a:cubicBezTo>
                  <a:pt x="1055" y="313"/>
                  <a:pt x="1055" y="313"/>
                  <a:pt x="1055" y="313"/>
                </a:cubicBezTo>
                <a:cubicBezTo>
                  <a:pt x="1053" y="313"/>
                  <a:pt x="1051" y="314"/>
                  <a:pt x="1049" y="316"/>
                </a:cubicBezTo>
                <a:cubicBezTo>
                  <a:pt x="1034" y="339"/>
                  <a:pt x="1009" y="354"/>
                  <a:pt x="981" y="354"/>
                </a:cubicBezTo>
                <a:cubicBezTo>
                  <a:pt x="936" y="354"/>
                  <a:pt x="900" y="316"/>
                  <a:pt x="896" y="268"/>
                </a:cubicBezTo>
                <a:cubicBezTo>
                  <a:pt x="1066" y="268"/>
                  <a:pt x="1066" y="268"/>
                  <a:pt x="1066" y="268"/>
                </a:cubicBezTo>
                <a:cubicBezTo>
                  <a:pt x="1066" y="268"/>
                  <a:pt x="1066" y="268"/>
                  <a:pt x="1066" y="268"/>
                </a:cubicBezTo>
                <a:lnTo>
                  <a:pt x="1106" y="268"/>
                </a:lnTo>
                <a:close/>
                <a:moveTo>
                  <a:pt x="1692" y="232"/>
                </a:moveTo>
                <a:cubicBezTo>
                  <a:pt x="1692" y="126"/>
                  <a:pt x="1692" y="126"/>
                  <a:pt x="1692" y="126"/>
                </a:cubicBezTo>
                <a:cubicBezTo>
                  <a:pt x="1692" y="123"/>
                  <a:pt x="1690" y="121"/>
                  <a:pt x="1686" y="121"/>
                </a:cubicBezTo>
                <a:cubicBezTo>
                  <a:pt x="1651" y="121"/>
                  <a:pt x="1651" y="121"/>
                  <a:pt x="1651" y="121"/>
                </a:cubicBezTo>
                <a:cubicBezTo>
                  <a:pt x="1648" y="121"/>
                  <a:pt x="1646" y="123"/>
                  <a:pt x="1646" y="126"/>
                </a:cubicBezTo>
                <a:cubicBezTo>
                  <a:pt x="1646" y="149"/>
                  <a:pt x="1646" y="149"/>
                  <a:pt x="1646" y="149"/>
                </a:cubicBezTo>
                <a:cubicBezTo>
                  <a:pt x="1628" y="133"/>
                  <a:pt x="1607" y="121"/>
                  <a:pt x="1583" y="116"/>
                </a:cubicBezTo>
                <a:cubicBezTo>
                  <a:pt x="1580" y="115"/>
                  <a:pt x="1578" y="117"/>
                  <a:pt x="1578" y="120"/>
                </a:cubicBezTo>
                <a:cubicBezTo>
                  <a:pt x="1578" y="161"/>
                  <a:pt x="1578" y="161"/>
                  <a:pt x="1578" y="161"/>
                </a:cubicBezTo>
                <a:cubicBezTo>
                  <a:pt x="1578" y="163"/>
                  <a:pt x="1579" y="165"/>
                  <a:pt x="1581" y="165"/>
                </a:cubicBezTo>
                <a:cubicBezTo>
                  <a:pt x="1619" y="176"/>
                  <a:pt x="1648" y="213"/>
                  <a:pt x="1648" y="258"/>
                </a:cubicBezTo>
                <a:cubicBezTo>
                  <a:pt x="1648" y="311"/>
                  <a:pt x="1608" y="354"/>
                  <a:pt x="1558" y="354"/>
                </a:cubicBezTo>
                <a:cubicBezTo>
                  <a:pt x="1509" y="354"/>
                  <a:pt x="1469" y="311"/>
                  <a:pt x="1469" y="258"/>
                </a:cubicBezTo>
                <a:cubicBezTo>
                  <a:pt x="1469" y="214"/>
                  <a:pt x="1496" y="178"/>
                  <a:pt x="1533" y="166"/>
                </a:cubicBezTo>
                <a:cubicBezTo>
                  <a:pt x="1535" y="165"/>
                  <a:pt x="1536" y="164"/>
                  <a:pt x="1536" y="162"/>
                </a:cubicBezTo>
                <a:cubicBezTo>
                  <a:pt x="1536" y="120"/>
                  <a:pt x="1536" y="120"/>
                  <a:pt x="1536" y="120"/>
                </a:cubicBezTo>
                <a:cubicBezTo>
                  <a:pt x="1536" y="117"/>
                  <a:pt x="1534" y="115"/>
                  <a:pt x="1531" y="116"/>
                </a:cubicBezTo>
                <a:cubicBezTo>
                  <a:pt x="1469" y="128"/>
                  <a:pt x="1422" y="187"/>
                  <a:pt x="1422" y="257"/>
                </a:cubicBezTo>
                <a:cubicBezTo>
                  <a:pt x="1422" y="336"/>
                  <a:pt x="1482" y="400"/>
                  <a:pt x="1557" y="400"/>
                </a:cubicBezTo>
                <a:cubicBezTo>
                  <a:pt x="1591" y="400"/>
                  <a:pt x="1622" y="386"/>
                  <a:pt x="1646" y="364"/>
                </a:cubicBezTo>
                <a:cubicBezTo>
                  <a:pt x="1646" y="390"/>
                  <a:pt x="1646" y="390"/>
                  <a:pt x="1646" y="390"/>
                </a:cubicBezTo>
                <a:cubicBezTo>
                  <a:pt x="1646" y="393"/>
                  <a:pt x="1648" y="395"/>
                  <a:pt x="1651" y="395"/>
                </a:cubicBezTo>
                <a:cubicBezTo>
                  <a:pt x="1686" y="395"/>
                  <a:pt x="1686" y="395"/>
                  <a:pt x="1686" y="395"/>
                </a:cubicBezTo>
                <a:cubicBezTo>
                  <a:pt x="1690" y="395"/>
                  <a:pt x="1692" y="393"/>
                  <a:pt x="1692" y="390"/>
                </a:cubicBezTo>
                <a:cubicBezTo>
                  <a:pt x="1692" y="250"/>
                  <a:pt x="1692" y="250"/>
                  <a:pt x="1692" y="250"/>
                </a:cubicBezTo>
                <a:cubicBezTo>
                  <a:pt x="1692" y="247"/>
                  <a:pt x="1692" y="245"/>
                  <a:pt x="1692" y="242"/>
                </a:cubicBezTo>
                <a:cubicBezTo>
                  <a:pt x="1692" y="239"/>
                  <a:pt x="1692" y="235"/>
                  <a:pt x="1692" y="232"/>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470698081"/>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gradFill>
          <a:gsLst>
            <a:gs pos="50000">
              <a:srgbClr val="00E487"/>
            </a:gs>
            <a:gs pos="100000">
              <a:srgbClr val="1ECBD0"/>
            </a:gs>
          </a:gsLst>
          <a:lin ang="18900000" scaled="0"/>
        </a:gra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CFD4E276-C47D-4F97-8D9E-FECD172C9798}"/>
              </a:ext>
            </a:extLst>
          </p:cNvPr>
          <p:cNvGrpSpPr>
            <a:grpSpLocks noChangeAspect="1"/>
          </p:cNvGrpSpPr>
          <p:nvPr userDrawn="1"/>
        </p:nvGrpSpPr>
        <p:grpSpPr bwMode="auto">
          <a:xfrm>
            <a:off x="2835683" y="2634179"/>
            <a:ext cx="6520638" cy="1589645"/>
            <a:chOff x="2071" y="1578"/>
            <a:chExt cx="2587" cy="631"/>
          </a:xfrm>
          <a:solidFill>
            <a:schemeClr val="bg1"/>
          </a:solidFill>
        </p:grpSpPr>
        <p:sp>
          <p:nvSpPr>
            <p:cNvPr id="7" name="Freeform 5">
              <a:extLst>
                <a:ext uri="{FF2B5EF4-FFF2-40B4-BE49-F238E27FC236}">
                  <a16:creationId xmlns:a16="http://schemas.microsoft.com/office/drawing/2014/main" id="{F8587B0E-0CEF-4218-99CF-AE3634274F8F}"/>
                </a:ext>
              </a:extLst>
            </p:cNvPr>
            <p:cNvSpPr>
              <a:spLocks/>
            </p:cNvSpPr>
            <p:nvPr userDrawn="1"/>
          </p:nvSpPr>
          <p:spPr bwMode="auto">
            <a:xfrm>
              <a:off x="2765" y="1728"/>
              <a:ext cx="244" cy="318"/>
            </a:xfrm>
            <a:custGeom>
              <a:avLst/>
              <a:gdLst>
                <a:gd name="T0" fmla="*/ 12 w 129"/>
                <a:gd name="T1" fmla="*/ 0 h 168"/>
                <a:gd name="T2" fmla="*/ 8 w 129"/>
                <a:gd name="T3" fmla="*/ 4 h 168"/>
                <a:gd name="T4" fmla="*/ 8 w 129"/>
                <a:gd name="T5" fmla="*/ 25 h 168"/>
                <a:gd name="T6" fmla="*/ 12 w 129"/>
                <a:gd name="T7" fmla="*/ 29 h 168"/>
                <a:gd name="T8" fmla="*/ 48 w 129"/>
                <a:gd name="T9" fmla="*/ 29 h 168"/>
                <a:gd name="T10" fmla="*/ 48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2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2" y="0"/>
                  </a:moveTo>
                  <a:cubicBezTo>
                    <a:pt x="9" y="0"/>
                    <a:pt x="8" y="1"/>
                    <a:pt x="8" y="4"/>
                  </a:cubicBezTo>
                  <a:cubicBezTo>
                    <a:pt x="8" y="25"/>
                    <a:pt x="8" y="25"/>
                    <a:pt x="8" y="25"/>
                  </a:cubicBezTo>
                  <a:cubicBezTo>
                    <a:pt x="8" y="27"/>
                    <a:pt x="9" y="29"/>
                    <a:pt x="12" y="29"/>
                  </a:cubicBezTo>
                  <a:cubicBezTo>
                    <a:pt x="48" y="29"/>
                    <a:pt x="48" y="29"/>
                    <a:pt x="48" y="29"/>
                  </a:cubicBezTo>
                  <a:cubicBezTo>
                    <a:pt x="48" y="140"/>
                    <a:pt x="48" y="140"/>
                    <a:pt x="48"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8" y="140"/>
                    <a:pt x="125" y="140"/>
                  </a:cubicBezTo>
                  <a:cubicBezTo>
                    <a:pt x="76" y="140"/>
                    <a:pt x="76" y="140"/>
                    <a:pt x="76" y="140"/>
                  </a:cubicBezTo>
                  <a:cubicBezTo>
                    <a:pt x="76" y="4"/>
                    <a:pt x="76" y="4"/>
                    <a:pt x="76" y="4"/>
                  </a:cubicBezTo>
                  <a:cubicBezTo>
                    <a:pt x="76" y="1"/>
                    <a:pt x="75" y="0"/>
                    <a:pt x="72" y="0"/>
                  </a:cubicBezTo>
                  <a:lnTo>
                    <a:pt x="1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053" dirty="0"/>
            </a:p>
          </p:txBody>
        </p:sp>
        <p:sp>
          <p:nvSpPr>
            <p:cNvPr id="8" name="Freeform 6">
              <a:extLst>
                <a:ext uri="{FF2B5EF4-FFF2-40B4-BE49-F238E27FC236}">
                  <a16:creationId xmlns:a16="http://schemas.microsoft.com/office/drawing/2014/main" id="{E526A929-E098-4073-8B92-F18ED8E1D964}"/>
                </a:ext>
              </a:extLst>
            </p:cNvPr>
            <p:cNvSpPr>
              <a:spLocks/>
            </p:cNvSpPr>
            <p:nvPr userDrawn="1"/>
          </p:nvSpPr>
          <p:spPr bwMode="auto">
            <a:xfrm>
              <a:off x="3798" y="1728"/>
              <a:ext cx="244" cy="318"/>
            </a:xfrm>
            <a:custGeom>
              <a:avLst/>
              <a:gdLst>
                <a:gd name="T0" fmla="*/ 11 w 129"/>
                <a:gd name="T1" fmla="*/ 0 h 168"/>
                <a:gd name="T2" fmla="*/ 8 w 129"/>
                <a:gd name="T3" fmla="*/ 4 h 168"/>
                <a:gd name="T4" fmla="*/ 8 w 129"/>
                <a:gd name="T5" fmla="*/ 25 h 168"/>
                <a:gd name="T6" fmla="*/ 11 w 129"/>
                <a:gd name="T7" fmla="*/ 29 h 168"/>
                <a:gd name="T8" fmla="*/ 47 w 129"/>
                <a:gd name="T9" fmla="*/ 29 h 168"/>
                <a:gd name="T10" fmla="*/ 47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1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1" y="0"/>
                  </a:moveTo>
                  <a:cubicBezTo>
                    <a:pt x="9" y="0"/>
                    <a:pt x="8" y="1"/>
                    <a:pt x="8" y="4"/>
                  </a:cubicBezTo>
                  <a:cubicBezTo>
                    <a:pt x="8" y="25"/>
                    <a:pt x="8" y="25"/>
                    <a:pt x="8" y="25"/>
                  </a:cubicBezTo>
                  <a:cubicBezTo>
                    <a:pt x="8" y="27"/>
                    <a:pt x="9" y="29"/>
                    <a:pt x="11" y="29"/>
                  </a:cubicBezTo>
                  <a:cubicBezTo>
                    <a:pt x="47" y="29"/>
                    <a:pt x="47" y="29"/>
                    <a:pt x="47" y="29"/>
                  </a:cubicBezTo>
                  <a:cubicBezTo>
                    <a:pt x="47" y="140"/>
                    <a:pt x="47" y="140"/>
                    <a:pt x="47"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7" y="140"/>
                    <a:pt x="125" y="140"/>
                  </a:cubicBezTo>
                  <a:cubicBezTo>
                    <a:pt x="76" y="140"/>
                    <a:pt x="76" y="140"/>
                    <a:pt x="76" y="140"/>
                  </a:cubicBezTo>
                  <a:cubicBezTo>
                    <a:pt x="76" y="4"/>
                    <a:pt x="76" y="4"/>
                    <a:pt x="76" y="4"/>
                  </a:cubicBezTo>
                  <a:cubicBezTo>
                    <a:pt x="75" y="1"/>
                    <a:pt x="74" y="0"/>
                    <a:pt x="72" y="0"/>
                  </a:cubicBezTo>
                  <a:lnTo>
                    <a:pt x="1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053" dirty="0"/>
            </a:p>
          </p:txBody>
        </p:sp>
        <p:sp>
          <p:nvSpPr>
            <p:cNvPr id="9" name="Freeform 7">
              <a:extLst>
                <a:ext uri="{FF2B5EF4-FFF2-40B4-BE49-F238E27FC236}">
                  <a16:creationId xmlns:a16="http://schemas.microsoft.com/office/drawing/2014/main" id="{EDF465AE-39A5-4B73-8576-41C66C06AD43}"/>
                </a:ext>
              </a:extLst>
            </p:cNvPr>
            <p:cNvSpPr>
              <a:spLocks/>
            </p:cNvSpPr>
            <p:nvPr userDrawn="1"/>
          </p:nvSpPr>
          <p:spPr bwMode="auto">
            <a:xfrm>
              <a:off x="4361" y="1728"/>
              <a:ext cx="297" cy="464"/>
            </a:xfrm>
            <a:custGeom>
              <a:avLst/>
              <a:gdLst>
                <a:gd name="T0" fmla="*/ 132 w 157"/>
                <a:gd name="T1" fmla="*/ 0 h 245"/>
                <a:gd name="T2" fmla="*/ 127 w 157"/>
                <a:gd name="T3" fmla="*/ 3 h 245"/>
                <a:gd name="T4" fmla="*/ 127 w 157"/>
                <a:gd name="T5" fmla="*/ 3 h 245"/>
                <a:gd name="T6" fmla="*/ 79 w 157"/>
                <a:gd name="T7" fmla="*/ 128 h 245"/>
                <a:gd name="T8" fmla="*/ 30 w 157"/>
                <a:gd name="T9" fmla="*/ 4 h 245"/>
                <a:gd name="T10" fmla="*/ 25 w 157"/>
                <a:gd name="T11" fmla="*/ 0 h 245"/>
                <a:gd name="T12" fmla="*/ 4 w 157"/>
                <a:gd name="T13" fmla="*/ 0 h 245"/>
                <a:gd name="T14" fmla="*/ 0 w 157"/>
                <a:gd name="T15" fmla="*/ 3 h 245"/>
                <a:gd name="T16" fmla="*/ 1 w 157"/>
                <a:gd name="T17" fmla="*/ 6 h 245"/>
                <a:gd name="T18" fmla="*/ 1 w 157"/>
                <a:gd name="T19" fmla="*/ 6 h 245"/>
                <a:gd name="T20" fmla="*/ 1 w 157"/>
                <a:gd name="T21" fmla="*/ 6 h 245"/>
                <a:gd name="T22" fmla="*/ 64 w 157"/>
                <a:gd name="T23" fmla="*/ 168 h 245"/>
                <a:gd name="T24" fmla="*/ 59 w 157"/>
                <a:gd name="T25" fmla="*/ 182 h 245"/>
                <a:gd name="T26" fmla="*/ 48 w 157"/>
                <a:gd name="T27" fmla="*/ 205 h 245"/>
                <a:gd name="T28" fmla="*/ 38 w 157"/>
                <a:gd name="T29" fmla="*/ 215 h 245"/>
                <a:gd name="T30" fmla="*/ 30 w 157"/>
                <a:gd name="T31" fmla="*/ 217 h 245"/>
                <a:gd name="T32" fmla="*/ 26 w 157"/>
                <a:gd name="T33" fmla="*/ 216 h 245"/>
                <a:gd name="T34" fmla="*/ 14 w 157"/>
                <a:gd name="T35" fmla="*/ 213 h 245"/>
                <a:gd name="T36" fmla="*/ 7 w 157"/>
                <a:gd name="T37" fmla="*/ 210 h 245"/>
                <a:gd name="T38" fmla="*/ 3 w 157"/>
                <a:gd name="T39" fmla="*/ 215 h 245"/>
                <a:gd name="T40" fmla="*/ 3 w 157"/>
                <a:gd name="T41" fmla="*/ 233 h 245"/>
                <a:gd name="T42" fmla="*/ 3 w 157"/>
                <a:gd name="T43" fmla="*/ 233 h 245"/>
                <a:gd name="T44" fmla="*/ 7 w 157"/>
                <a:gd name="T45" fmla="*/ 240 h 245"/>
                <a:gd name="T46" fmla="*/ 32 w 157"/>
                <a:gd name="T47" fmla="*/ 245 h 245"/>
                <a:gd name="T48" fmla="*/ 54 w 157"/>
                <a:gd name="T49" fmla="*/ 238 h 245"/>
                <a:gd name="T50" fmla="*/ 73 w 157"/>
                <a:gd name="T51" fmla="*/ 220 h 245"/>
                <a:gd name="T52" fmla="*/ 79 w 157"/>
                <a:gd name="T53" fmla="*/ 208 h 245"/>
                <a:gd name="T54" fmla="*/ 156 w 157"/>
                <a:gd name="T55" fmla="*/ 6 h 245"/>
                <a:gd name="T56" fmla="*/ 157 w 157"/>
                <a:gd name="T57" fmla="*/ 3 h 245"/>
                <a:gd name="T58" fmla="*/ 153 w 157"/>
                <a:gd name="T59" fmla="*/ 0 h 245"/>
                <a:gd name="T60" fmla="*/ 132 w 157"/>
                <a:gd name="T6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7" h="245">
                  <a:moveTo>
                    <a:pt x="132" y="0"/>
                  </a:moveTo>
                  <a:cubicBezTo>
                    <a:pt x="129" y="0"/>
                    <a:pt x="128" y="1"/>
                    <a:pt x="127" y="3"/>
                  </a:cubicBezTo>
                  <a:cubicBezTo>
                    <a:pt x="127" y="3"/>
                    <a:pt x="127" y="3"/>
                    <a:pt x="127" y="3"/>
                  </a:cubicBezTo>
                  <a:cubicBezTo>
                    <a:pt x="79" y="128"/>
                    <a:pt x="79" y="128"/>
                    <a:pt x="79" y="128"/>
                  </a:cubicBezTo>
                  <a:cubicBezTo>
                    <a:pt x="30" y="4"/>
                    <a:pt x="30" y="4"/>
                    <a:pt x="30" y="4"/>
                  </a:cubicBezTo>
                  <a:cubicBezTo>
                    <a:pt x="29" y="1"/>
                    <a:pt x="28" y="0"/>
                    <a:pt x="25" y="0"/>
                  </a:cubicBezTo>
                  <a:cubicBezTo>
                    <a:pt x="4" y="0"/>
                    <a:pt x="4" y="0"/>
                    <a:pt x="4" y="0"/>
                  </a:cubicBezTo>
                  <a:cubicBezTo>
                    <a:pt x="2" y="0"/>
                    <a:pt x="0" y="1"/>
                    <a:pt x="0" y="3"/>
                  </a:cubicBezTo>
                  <a:cubicBezTo>
                    <a:pt x="0" y="4"/>
                    <a:pt x="1" y="5"/>
                    <a:pt x="1" y="6"/>
                  </a:cubicBezTo>
                  <a:cubicBezTo>
                    <a:pt x="1" y="6"/>
                    <a:pt x="1" y="6"/>
                    <a:pt x="1" y="6"/>
                  </a:cubicBezTo>
                  <a:cubicBezTo>
                    <a:pt x="1" y="6"/>
                    <a:pt x="1" y="6"/>
                    <a:pt x="1" y="6"/>
                  </a:cubicBezTo>
                  <a:cubicBezTo>
                    <a:pt x="64" y="168"/>
                    <a:pt x="64" y="168"/>
                    <a:pt x="64" y="168"/>
                  </a:cubicBezTo>
                  <a:cubicBezTo>
                    <a:pt x="59" y="182"/>
                    <a:pt x="59" y="182"/>
                    <a:pt x="59" y="182"/>
                  </a:cubicBezTo>
                  <a:cubicBezTo>
                    <a:pt x="57" y="187"/>
                    <a:pt x="53" y="199"/>
                    <a:pt x="48" y="205"/>
                  </a:cubicBezTo>
                  <a:cubicBezTo>
                    <a:pt x="44" y="211"/>
                    <a:pt x="42" y="213"/>
                    <a:pt x="38" y="215"/>
                  </a:cubicBezTo>
                  <a:cubicBezTo>
                    <a:pt x="35" y="216"/>
                    <a:pt x="33" y="217"/>
                    <a:pt x="30" y="217"/>
                  </a:cubicBezTo>
                  <a:cubicBezTo>
                    <a:pt x="28" y="217"/>
                    <a:pt x="27" y="217"/>
                    <a:pt x="26" y="216"/>
                  </a:cubicBezTo>
                  <a:cubicBezTo>
                    <a:pt x="22" y="216"/>
                    <a:pt x="18" y="214"/>
                    <a:pt x="14" y="213"/>
                  </a:cubicBezTo>
                  <a:cubicBezTo>
                    <a:pt x="11" y="212"/>
                    <a:pt x="9" y="210"/>
                    <a:pt x="7" y="210"/>
                  </a:cubicBezTo>
                  <a:cubicBezTo>
                    <a:pt x="5" y="210"/>
                    <a:pt x="3" y="212"/>
                    <a:pt x="3" y="215"/>
                  </a:cubicBezTo>
                  <a:cubicBezTo>
                    <a:pt x="3" y="233"/>
                    <a:pt x="3" y="233"/>
                    <a:pt x="3" y="233"/>
                  </a:cubicBezTo>
                  <a:cubicBezTo>
                    <a:pt x="3" y="233"/>
                    <a:pt x="3" y="233"/>
                    <a:pt x="3" y="233"/>
                  </a:cubicBezTo>
                  <a:cubicBezTo>
                    <a:pt x="3" y="236"/>
                    <a:pt x="4" y="238"/>
                    <a:pt x="7" y="240"/>
                  </a:cubicBezTo>
                  <a:cubicBezTo>
                    <a:pt x="15" y="243"/>
                    <a:pt x="21" y="245"/>
                    <a:pt x="32" y="245"/>
                  </a:cubicBezTo>
                  <a:cubicBezTo>
                    <a:pt x="41" y="244"/>
                    <a:pt x="47" y="242"/>
                    <a:pt x="54" y="238"/>
                  </a:cubicBezTo>
                  <a:cubicBezTo>
                    <a:pt x="61" y="233"/>
                    <a:pt x="67" y="227"/>
                    <a:pt x="73" y="220"/>
                  </a:cubicBezTo>
                  <a:cubicBezTo>
                    <a:pt x="75" y="216"/>
                    <a:pt x="77" y="212"/>
                    <a:pt x="79" y="208"/>
                  </a:cubicBezTo>
                  <a:cubicBezTo>
                    <a:pt x="83" y="200"/>
                    <a:pt x="144" y="40"/>
                    <a:pt x="156" y="6"/>
                  </a:cubicBezTo>
                  <a:cubicBezTo>
                    <a:pt x="157" y="5"/>
                    <a:pt x="157" y="4"/>
                    <a:pt x="157" y="3"/>
                  </a:cubicBezTo>
                  <a:cubicBezTo>
                    <a:pt x="157" y="1"/>
                    <a:pt x="155" y="0"/>
                    <a:pt x="153" y="0"/>
                  </a:cubicBezTo>
                  <a:lnTo>
                    <a:pt x="13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053" dirty="0"/>
            </a:p>
          </p:txBody>
        </p:sp>
        <p:sp>
          <p:nvSpPr>
            <p:cNvPr id="10" name="Freeform 8">
              <a:extLst>
                <a:ext uri="{FF2B5EF4-FFF2-40B4-BE49-F238E27FC236}">
                  <a16:creationId xmlns:a16="http://schemas.microsoft.com/office/drawing/2014/main" id="{FA4DA928-058C-40DF-A9B6-21272F81C671}"/>
                </a:ext>
              </a:extLst>
            </p:cNvPr>
            <p:cNvSpPr>
              <a:spLocks/>
            </p:cNvSpPr>
            <p:nvPr userDrawn="1"/>
          </p:nvSpPr>
          <p:spPr bwMode="auto">
            <a:xfrm>
              <a:off x="3457" y="1726"/>
              <a:ext cx="263" cy="322"/>
            </a:xfrm>
            <a:custGeom>
              <a:avLst/>
              <a:gdLst>
                <a:gd name="T0" fmla="*/ 28 w 139"/>
                <a:gd name="T1" fmla="*/ 21 h 170"/>
                <a:gd name="T2" fmla="*/ 28 w 139"/>
                <a:gd name="T3" fmla="*/ 6 h 170"/>
                <a:gd name="T4" fmla="*/ 25 w 139"/>
                <a:gd name="T5" fmla="*/ 3 h 170"/>
                <a:gd name="T6" fmla="*/ 4 w 139"/>
                <a:gd name="T7" fmla="*/ 3 h 170"/>
                <a:gd name="T8" fmla="*/ 0 w 139"/>
                <a:gd name="T9" fmla="*/ 6 h 170"/>
                <a:gd name="T10" fmla="*/ 0 w 139"/>
                <a:gd name="T11" fmla="*/ 167 h 170"/>
                <a:gd name="T12" fmla="*/ 4 w 139"/>
                <a:gd name="T13" fmla="*/ 170 h 170"/>
                <a:gd name="T14" fmla="*/ 25 w 139"/>
                <a:gd name="T15" fmla="*/ 170 h 170"/>
                <a:gd name="T16" fmla="*/ 28 w 139"/>
                <a:gd name="T17" fmla="*/ 167 h 170"/>
                <a:gd name="T18" fmla="*/ 28 w 139"/>
                <a:gd name="T19" fmla="*/ 68 h 170"/>
                <a:gd name="T20" fmla="*/ 70 w 139"/>
                <a:gd name="T21" fmla="*/ 28 h 170"/>
                <a:gd name="T22" fmla="*/ 111 w 139"/>
                <a:gd name="T23" fmla="*/ 68 h 170"/>
                <a:gd name="T24" fmla="*/ 111 w 139"/>
                <a:gd name="T25" fmla="*/ 167 h 170"/>
                <a:gd name="T26" fmla="*/ 111 w 139"/>
                <a:gd name="T27" fmla="*/ 167 h 170"/>
                <a:gd name="T28" fmla="*/ 114 w 139"/>
                <a:gd name="T29" fmla="*/ 170 h 170"/>
                <a:gd name="T30" fmla="*/ 136 w 139"/>
                <a:gd name="T31" fmla="*/ 170 h 170"/>
                <a:gd name="T32" fmla="*/ 139 w 139"/>
                <a:gd name="T33" fmla="*/ 167 h 170"/>
                <a:gd name="T34" fmla="*/ 139 w 139"/>
                <a:gd name="T35" fmla="*/ 68 h 170"/>
                <a:gd name="T36" fmla="*/ 139 w 139"/>
                <a:gd name="T37" fmla="*/ 68 h 170"/>
                <a:gd name="T38" fmla="*/ 139 w 139"/>
                <a:gd name="T39" fmla="*/ 68 h 170"/>
                <a:gd name="T40" fmla="*/ 120 w 139"/>
                <a:gd name="T41" fmla="*/ 20 h 170"/>
                <a:gd name="T42" fmla="*/ 70 w 139"/>
                <a:gd name="T43" fmla="*/ 0 h 170"/>
                <a:gd name="T44" fmla="*/ 28 w 139"/>
                <a:gd name="T45" fmla="*/ 2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170">
                  <a:moveTo>
                    <a:pt x="28" y="21"/>
                  </a:moveTo>
                  <a:cubicBezTo>
                    <a:pt x="28" y="6"/>
                    <a:pt x="28" y="6"/>
                    <a:pt x="28" y="6"/>
                  </a:cubicBezTo>
                  <a:cubicBezTo>
                    <a:pt x="28" y="4"/>
                    <a:pt x="27" y="3"/>
                    <a:pt x="25" y="3"/>
                  </a:cubicBezTo>
                  <a:cubicBezTo>
                    <a:pt x="4" y="3"/>
                    <a:pt x="4" y="3"/>
                    <a:pt x="4" y="3"/>
                  </a:cubicBezTo>
                  <a:cubicBezTo>
                    <a:pt x="1" y="3"/>
                    <a:pt x="0" y="4"/>
                    <a:pt x="0" y="6"/>
                  </a:cubicBezTo>
                  <a:cubicBezTo>
                    <a:pt x="0" y="167"/>
                    <a:pt x="0" y="167"/>
                    <a:pt x="0" y="167"/>
                  </a:cubicBezTo>
                  <a:cubicBezTo>
                    <a:pt x="0" y="169"/>
                    <a:pt x="1" y="170"/>
                    <a:pt x="4" y="170"/>
                  </a:cubicBezTo>
                  <a:cubicBezTo>
                    <a:pt x="25" y="170"/>
                    <a:pt x="25" y="170"/>
                    <a:pt x="25" y="170"/>
                  </a:cubicBezTo>
                  <a:cubicBezTo>
                    <a:pt x="27" y="170"/>
                    <a:pt x="28" y="169"/>
                    <a:pt x="28" y="167"/>
                  </a:cubicBezTo>
                  <a:cubicBezTo>
                    <a:pt x="28" y="68"/>
                    <a:pt x="28" y="68"/>
                    <a:pt x="28" y="68"/>
                  </a:cubicBezTo>
                  <a:cubicBezTo>
                    <a:pt x="28" y="49"/>
                    <a:pt x="42" y="28"/>
                    <a:pt x="70" y="28"/>
                  </a:cubicBezTo>
                  <a:cubicBezTo>
                    <a:pt x="97" y="28"/>
                    <a:pt x="111" y="49"/>
                    <a:pt x="111" y="68"/>
                  </a:cubicBezTo>
                  <a:cubicBezTo>
                    <a:pt x="111" y="167"/>
                    <a:pt x="111" y="167"/>
                    <a:pt x="111" y="167"/>
                  </a:cubicBezTo>
                  <a:cubicBezTo>
                    <a:pt x="111" y="167"/>
                    <a:pt x="111" y="167"/>
                    <a:pt x="111" y="167"/>
                  </a:cubicBezTo>
                  <a:cubicBezTo>
                    <a:pt x="111" y="169"/>
                    <a:pt x="112" y="170"/>
                    <a:pt x="114" y="170"/>
                  </a:cubicBezTo>
                  <a:cubicBezTo>
                    <a:pt x="136" y="170"/>
                    <a:pt x="136" y="170"/>
                    <a:pt x="136" y="170"/>
                  </a:cubicBezTo>
                  <a:cubicBezTo>
                    <a:pt x="138" y="170"/>
                    <a:pt x="139" y="169"/>
                    <a:pt x="139" y="167"/>
                  </a:cubicBezTo>
                  <a:cubicBezTo>
                    <a:pt x="139" y="68"/>
                    <a:pt x="139" y="68"/>
                    <a:pt x="139" y="68"/>
                  </a:cubicBezTo>
                  <a:cubicBezTo>
                    <a:pt x="139" y="68"/>
                    <a:pt x="139" y="68"/>
                    <a:pt x="139" y="68"/>
                  </a:cubicBezTo>
                  <a:cubicBezTo>
                    <a:pt x="139" y="68"/>
                    <a:pt x="139" y="68"/>
                    <a:pt x="139" y="68"/>
                  </a:cubicBezTo>
                  <a:cubicBezTo>
                    <a:pt x="139" y="51"/>
                    <a:pt x="133" y="35"/>
                    <a:pt x="120" y="20"/>
                  </a:cubicBezTo>
                  <a:cubicBezTo>
                    <a:pt x="109" y="7"/>
                    <a:pt x="88" y="0"/>
                    <a:pt x="70" y="0"/>
                  </a:cubicBezTo>
                  <a:cubicBezTo>
                    <a:pt x="41" y="0"/>
                    <a:pt x="28" y="21"/>
                    <a:pt x="28" y="2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053" dirty="0"/>
            </a:p>
          </p:txBody>
        </p:sp>
        <p:sp>
          <p:nvSpPr>
            <p:cNvPr id="11" name="Freeform 9">
              <a:extLst>
                <a:ext uri="{FF2B5EF4-FFF2-40B4-BE49-F238E27FC236}">
                  <a16:creationId xmlns:a16="http://schemas.microsoft.com/office/drawing/2014/main" id="{BDBE2736-4D16-47F2-8CC1-7353D5B149D2}"/>
                </a:ext>
              </a:extLst>
            </p:cNvPr>
            <p:cNvSpPr>
              <a:spLocks/>
            </p:cNvSpPr>
            <p:nvPr userDrawn="1"/>
          </p:nvSpPr>
          <p:spPr bwMode="auto">
            <a:xfrm>
              <a:off x="2264" y="1724"/>
              <a:ext cx="246" cy="328"/>
            </a:xfrm>
            <a:custGeom>
              <a:avLst/>
              <a:gdLst>
                <a:gd name="T0" fmla="*/ 4 w 130"/>
                <a:gd name="T1" fmla="*/ 48 h 173"/>
                <a:gd name="T2" fmla="*/ 56 w 130"/>
                <a:gd name="T3" fmla="*/ 97 h 173"/>
                <a:gd name="T4" fmla="*/ 57 w 130"/>
                <a:gd name="T5" fmla="*/ 98 h 173"/>
                <a:gd name="T6" fmla="*/ 101 w 130"/>
                <a:gd name="T7" fmla="*/ 124 h 173"/>
                <a:gd name="T8" fmla="*/ 66 w 130"/>
                <a:gd name="T9" fmla="*/ 146 h 173"/>
                <a:gd name="T10" fmla="*/ 30 w 130"/>
                <a:gd name="T11" fmla="*/ 118 h 173"/>
                <a:gd name="T12" fmla="*/ 26 w 130"/>
                <a:gd name="T13" fmla="*/ 114 h 173"/>
                <a:gd name="T14" fmla="*/ 5 w 130"/>
                <a:gd name="T15" fmla="*/ 114 h 173"/>
                <a:gd name="T16" fmla="*/ 0 w 130"/>
                <a:gd name="T17" fmla="*/ 118 h 173"/>
                <a:gd name="T18" fmla="*/ 65 w 130"/>
                <a:gd name="T19" fmla="*/ 173 h 173"/>
                <a:gd name="T20" fmla="*/ 130 w 130"/>
                <a:gd name="T21" fmla="*/ 120 h 173"/>
                <a:gd name="T22" fmla="*/ 72 w 130"/>
                <a:gd name="T23" fmla="*/ 74 h 173"/>
                <a:gd name="T24" fmla="*/ 32 w 130"/>
                <a:gd name="T25" fmla="*/ 48 h 173"/>
                <a:gd name="T26" fmla="*/ 63 w 130"/>
                <a:gd name="T27" fmla="*/ 27 h 173"/>
                <a:gd name="T28" fmla="*/ 97 w 130"/>
                <a:gd name="T29" fmla="*/ 49 h 173"/>
                <a:gd name="T30" fmla="*/ 102 w 130"/>
                <a:gd name="T31" fmla="*/ 53 h 173"/>
                <a:gd name="T32" fmla="*/ 120 w 130"/>
                <a:gd name="T33" fmla="*/ 53 h 173"/>
                <a:gd name="T34" fmla="*/ 125 w 130"/>
                <a:gd name="T35" fmla="*/ 48 h 173"/>
                <a:gd name="T36" fmla="*/ 63 w 130"/>
                <a:gd name="T37" fmla="*/ 0 h 173"/>
                <a:gd name="T38" fmla="*/ 4 w 130"/>
                <a:gd name="T39" fmla="*/ 4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173">
                  <a:moveTo>
                    <a:pt x="4" y="48"/>
                  </a:moveTo>
                  <a:cubicBezTo>
                    <a:pt x="4" y="77"/>
                    <a:pt x="19" y="91"/>
                    <a:pt x="56" y="97"/>
                  </a:cubicBezTo>
                  <a:cubicBezTo>
                    <a:pt x="57" y="98"/>
                    <a:pt x="57" y="98"/>
                    <a:pt x="57" y="98"/>
                  </a:cubicBezTo>
                  <a:cubicBezTo>
                    <a:pt x="83" y="102"/>
                    <a:pt x="101" y="105"/>
                    <a:pt x="101" y="124"/>
                  </a:cubicBezTo>
                  <a:cubicBezTo>
                    <a:pt x="101" y="139"/>
                    <a:pt x="83" y="146"/>
                    <a:pt x="66" y="146"/>
                  </a:cubicBezTo>
                  <a:cubicBezTo>
                    <a:pt x="46" y="146"/>
                    <a:pt x="33" y="136"/>
                    <a:pt x="30" y="118"/>
                  </a:cubicBezTo>
                  <a:cubicBezTo>
                    <a:pt x="30" y="116"/>
                    <a:pt x="29" y="114"/>
                    <a:pt x="26" y="114"/>
                  </a:cubicBezTo>
                  <a:cubicBezTo>
                    <a:pt x="5" y="114"/>
                    <a:pt x="5" y="114"/>
                    <a:pt x="5" y="114"/>
                  </a:cubicBezTo>
                  <a:cubicBezTo>
                    <a:pt x="2" y="114"/>
                    <a:pt x="0" y="116"/>
                    <a:pt x="0" y="118"/>
                  </a:cubicBezTo>
                  <a:cubicBezTo>
                    <a:pt x="0" y="150"/>
                    <a:pt x="27" y="173"/>
                    <a:pt x="65" y="173"/>
                  </a:cubicBezTo>
                  <a:cubicBezTo>
                    <a:pt x="104" y="173"/>
                    <a:pt x="130" y="151"/>
                    <a:pt x="130" y="120"/>
                  </a:cubicBezTo>
                  <a:cubicBezTo>
                    <a:pt x="130" y="86"/>
                    <a:pt x="100" y="79"/>
                    <a:pt x="72" y="74"/>
                  </a:cubicBezTo>
                  <a:cubicBezTo>
                    <a:pt x="37" y="68"/>
                    <a:pt x="32" y="58"/>
                    <a:pt x="32" y="48"/>
                  </a:cubicBezTo>
                  <a:cubicBezTo>
                    <a:pt x="32" y="32"/>
                    <a:pt x="49" y="27"/>
                    <a:pt x="63" y="27"/>
                  </a:cubicBezTo>
                  <a:cubicBezTo>
                    <a:pt x="82" y="27"/>
                    <a:pt x="94" y="34"/>
                    <a:pt x="97" y="49"/>
                  </a:cubicBezTo>
                  <a:cubicBezTo>
                    <a:pt x="98" y="51"/>
                    <a:pt x="98" y="53"/>
                    <a:pt x="102" y="53"/>
                  </a:cubicBezTo>
                  <a:cubicBezTo>
                    <a:pt x="120" y="53"/>
                    <a:pt x="120" y="53"/>
                    <a:pt x="120" y="53"/>
                  </a:cubicBezTo>
                  <a:cubicBezTo>
                    <a:pt x="123" y="53"/>
                    <a:pt x="125" y="51"/>
                    <a:pt x="125" y="48"/>
                  </a:cubicBezTo>
                  <a:cubicBezTo>
                    <a:pt x="125" y="19"/>
                    <a:pt x="100" y="0"/>
                    <a:pt x="63" y="0"/>
                  </a:cubicBezTo>
                  <a:cubicBezTo>
                    <a:pt x="22" y="0"/>
                    <a:pt x="4" y="25"/>
                    <a:pt x="4" y="4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053" dirty="0"/>
            </a:p>
          </p:txBody>
        </p:sp>
        <p:sp>
          <p:nvSpPr>
            <p:cNvPr id="12" name="Freeform 10">
              <a:extLst>
                <a:ext uri="{FF2B5EF4-FFF2-40B4-BE49-F238E27FC236}">
                  <a16:creationId xmlns:a16="http://schemas.microsoft.com/office/drawing/2014/main" id="{C990E525-4DF6-403E-9092-24C5DCE5B33A}"/>
                </a:ext>
              </a:extLst>
            </p:cNvPr>
            <p:cNvSpPr>
              <a:spLocks/>
            </p:cNvSpPr>
            <p:nvPr userDrawn="1"/>
          </p:nvSpPr>
          <p:spPr bwMode="auto">
            <a:xfrm>
              <a:off x="3062" y="1722"/>
              <a:ext cx="312" cy="474"/>
            </a:xfrm>
            <a:custGeom>
              <a:avLst/>
              <a:gdLst>
                <a:gd name="T0" fmla="*/ 67 w 165"/>
                <a:gd name="T1" fmla="*/ 0 h 250"/>
                <a:gd name="T2" fmla="*/ 0 w 165"/>
                <a:gd name="T3" fmla="*/ 86 h 250"/>
                <a:gd name="T4" fmla="*/ 82 w 165"/>
                <a:gd name="T5" fmla="*/ 174 h 250"/>
                <a:gd name="T6" fmla="*/ 137 w 165"/>
                <a:gd name="T7" fmla="*/ 152 h 250"/>
                <a:gd name="T8" fmla="*/ 137 w 165"/>
                <a:gd name="T9" fmla="*/ 173 h 250"/>
                <a:gd name="T10" fmla="*/ 89 w 165"/>
                <a:gd name="T11" fmla="*/ 222 h 250"/>
                <a:gd name="T12" fmla="*/ 48 w 165"/>
                <a:gd name="T13" fmla="*/ 194 h 250"/>
                <a:gd name="T14" fmla="*/ 43 w 165"/>
                <a:gd name="T15" fmla="*/ 190 h 250"/>
                <a:gd name="T16" fmla="*/ 24 w 165"/>
                <a:gd name="T17" fmla="*/ 190 h 250"/>
                <a:gd name="T18" fmla="*/ 19 w 165"/>
                <a:gd name="T19" fmla="*/ 195 h 250"/>
                <a:gd name="T20" fmla="*/ 89 w 165"/>
                <a:gd name="T21" fmla="*/ 250 h 250"/>
                <a:gd name="T22" fmla="*/ 165 w 165"/>
                <a:gd name="T23" fmla="*/ 174 h 250"/>
                <a:gd name="T24" fmla="*/ 165 w 165"/>
                <a:gd name="T25" fmla="*/ 7 h 250"/>
                <a:gd name="T26" fmla="*/ 162 w 165"/>
                <a:gd name="T27" fmla="*/ 4 h 250"/>
                <a:gd name="T28" fmla="*/ 140 w 165"/>
                <a:gd name="T29" fmla="*/ 4 h 250"/>
                <a:gd name="T30" fmla="*/ 137 w 165"/>
                <a:gd name="T31" fmla="*/ 7 h 250"/>
                <a:gd name="T32" fmla="*/ 137 w 165"/>
                <a:gd name="T33" fmla="*/ 21 h 250"/>
                <a:gd name="T34" fmla="*/ 99 w 165"/>
                <a:gd name="T35" fmla="*/ 0 h 250"/>
                <a:gd name="T36" fmla="*/ 96 w 165"/>
                <a:gd name="T37" fmla="*/ 3 h 250"/>
                <a:gd name="T38" fmla="*/ 96 w 165"/>
                <a:gd name="T39" fmla="*/ 28 h 250"/>
                <a:gd name="T40" fmla="*/ 97 w 165"/>
                <a:gd name="T41" fmla="*/ 31 h 250"/>
                <a:gd name="T42" fmla="*/ 138 w 165"/>
                <a:gd name="T43" fmla="*/ 87 h 250"/>
                <a:gd name="T44" fmla="*/ 83 w 165"/>
                <a:gd name="T45" fmla="*/ 146 h 250"/>
                <a:gd name="T46" fmla="*/ 29 w 165"/>
                <a:gd name="T47" fmla="*/ 87 h 250"/>
                <a:gd name="T48" fmla="*/ 68 w 165"/>
                <a:gd name="T49" fmla="*/ 31 h 250"/>
                <a:gd name="T50" fmla="*/ 70 w 165"/>
                <a:gd name="T51" fmla="*/ 29 h 250"/>
                <a:gd name="T52" fmla="*/ 70 w 165"/>
                <a:gd name="T53" fmla="*/ 3 h 250"/>
                <a:gd name="T54" fmla="*/ 67 w 165"/>
                <a:gd name="T55" fmla="*/ 0 h 250"/>
                <a:gd name="T56" fmla="*/ 67 w 165"/>
                <a:gd name="T57"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5" h="250">
                  <a:moveTo>
                    <a:pt x="67" y="0"/>
                  </a:moveTo>
                  <a:cubicBezTo>
                    <a:pt x="29" y="8"/>
                    <a:pt x="0" y="44"/>
                    <a:pt x="0" y="86"/>
                  </a:cubicBezTo>
                  <a:cubicBezTo>
                    <a:pt x="0" y="135"/>
                    <a:pt x="37" y="174"/>
                    <a:pt x="82" y="174"/>
                  </a:cubicBezTo>
                  <a:cubicBezTo>
                    <a:pt x="103" y="174"/>
                    <a:pt x="122" y="166"/>
                    <a:pt x="137" y="152"/>
                  </a:cubicBezTo>
                  <a:cubicBezTo>
                    <a:pt x="137" y="173"/>
                    <a:pt x="137" y="173"/>
                    <a:pt x="137" y="173"/>
                  </a:cubicBezTo>
                  <a:cubicBezTo>
                    <a:pt x="137" y="205"/>
                    <a:pt x="120" y="222"/>
                    <a:pt x="89" y="222"/>
                  </a:cubicBezTo>
                  <a:cubicBezTo>
                    <a:pt x="66" y="222"/>
                    <a:pt x="52" y="213"/>
                    <a:pt x="48" y="194"/>
                  </a:cubicBezTo>
                  <a:cubicBezTo>
                    <a:pt x="47" y="192"/>
                    <a:pt x="46" y="190"/>
                    <a:pt x="43" y="190"/>
                  </a:cubicBezTo>
                  <a:cubicBezTo>
                    <a:pt x="24" y="190"/>
                    <a:pt x="24" y="190"/>
                    <a:pt x="24" y="190"/>
                  </a:cubicBezTo>
                  <a:cubicBezTo>
                    <a:pt x="21" y="190"/>
                    <a:pt x="19" y="192"/>
                    <a:pt x="19" y="195"/>
                  </a:cubicBezTo>
                  <a:cubicBezTo>
                    <a:pt x="22" y="228"/>
                    <a:pt x="51" y="250"/>
                    <a:pt x="89" y="250"/>
                  </a:cubicBezTo>
                  <a:cubicBezTo>
                    <a:pt x="135" y="250"/>
                    <a:pt x="165" y="219"/>
                    <a:pt x="165" y="174"/>
                  </a:cubicBezTo>
                  <a:cubicBezTo>
                    <a:pt x="165" y="7"/>
                    <a:pt x="165" y="7"/>
                    <a:pt x="165" y="7"/>
                  </a:cubicBezTo>
                  <a:cubicBezTo>
                    <a:pt x="165" y="5"/>
                    <a:pt x="164" y="4"/>
                    <a:pt x="162" y="4"/>
                  </a:cubicBezTo>
                  <a:cubicBezTo>
                    <a:pt x="140" y="4"/>
                    <a:pt x="140" y="4"/>
                    <a:pt x="140" y="4"/>
                  </a:cubicBezTo>
                  <a:cubicBezTo>
                    <a:pt x="138" y="4"/>
                    <a:pt x="137" y="5"/>
                    <a:pt x="137" y="7"/>
                  </a:cubicBezTo>
                  <a:cubicBezTo>
                    <a:pt x="137" y="21"/>
                    <a:pt x="137" y="21"/>
                    <a:pt x="137" y="21"/>
                  </a:cubicBezTo>
                  <a:cubicBezTo>
                    <a:pt x="126" y="11"/>
                    <a:pt x="113" y="4"/>
                    <a:pt x="99" y="0"/>
                  </a:cubicBezTo>
                  <a:cubicBezTo>
                    <a:pt x="97" y="0"/>
                    <a:pt x="96" y="1"/>
                    <a:pt x="96" y="3"/>
                  </a:cubicBezTo>
                  <a:cubicBezTo>
                    <a:pt x="96" y="28"/>
                    <a:pt x="96" y="28"/>
                    <a:pt x="96" y="28"/>
                  </a:cubicBezTo>
                  <a:cubicBezTo>
                    <a:pt x="96" y="29"/>
                    <a:pt x="96" y="30"/>
                    <a:pt x="97" y="31"/>
                  </a:cubicBezTo>
                  <a:cubicBezTo>
                    <a:pt x="121" y="37"/>
                    <a:pt x="138" y="60"/>
                    <a:pt x="138" y="87"/>
                  </a:cubicBezTo>
                  <a:cubicBezTo>
                    <a:pt x="138" y="119"/>
                    <a:pt x="114" y="146"/>
                    <a:pt x="83" y="146"/>
                  </a:cubicBezTo>
                  <a:cubicBezTo>
                    <a:pt x="53" y="146"/>
                    <a:pt x="29" y="119"/>
                    <a:pt x="29" y="87"/>
                  </a:cubicBezTo>
                  <a:cubicBezTo>
                    <a:pt x="29" y="61"/>
                    <a:pt x="45" y="38"/>
                    <a:pt x="68" y="31"/>
                  </a:cubicBezTo>
                  <a:cubicBezTo>
                    <a:pt x="69" y="31"/>
                    <a:pt x="70" y="30"/>
                    <a:pt x="70" y="29"/>
                  </a:cubicBezTo>
                  <a:cubicBezTo>
                    <a:pt x="70" y="3"/>
                    <a:pt x="70" y="3"/>
                    <a:pt x="70" y="3"/>
                  </a:cubicBezTo>
                  <a:cubicBezTo>
                    <a:pt x="70" y="1"/>
                    <a:pt x="69" y="0"/>
                    <a:pt x="67" y="0"/>
                  </a:cubicBezTo>
                  <a:cubicBezTo>
                    <a:pt x="67" y="0"/>
                    <a:pt x="67" y="0"/>
                    <a:pt x="67"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053" dirty="0"/>
            </a:p>
          </p:txBody>
        </p:sp>
        <p:sp>
          <p:nvSpPr>
            <p:cNvPr id="13" name="Oval 12">
              <a:extLst>
                <a:ext uri="{FF2B5EF4-FFF2-40B4-BE49-F238E27FC236}">
                  <a16:creationId xmlns:a16="http://schemas.microsoft.com/office/drawing/2014/main" id="{1114B85E-E1BE-464E-8E28-ACA4300CA4C0}"/>
                </a:ext>
              </a:extLst>
            </p:cNvPr>
            <p:cNvSpPr>
              <a:spLocks noChangeArrowheads="1"/>
            </p:cNvSpPr>
            <p:nvPr userDrawn="1"/>
          </p:nvSpPr>
          <p:spPr bwMode="auto">
            <a:xfrm>
              <a:off x="2843" y="1589"/>
              <a:ext cx="87" cy="8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2053" dirty="0"/>
            </a:p>
          </p:txBody>
        </p:sp>
        <p:sp>
          <p:nvSpPr>
            <p:cNvPr id="14" name="Oval 13">
              <a:extLst>
                <a:ext uri="{FF2B5EF4-FFF2-40B4-BE49-F238E27FC236}">
                  <a16:creationId xmlns:a16="http://schemas.microsoft.com/office/drawing/2014/main" id="{5BA160C3-B4E4-4003-BFF3-28A6B0C1B0F9}"/>
                </a:ext>
              </a:extLst>
            </p:cNvPr>
            <p:cNvSpPr>
              <a:spLocks noChangeArrowheads="1"/>
            </p:cNvSpPr>
            <p:nvPr userDrawn="1"/>
          </p:nvSpPr>
          <p:spPr bwMode="auto">
            <a:xfrm>
              <a:off x="3873" y="1589"/>
              <a:ext cx="87" cy="8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2053" dirty="0"/>
            </a:p>
          </p:txBody>
        </p:sp>
        <p:sp>
          <p:nvSpPr>
            <p:cNvPr id="15" name="Freeform 13">
              <a:extLst>
                <a:ext uri="{FF2B5EF4-FFF2-40B4-BE49-F238E27FC236}">
                  <a16:creationId xmlns:a16="http://schemas.microsoft.com/office/drawing/2014/main" id="{0F26E6D7-1351-4C95-A3E8-FF86354A3C85}"/>
                </a:ext>
              </a:extLst>
            </p:cNvPr>
            <p:cNvSpPr>
              <a:spLocks/>
            </p:cNvSpPr>
            <p:nvPr userDrawn="1"/>
          </p:nvSpPr>
          <p:spPr bwMode="auto">
            <a:xfrm>
              <a:off x="4062" y="1584"/>
              <a:ext cx="242" cy="462"/>
            </a:xfrm>
            <a:custGeom>
              <a:avLst/>
              <a:gdLst>
                <a:gd name="T0" fmla="*/ 39 w 128"/>
                <a:gd name="T1" fmla="*/ 55 h 244"/>
                <a:gd name="T2" fmla="*/ 39 w 128"/>
                <a:gd name="T3" fmla="*/ 76 h 244"/>
                <a:gd name="T4" fmla="*/ 4 w 128"/>
                <a:gd name="T5" fmla="*/ 76 h 244"/>
                <a:gd name="T6" fmla="*/ 0 w 128"/>
                <a:gd name="T7" fmla="*/ 81 h 244"/>
                <a:gd name="T8" fmla="*/ 0 w 128"/>
                <a:gd name="T9" fmla="*/ 99 h 244"/>
                <a:gd name="T10" fmla="*/ 4 w 128"/>
                <a:gd name="T11" fmla="*/ 103 h 244"/>
                <a:gd name="T12" fmla="*/ 39 w 128"/>
                <a:gd name="T13" fmla="*/ 103 h 244"/>
                <a:gd name="T14" fmla="*/ 39 w 128"/>
                <a:gd name="T15" fmla="*/ 239 h 244"/>
                <a:gd name="T16" fmla="*/ 44 w 128"/>
                <a:gd name="T17" fmla="*/ 244 h 244"/>
                <a:gd name="T18" fmla="*/ 62 w 128"/>
                <a:gd name="T19" fmla="*/ 244 h 244"/>
                <a:gd name="T20" fmla="*/ 67 w 128"/>
                <a:gd name="T21" fmla="*/ 239 h 244"/>
                <a:gd name="T22" fmla="*/ 67 w 128"/>
                <a:gd name="T23" fmla="*/ 103 h 244"/>
                <a:gd name="T24" fmla="*/ 120 w 128"/>
                <a:gd name="T25" fmla="*/ 103 h 244"/>
                <a:gd name="T26" fmla="*/ 125 w 128"/>
                <a:gd name="T27" fmla="*/ 99 h 244"/>
                <a:gd name="T28" fmla="*/ 125 w 128"/>
                <a:gd name="T29" fmla="*/ 81 h 244"/>
                <a:gd name="T30" fmla="*/ 120 w 128"/>
                <a:gd name="T31" fmla="*/ 76 h 244"/>
                <a:gd name="T32" fmla="*/ 67 w 128"/>
                <a:gd name="T33" fmla="*/ 76 h 244"/>
                <a:gd name="T34" fmla="*/ 67 w 128"/>
                <a:gd name="T35" fmla="*/ 55 h 244"/>
                <a:gd name="T36" fmla="*/ 91 w 128"/>
                <a:gd name="T37" fmla="*/ 27 h 244"/>
                <a:gd name="T38" fmla="*/ 122 w 128"/>
                <a:gd name="T39" fmla="*/ 37 h 244"/>
                <a:gd name="T40" fmla="*/ 125 w 128"/>
                <a:gd name="T41" fmla="*/ 38 h 244"/>
                <a:gd name="T42" fmla="*/ 128 w 128"/>
                <a:gd name="T43" fmla="*/ 33 h 244"/>
                <a:gd name="T44" fmla="*/ 128 w 128"/>
                <a:gd name="T45" fmla="*/ 16 h 244"/>
                <a:gd name="T46" fmla="*/ 125 w 128"/>
                <a:gd name="T47" fmla="*/ 9 h 244"/>
                <a:gd name="T48" fmla="*/ 89 w 128"/>
                <a:gd name="T49" fmla="*/ 0 h 244"/>
                <a:gd name="T50" fmla="*/ 39 w 128"/>
                <a:gd name="T51" fmla="*/ 5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244">
                  <a:moveTo>
                    <a:pt x="39" y="55"/>
                  </a:moveTo>
                  <a:cubicBezTo>
                    <a:pt x="39" y="76"/>
                    <a:pt x="39" y="76"/>
                    <a:pt x="39" y="76"/>
                  </a:cubicBezTo>
                  <a:cubicBezTo>
                    <a:pt x="4" y="76"/>
                    <a:pt x="4" y="76"/>
                    <a:pt x="4" y="76"/>
                  </a:cubicBezTo>
                  <a:cubicBezTo>
                    <a:pt x="1" y="76"/>
                    <a:pt x="0" y="78"/>
                    <a:pt x="0" y="81"/>
                  </a:cubicBezTo>
                  <a:cubicBezTo>
                    <a:pt x="0" y="99"/>
                    <a:pt x="0" y="99"/>
                    <a:pt x="0" y="99"/>
                  </a:cubicBezTo>
                  <a:cubicBezTo>
                    <a:pt x="0" y="102"/>
                    <a:pt x="1" y="103"/>
                    <a:pt x="4" y="103"/>
                  </a:cubicBezTo>
                  <a:cubicBezTo>
                    <a:pt x="39" y="103"/>
                    <a:pt x="39" y="103"/>
                    <a:pt x="39" y="103"/>
                  </a:cubicBezTo>
                  <a:cubicBezTo>
                    <a:pt x="39" y="239"/>
                    <a:pt x="39" y="239"/>
                    <a:pt x="39" y="239"/>
                  </a:cubicBezTo>
                  <a:cubicBezTo>
                    <a:pt x="39" y="242"/>
                    <a:pt x="41" y="244"/>
                    <a:pt x="44" y="244"/>
                  </a:cubicBezTo>
                  <a:cubicBezTo>
                    <a:pt x="62" y="244"/>
                    <a:pt x="62" y="244"/>
                    <a:pt x="62" y="244"/>
                  </a:cubicBezTo>
                  <a:cubicBezTo>
                    <a:pt x="65" y="244"/>
                    <a:pt x="67" y="242"/>
                    <a:pt x="67" y="239"/>
                  </a:cubicBezTo>
                  <a:cubicBezTo>
                    <a:pt x="67" y="103"/>
                    <a:pt x="67" y="103"/>
                    <a:pt x="67" y="103"/>
                  </a:cubicBezTo>
                  <a:cubicBezTo>
                    <a:pt x="120" y="103"/>
                    <a:pt x="120" y="103"/>
                    <a:pt x="120" y="103"/>
                  </a:cubicBezTo>
                  <a:cubicBezTo>
                    <a:pt x="123" y="103"/>
                    <a:pt x="125" y="102"/>
                    <a:pt x="125" y="99"/>
                  </a:cubicBezTo>
                  <a:cubicBezTo>
                    <a:pt x="125" y="81"/>
                    <a:pt x="125" y="81"/>
                    <a:pt x="125" y="81"/>
                  </a:cubicBezTo>
                  <a:cubicBezTo>
                    <a:pt x="125" y="78"/>
                    <a:pt x="123" y="76"/>
                    <a:pt x="120" y="76"/>
                  </a:cubicBezTo>
                  <a:cubicBezTo>
                    <a:pt x="67" y="76"/>
                    <a:pt x="67" y="76"/>
                    <a:pt x="67" y="76"/>
                  </a:cubicBezTo>
                  <a:cubicBezTo>
                    <a:pt x="67" y="55"/>
                    <a:pt x="67" y="55"/>
                    <a:pt x="67" y="55"/>
                  </a:cubicBezTo>
                  <a:cubicBezTo>
                    <a:pt x="67" y="38"/>
                    <a:pt x="76" y="27"/>
                    <a:pt x="91" y="27"/>
                  </a:cubicBezTo>
                  <a:cubicBezTo>
                    <a:pt x="102" y="27"/>
                    <a:pt x="110" y="30"/>
                    <a:pt x="122" y="37"/>
                  </a:cubicBezTo>
                  <a:cubicBezTo>
                    <a:pt x="123" y="38"/>
                    <a:pt x="124" y="38"/>
                    <a:pt x="125" y="38"/>
                  </a:cubicBezTo>
                  <a:cubicBezTo>
                    <a:pt x="127" y="38"/>
                    <a:pt x="128" y="36"/>
                    <a:pt x="128" y="33"/>
                  </a:cubicBezTo>
                  <a:cubicBezTo>
                    <a:pt x="128" y="16"/>
                    <a:pt x="128" y="16"/>
                    <a:pt x="128" y="16"/>
                  </a:cubicBezTo>
                  <a:cubicBezTo>
                    <a:pt x="128" y="13"/>
                    <a:pt x="128" y="11"/>
                    <a:pt x="125" y="9"/>
                  </a:cubicBezTo>
                  <a:cubicBezTo>
                    <a:pt x="114" y="3"/>
                    <a:pt x="103" y="0"/>
                    <a:pt x="89" y="0"/>
                  </a:cubicBezTo>
                  <a:cubicBezTo>
                    <a:pt x="54" y="0"/>
                    <a:pt x="39" y="29"/>
                    <a:pt x="39" y="5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053" dirty="0"/>
            </a:p>
          </p:txBody>
        </p:sp>
        <p:sp>
          <p:nvSpPr>
            <p:cNvPr id="16" name="Freeform 14">
              <a:extLst>
                <a:ext uri="{FF2B5EF4-FFF2-40B4-BE49-F238E27FC236}">
                  <a16:creationId xmlns:a16="http://schemas.microsoft.com/office/drawing/2014/main" id="{DA6E6734-7A5F-4A76-946D-520C7807BB30}"/>
                </a:ext>
              </a:extLst>
            </p:cNvPr>
            <p:cNvSpPr>
              <a:spLocks/>
            </p:cNvSpPr>
            <p:nvPr userDrawn="1"/>
          </p:nvSpPr>
          <p:spPr bwMode="auto">
            <a:xfrm>
              <a:off x="2071" y="1578"/>
              <a:ext cx="632" cy="631"/>
            </a:xfrm>
            <a:custGeom>
              <a:avLst/>
              <a:gdLst>
                <a:gd name="T0" fmla="*/ 181 w 334"/>
                <a:gd name="T1" fmla="*/ 1 h 333"/>
                <a:gd name="T2" fmla="*/ 180 w 334"/>
                <a:gd name="T3" fmla="*/ 4 h 333"/>
                <a:gd name="T4" fmla="*/ 180 w 334"/>
                <a:gd name="T5" fmla="*/ 26 h 333"/>
                <a:gd name="T6" fmla="*/ 180 w 334"/>
                <a:gd name="T7" fmla="*/ 26 h 333"/>
                <a:gd name="T8" fmla="*/ 182 w 334"/>
                <a:gd name="T9" fmla="*/ 28 h 333"/>
                <a:gd name="T10" fmla="*/ 306 w 334"/>
                <a:gd name="T11" fmla="*/ 166 h 333"/>
                <a:gd name="T12" fmla="*/ 167 w 334"/>
                <a:gd name="T13" fmla="*/ 305 h 333"/>
                <a:gd name="T14" fmla="*/ 28 w 334"/>
                <a:gd name="T15" fmla="*/ 166 h 333"/>
                <a:gd name="T16" fmla="*/ 152 w 334"/>
                <a:gd name="T17" fmla="*/ 28 h 333"/>
                <a:gd name="T18" fmla="*/ 154 w 334"/>
                <a:gd name="T19" fmla="*/ 26 h 333"/>
                <a:gd name="T20" fmla="*/ 154 w 334"/>
                <a:gd name="T21" fmla="*/ 26 h 333"/>
                <a:gd name="T22" fmla="*/ 154 w 334"/>
                <a:gd name="T23" fmla="*/ 4 h 333"/>
                <a:gd name="T24" fmla="*/ 153 w 334"/>
                <a:gd name="T25" fmla="*/ 1 h 333"/>
                <a:gd name="T26" fmla="*/ 150 w 334"/>
                <a:gd name="T27" fmla="*/ 0 h 333"/>
                <a:gd name="T28" fmla="*/ 149 w 334"/>
                <a:gd name="T29" fmla="*/ 0 h 333"/>
                <a:gd name="T30" fmla="*/ 149 w 334"/>
                <a:gd name="T31" fmla="*/ 0 h 333"/>
                <a:gd name="T32" fmla="*/ 0 w 334"/>
                <a:gd name="T33" fmla="*/ 166 h 333"/>
                <a:gd name="T34" fmla="*/ 167 w 334"/>
                <a:gd name="T35" fmla="*/ 333 h 333"/>
                <a:gd name="T36" fmla="*/ 334 w 334"/>
                <a:gd name="T37" fmla="*/ 166 h 333"/>
                <a:gd name="T38" fmla="*/ 185 w 334"/>
                <a:gd name="T39" fmla="*/ 0 h 333"/>
                <a:gd name="T40" fmla="*/ 185 w 334"/>
                <a:gd name="T41" fmla="*/ 0 h 333"/>
                <a:gd name="T42" fmla="*/ 184 w 334"/>
                <a:gd name="T43" fmla="*/ 0 h 333"/>
                <a:gd name="T44" fmla="*/ 181 w 334"/>
                <a:gd name="T45" fmla="*/ 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4" h="333">
                  <a:moveTo>
                    <a:pt x="181" y="1"/>
                  </a:moveTo>
                  <a:cubicBezTo>
                    <a:pt x="180" y="2"/>
                    <a:pt x="180" y="3"/>
                    <a:pt x="180" y="4"/>
                  </a:cubicBezTo>
                  <a:cubicBezTo>
                    <a:pt x="180" y="26"/>
                    <a:pt x="180" y="26"/>
                    <a:pt x="180" y="26"/>
                  </a:cubicBezTo>
                  <a:cubicBezTo>
                    <a:pt x="180" y="26"/>
                    <a:pt x="180" y="26"/>
                    <a:pt x="180" y="26"/>
                  </a:cubicBezTo>
                  <a:cubicBezTo>
                    <a:pt x="180" y="27"/>
                    <a:pt x="181" y="28"/>
                    <a:pt x="182" y="28"/>
                  </a:cubicBezTo>
                  <a:cubicBezTo>
                    <a:pt x="251" y="35"/>
                    <a:pt x="306" y="94"/>
                    <a:pt x="306" y="166"/>
                  </a:cubicBezTo>
                  <a:cubicBezTo>
                    <a:pt x="306" y="243"/>
                    <a:pt x="244" y="305"/>
                    <a:pt x="167" y="305"/>
                  </a:cubicBezTo>
                  <a:cubicBezTo>
                    <a:pt x="90" y="305"/>
                    <a:pt x="28" y="243"/>
                    <a:pt x="28" y="166"/>
                  </a:cubicBezTo>
                  <a:cubicBezTo>
                    <a:pt x="28" y="94"/>
                    <a:pt x="82" y="35"/>
                    <a:pt x="152" y="28"/>
                  </a:cubicBezTo>
                  <a:cubicBezTo>
                    <a:pt x="153" y="28"/>
                    <a:pt x="154" y="27"/>
                    <a:pt x="154" y="26"/>
                  </a:cubicBezTo>
                  <a:cubicBezTo>
                    <a:pt x="154" y="26"/>
                    <a:pt x="154" y="26"/>
                    <a:pt x="154" y="26"/>
                  </a:cubicBezTo>
                  <a:cubicBezTo>
                    <a:pt x="154" y="4"/>
                    <a:pt x="154" y="4"/>
                    <a:pt x="154" y="4"/>
                  </a:cubicBezTo>
                  <a:cubicBezTo>
                    <a:pt x="154" y="3"/>
                    <a:pt x="154" y="2"/>
                    <a:pt x="153" y="1"/>
                  </a:cubicBezTo>
                  <a:cubicBezTo>
                    <a:pt x="152" y="0"/>
                    <a:pt x="151" y="0"/>
                    <a:pt x="150" y="0"/>
                  </a:cubicBezTo>
                  <a:cubicBezTo>
                    <a:pt x="149" y="0"/>
                    <a:pt x="149" y="0"/>
                    <a:pt x="149" y="0"/>
                  </a:cubicBezTo>
                  <a:cubicBezTo>
                    <a:pt x="149" y="0"/>
                    <a:pt x="149" y="0"/>
                    <a:pt x="149" y="0"/>
                  </a:cubicBezTo>
                  <a:cubicBezTo>
                    <a:pt x="65" y="9"/>
                    <a:pt x="0" y="80"/>
                    <a:pt x="0" y="166"/>
                  </a:cubicBezTo>
                  <a:cubicBezTo>
                    <a:pt x="0" y="258"/>
                    <a:pt x="75" y="333"/>
                    <a:pt x="167" y="333"/>
                  </a:cubicBezTo>
                  <a:cubicBezTo>
                    <a:pt x="259" y="333"/>
                    <a:pt x="334" y="258"/>
                    <a:pt x="334" y="166"/>
                  </a:cubicBezTo>
                  <a:cubicBezTo>
                    <a:pt x="334" y="80"/>
                    <a:pt x="269" y="9"/>
                    <a:pt x="185" y="0"/>
                  </a:cubicBezTo>
                  <a:cubicBezTo>
                    <a:pt x="185" y="0"/>
                    <a:pt x="185" y="0"/>
                    <a:pt x="185" y="0"/>
                  </a:cubicBezTo>
                  <a:cubicBezTo>
                    <a:pt x="185" y="0"/>
                    <a:pt x="184" y="0"/>
                    <a:pt x="184" y="0"/>
                  </a:cubicBezTo>
                  <a:cubicBezTo>
                    <a:pt x="183" y="0"/>
                    <a:pt x="182" y="0"/>
                    <a:pt x="181" y="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053" dirty="0"/>
            </a:p>
          </p:txBody>
        </p:sp>
      </p:grpSp>
    </p:spTree>
    <p:extLst>
      <p:ext uri="{BB962C8B-B14F-4D97-AF65-F5344CB8AC3E}">
        <p14:creationId xmlns:p14="http://schemas.microsoft.com/office/powerpoint/2010/main" val="3987635042"/>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r>
              <a:rPr lang="en-US" dirty="0"/>
              <a:t>An introduction</a:t>
            </a:r>
          </a:p>
          <a:p>
            <a:endParaRPr lang="en-US" dirty="0"/>
          </a:p>
        </p:txBody>
      </p:sp>
      <p:sp>
        <p:nvSpPr>
          <p:cNvPr id="5" name="Slide Number Placeholder 4"/>
          <p:cNvSpPr>
            <a:spLocks noGrp="1"/>
          </p:cNvSpPr>
          <p:nvPr>
            <p:ph type="sldNum" sz="quarter" idx="12"/>
          </p:nvPr>
        </p:nvSpPr>
        <p:spPr/>
        <p:txBody>
          <a:bodyPr/>
          <a:lstStyle/>
          <a:p>
            <a:fld id="{32B354EE-31EA-4FC2-9496-7B6202183237}" type="slidenum">
              <a:rPr lang="en-US" smtClean="0"/>
              <a:t>‹#›</a:t>
            </a:fld>
            <a:endParaRPr lang="en-US" dirty="0"/>
          </a:p>
        </p:txBody>
      </p:sp>
    </p:spTree>
    <p:extLst>
      <p:ext uri="{BB962C8B-B14F-4D97-AF65-F5344CB8AC3E}">
        <p14:creationId xmlns:p14="http://schemas.microsoft.com/office/powerpoint/2010/main" val="921753759"/>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1100667" y="6502400"/>
            <a:ext cx="1016000" cy="139700"/>
          </a:xfrm>
          <a:prstGeom prst="rect">
            <a:avLst/>
          </a:prstGeom>
        </p:spPr>
        <p:txBody>
          <a:bodyPr/>
          <a:lstStyle/>
          <a:p>
            <a:endParaRPr lang="en-US"/>
          </a:p>
        </p:txBody>
      </p:sp>
      <p:sp>
        <p:nvSpPr>
          <p:cNvPr id="3" name="Slide Number Placeholder 2"/>
          <p:cNvSpPr>
            <a:spLocks noGrp="1"/>
          </p:cNvSpPr>
          <p:nvPr>
            <p:ph type="sldNum" sz="quarter" idx="11"/>
          </p:nvPr>
        </p:nvSpPr>
        <p:spPr>
          <a:xfrm>
            <a:off x="279400" y="6464300"/>
            <a:ext cx="677333" cy="184150"/>
          </a:xfrm>
          <a:prstGeom prst="rect">
            <a:avLst/>
          </a:prstGeom>
        </p:spPr>
        <p:txBody>
          <a:bodyPr/>
          <a:lstStyle/>
          <a:p>
            <a:fld id="{2ED1C450-F519-45D3-9ABA-D10085B05833}" type="slidenum">
              <a:rPr lang="en-US" smtClean="0"/>
              <a:pPr/>
              <a:t>‹#›</a:t>
            </a:fld>
            <a:endParaRPr lang="en-US"/>
          </a:p>
        </p:txBody>
      </p:sp>
      <p:sp>
        <p:nvSpPr>
          <p:cNvPr id="4" name="Date Placeholder 3"/>
          <p:cNvSpPr>
            <a:spLocks noGrp="1"/>
          </p:cNvSpPr>
          <p:nvPr>
            <p:ph type="dt" sz="quarter" idx="12"/>
          </p:nvPr>
        </p:nvSpPr>
        <p:spPr>
          <a:xfrm>
            <a:off x="838200" y="6356351"/>
            <a:ext cx="2743200" cy="365125"/>
          </a:xfrm>
          <a:prstGeom prst="rect">
            <a:avLst/>
          </a:prstGeom>
        </p:spPr>
        <p:txBody>
          <a:bodyPr/>
          <a:lstStyle/>
          <a:p>
            <a:fld id="{C5BAD1B7-0224-49D0-9E88-749E70E8C12C}" type="datetimeFigureOut">
              <a:rPr lang="en-US" smtClean="0"/>
              <a:t>9/26/2023</a:t>
            </a:fld>
            <a:endParaRPr lang="en-US"/>
          </a:p>
        </p:txBody>
      </p:sp>
    </p:spTree>
    <p:extLst>
      <p:ext uri="{BB962C8B-B14F-4D97-AF65-F5344CB8AC3E}">
        <p14:creationId xmlns:p14="http://schemas.microsoft.com/office/powerpoint/2010/main" val="484133014"/>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IR PPT">
    <p:spTree>
      <p:nvGrpSpPr>
        <p:cNvPr id="1" name=""/>
        <p:cNvGrpSpPr/>
        <p:nvPr/>
      </p:nvGrpSpPr>
      <p:grpSpPr>
        <a:xfrm>
          <a:off x="0" y="0"/>
          <a:ext cx="0" cy="0"/>
          <a:chOff x="0" y="0"/>
          <a:chExt cx="0" cy="0"/>
        </a:xfrm>
      </p:grpSpPr>
      <p:sp>
        <p:nvSpPr>
          <p:cNvPr id="3" name="Text Placeholder 2"/>
          <p:cNvSpPr>
            <a:spLocks noGrp="1"/>
          </p:cNvSpPr>
          <p:nvPr>
            <p:ph type="body" sz="quarter" idx="10" hasCustomPrompt="1"/>
          </p:nvPr>
        </p:nvSpPr>
        <p:spPr>
          <a:xfrm>
            <a:off x="816000" y="612000"/>
            <a:ext cx="10664800" cy="512768"/>
          </a:xfrm>
          <a:prstGeom prst="rect">
            <a:avLst/>
          </a:prstGeom>
        </p:spPr>
        <p:txBody>
          <a:bodyPr lIns="0" tIns="0" rIns="0" bIns="0"/>
          <a:lstStyle>
            <a:lvl1pPr marL="0" indent="0" algn="l">
              <a:spcBef>
                <a:spcPts val="0"/>
              </a:spcBef>
              <a:buFontTx/>
              <a:buNone/>
              <a:defRPr sz="3000" baseline="0">
                <a:solidFill>
                  <a:schemeClr val="tx1"/>
                </a:solidFill>
              </a:defRPr>
            </a:lvl1pPr>
          </a:lstStyle>
          <a:p>
            <a:pPr lvl="0"/>
            <a:r>
              <a:rPr lang="de-DE" dirty="0"/>
              <a:t>Click to add title</a:t>
            </a:r>
          </a:p>
        </p:txBody>
      </p:sp>
      <p:pic>
        <p:nvPicPr>
          <p:cNvPr id="11" name="Picture 10"/>
          <p:cNvPicPr>
            <a:picLocks/>
          </p:cNvPicPr>
          <p:nvPr userDrawn="1">
            <p:custDataLst>
              <p:tags r:id="rId1"/>
            </p:custDataLst>
          </p:nvPr>
        </p:nvPicPr>
        <p:blipFill>
          <a:blip r:embed="rId3" cstate="email">
            <a:extLst>
              <a:ext uri="{28A0092B-C50C-407E-A947-70E740481C1C}">
                <a14:useLocalDpi xmlns:a14="http://schemas.microsoft.com/office/drawing/2010/main"/>
              </a:ext>
            </a:extLst>
          </a:blip>
          <a:stretch>
            <a:fillRect/>
          </a:stretch>
        </p:blipFill>
        <p:spPr>
          <a:xfrm>
            <a:off x="10176087" y="6425946"/>
            <a:ext cx="1440011" cy="198628"/>
          </a:xfrm>
          <a:prstGeom prst="rect">
            <a:avLst/>
          </a:prstGeom>
          <a:ln w="0">
            <a:noFill/>
          </a:ln>
          <a:effectLst/>
          <a:extLst>
            <a:ext uri="{91240B29-F687-4f45-9708-019B960494DF}">
              <a14:hiddenLine xmlns:a14="http://schemas.microsoft.com/office/drawing/2010/main" xmlns="" w="0">
                <a:solidFill>
                  <a:schemeClr val="tx1"/>
                </a:solidFill>
              </a14:hiddenLine>
            </a:ext>
            <a:ext uri="{AF507438-7753-43e0-B8FC-AC1667EBCBE1}">
              <a14:hiddenEffects xmlns:a14="http://schemas.microsoft.com/office/drawing/2010/main" xmlns="">
                <a:effectLst>
                  <a:outerShdw blurRad="63500" rotWithShape="0">
                    <a:scrgbClr r="0" g="0" b="0"/>
                  </a:outerShdw>
                </a:effectLst>
              </a14:hiddenEffects>
            </a:ext>
            <a:ext uri="{53640926-AAD7-44d8-BBD7-CCE9431645EC}">
              <a14:shadowObscured xmlns:a14="http://schemas.microsoft.com/office/drawing/2010/main" xmlns=""/>
            </a:ext>
          </a:extLst>
        </p:spPr>
      </p:pic>
      <p:sp>
        <p:nvSpPr>
          <p:cNvPr id="4" name="Textplatzhalter 3"/>
          <p:cNvSpPr>
            <a:spLocks noGrp="1"/>
          </p:cNvSpPr>
          <p:nvPr>
            <p:ph type="body" sz="quarter" idx="12" hasCustomPrompt="1"/>
          </p:nvPr>
        </p:nvSpPr>
        <p:spPr>
          <a:xfrm>
            <a:off x="816000" y="1152000"/>
            <a:ext cx="10664800" cy="374400"/>
          </a:xfrm>
          <a:prstGeom prst="rect">
            <a:avLst/>
          </a:prstGeom>
        </p:spPr>
        <p:txBody>
          <a:bodyPr lIns="0" tIns="0" rIns="0" bIns="0"/>
          <a:lstStyle>
            <a:lvl1pPr marL="0" indent="0">
              <a:spcBef>
                <a:spcPts val="0"/>
              </a:spcBef>
              <a:buFontTx/>
              <a:buNone/>
              <a:defRPr sz="2000"/>
            </a:lvl1pPr>
          </a:lstStyle>
          <a:p>
            <a:pPr lvl="0"/>
            <a:r>
              <a:rPr lang="de-DE" dirty="0"/>
              <a:t>Click </a:t>
            </a:r>
            <a:r>
              <a:rPr lang="de-DE" dirty="0" err="1"/>
              <a:t>to</a:t>
            </a:r>
            <a:r>
              <a:rPr lang="de-DE" dirty="0"/>
              <a:t> </a:t>
            </a:r>
            <a:r>
              <a:rPr lang="de-DE" dirty="0" err="1"/>
              <a:t>add</a:t>
            </a:r>
            <a:r>
              <a:rPr lang="de-DE" dirty="0"/>
              <a:t> </a:t>
            </a:r>
            <a:r>
              <a:rPr lang="de-DE" dirty="0" err="1"/>
              <a:t>subtitle</a:t>
            </a:r>
            <a:endParaRPr lang="de-DE" dirty="0"/>
          </a:p>
        </p:txBody>
      </p:sp>
      <p:sp>
        <p:nvSpPr>
          <p:cNvPr id="5" name="Textplatzhalter 4"/>
          <p:cNvSpPr>
            <a:spLocks noGrp="1"/>
          </p:cNvSpPr>
          <p:nvPr>
            <p:ph type="body" sz="quarter" idx="13"/>
          </p:nvPr>
        </p:nvSpPr>
        <p:spPr>
          <a:xfrm>
            <a:off x="816000" y="1692000"/>
            <a:ext cx="10664800" cy="4331400"/>
          </a:xfrm>
          <a:prstGeom prst="rect">
            <a:avLst/>
          </a:prstGeom>
        </p:spPr>
        <p:txBody>
          <a:bodyPr lIns="0" tIns="0" rIns="0" bIns="0" spcCol="432000"/>
          <a:lstStyle>
            <a:lvl1pPr marL="216000" indent="-216000">
              <a:spcBef>
                <a:spcPts val="0"/>
              </a:spcBef>
              <a:defRPr sz="1800"/>
            </a:lvl1pPr>
            <a:lvl2pPr marL="432000" indent="-216000">
              <a:spcBef>
                <a:spcPts val="0"/>
              </a:spcBef>
              <a:defRPr sz="1800"/>
            </a:lvl2pPr>
            <a:lvl3pPr marL="648000" indent="-216000">
              <a:spcBef>
                <a:spcPts val="0"/>
              </a:spcBef>
              <a:buFont typeface="Wingdings" panose="05000000000000000000" pitchFamily="2" charset="2"/>
              <a:buChar char="§"/>
              <a:defRPr sz="1800"/>
            </a:lvl3pPr>
            <a:lvl4pPr marL="864000" indent="-216000">
              <a:spcBef>
                <a:spcPts val="0"/>
              </a:spcBef>
              <a:buFont typeface="Arial" panose="020B0604020202020204" pitchFamily="34" charset="0"/>
              <a:buChar char="•"/>
              <a:defRPr sz="1800"/>
            </a:lvl4pPr>
            <a:lvl5pPr marL="1080000" indent="-228600">
              <a:spcBef>
                <a:spcPts val="0"/>
              </a:spcBef>
              <a:buFont typeface="Calibri" panose="020F0502020204030204" pitchFamily="34" charset="0"/>
              <a:buChar char="─"/>
              <a:defRPr sz="1800"/>
            </a:lvl5pPr>
            <a:lvl6pPr marL="1296000" indent="-228600">
              <a:spcBef>
                <a:spcPts val="0"/>
              </a:spcBef>
              <a:buFont typeface="Calibri" panose="020F0502020204030204" pitchFamily="34" charset="0"/>
              <a:buChar char="─"/>
              <a:defRPr sz="1800"/>
            </a:lvl6pPr>
            <a:lvl7pPr marL="1512000" indent="-216000">
              <a:spcBef>
                <a:spcPts val="0"/>
              </a:spcBef>
              <a:buFont typeface="Calibri" panose="020F0502020204030204" pitchFamily="34" charset="0"/>
              <a:buChar char="─"/>
              <a:defRPr sz="1800"/>
            </a:lvl7pPr>
            <a:lvl8pPr marL="1728000" indent="-216000">
              <a:spcBef>
                <a:spcPts val="0"/>
              </a:spcBef>
              <a:buFont typeface="Calibri" panose="020F0502020204030204" pitchFamily="34" charset="0"/>
              <a:buChar char="─"/>
              <a:defRPr sz="1800"/>
            </a:lvl8pPr>
            <a:lvl9pPr marL="1944000" indent="-216000">
              <a:spcBef>
                <a:spcPts val="0"/>
              </a:spcBef>
              <a:buFont typeface="Calibri" panose="020F0502020204030204" pitchFamily="34" charset="0"/>
              <a:buChar cha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61659632"/>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tx">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1104900" y="828675"/>
            <a:ext cx="9982200" cy="431800"/>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720006" y="1548002"/>
            <a:ext cx="10752007" cy="46080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0"/>
          </p:nvPr>
        </p:nvSpPr>
        <p:spPr>
          <a:xfrm>
            <a:off x="1100667" y="6502400"/>
            <a:ext cx="1016000" cy="139700"/>
          </a:xfrm>
          <a:prstGeom prst="rect">
            <a:avLst/>
          </a:prstGeom>
        </p:spPr>
        <p:txBody>
          <a:bodyPr/>
          <a:lstStyle/>
          <a:p>
            <a:endParaRPr lang="en-US"/>
          </a:p>
        </p:txBody>
      </p:sp>
      <p:sp>
        <p:nvSpPr>
          <p:cNvPr id="5" name="Slide Number Placeholder 4"/>
          <p:cNvSpPr>
            <a:spLocks noGrp="1"/>
          </p:cNvSpPr>
          <p:nvPr>
            <p:ph type="sldNum" sz="quarter" idx="11"/>
          </p:nvPr>
        </p:nvSpPr>
        <p:spPr>
          <a:xfrm>
            <a:off x="279400" y="6464300"/>
            <a:ext cx="677333" cy="184150"/>
          </a:xfrm>
          <a:prstGeom prst="rect">
            <a:avLst/>
          </a:prstGeom>
        </p:spPr>
        <p:txBody>
          <a:bodyPr/>
          <a:lstStyle/>
          <a:p>
            <a:fld id="{2ED1C450-F519-45D3-9ABA-D10085B05833}" type="slidenum">
              <a:rPr lang="en-US" smtClean="0"/>
              <a:pPr/>
              <a:t>‹#›</a:t>
            </a:fld>
            <a:endParaRPr lang="en-US"/>
          </a:p>
        </p:txBody>
      </p:sp>
      <p:sp>
        <p:nvSpPr>
          <p:cNvPr id="6" name="Date Placeholder 5"/>
          <p:cNvSpPr>
            <a:spLocks noGrp="1"/>
          </p:cNvSpPr>
          <p:nvPr>
            <p:ph type="dt" sz="quarter" idx="12"/>
          </p:nvPr>
        </p:nvSpPr>
        <p:spPr>
          <a:xfrm>
            <a:off x="838200" y="6356351"/>
            <a:ext cx="2743200" cy="365125"/>
          </a:xfrm>
          <a:prstGeom prst="rect">
            <a:avLst/>
          </a:prstGeom>
        </p:spPr>
        <p:txBody>
          <a:bodyPr/>
          <a:lstStyle/>
          <a:p>
            <a:fld id="{46258BBD-43CB-4D73-BF28-B5B1E05BBDE6}" type="datetimeFigureOut">
              <a:rPr lang="en-US" smtClean="0"/>
              <a:t>9/26/2023</a:t>
            </a:fld>
            <a:endParaRPr lang="en-US"/>
          </a:p>
        </p:txBody>
      </p:sp>
    </p:spTree>
    <p:extLst>
      <p:ext uri="{BB962C8B-B14F-4D97-AF65-F5344CB8AC3E}">
        <p14:creationId xmlns:p14="http://schemas.microsoft.com/office/powerpoint/2010/main" val="224693047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806139"/>
            <a:ext cx="9144000" cy="3245724"/>
          </a:xfrm>
        </p:spPr>
        <p:txBody>
          <a:bodyPr anchor="ctr"/>
          <a:lstStyle>
            <a:lvl1pPr algn="ctr">
              <a:defRPr sz="4000"/>
            </a:lvl1pPr>
          </a:lstStyle>
          <a:p>
            <a:r>
              <a:rPr lang="en-US"/>
              <a:t>Click to edit Master title style</a:t>
            </a:r>
          </a:p>
        </p:txBody>
      </p:sp>
      <p:sp>
        <p:nvSpPr>
          <p:cNvPr id="3" name="Subtitle 2"/>
          <p:cNvSpPr>
            <a:spLocks noGrp="1"/>
          </p:cNvSpPr>
          <p:nvPr>
            <p:ph type="subTitle" idx="1"/>
          </p:nvPr>
        </p:nvSpPr>
        <p:spPr>
          <a:xfrm>
            <a:off x="1524000" y="5714325"/>
            <a:ext cx="9144000" cy="453754"/>
          </a:xfrm>
        </p:spPr>
        <p:txBody>
          <a:bodyPr/>
          <a:lstStyle>
            <a:lvl1pPr marL="0" indent="0" algn="ctr">
              <a:buNone/>
              <a:defRPr sz="2399">
                <a:solidFill>
                  <a:schemeClr val="accent3"/>
                </a:solidFill>
              </a:defRPr>
            </a:lvl1pPr>
            <a:lvl2pPr marL="456963" indent="0" algn="ctr">
              <a:buNone/>
              <a:defRPr sz="1999"/>
            </a:lvl2pPr>
            <a:lvl3pPr marL="913923" indent="0" algn="ctr">
              <a:buNone/>
              <a:defRPr sz="1799"/>
            </a:lvl3pPr>
            <a:lvl4pPr marL="1370889" indent="0" algn="ctr">
              <a:buNone/>
              <a:defRPr sz="1599"/>
            </a:lvl4pPr>
            <a:lvl5pPr marL="1827852" indent="0" algn="ctr">
              <a:buNone/>
              <a:defRPr sz="1599"/>
            </a:lvl5pPr>
            <a:lvl6pPr marL="2284812" indent="0" algn="ctr">
              <a:buNone/>
              <a:defRPr sz="1599"/>
            </a:lvl6pPr>
            <a:lvl7pPr marL="2741775" indent="0" algn="ctr">
              <a:buNone/>
              <a:defRPr sz="1599"/>
            </a:lvl7pPr>
            <a:lvl8pPr marL="3198740" indent="0" algn="ctr">
              <a:buNone/>
              <a:defRPr sz="1599"/>
            </a:lvl8pPr>
            <a:lvl9pPr marL="3655703" indent="0" algn="ctr">
              <a:buNone/>
              <a:defRPr sz="1599"/>
            </a:lvl9pPr>
          </a:lstStyle>
          <a:p>
            <a:r>
              <a:rPr lang="en-US"/>
              <a:t>Click to edit Master subtitle style</a:t>
            </a:r>
          </a:p>
        </p:txBody>
      </p:sp>
      <p:grpSp>
        <p:nvGrpSpPr>
          <p:cNvPr id="7" name="Group 4">
            <a:extLst>
              <a:ext uri="{FF2B5EF4-FFF2-40B4-BE49-F238E27FC236}">
                <a16:creationId xmlns:a16="http://schemas.microsoft.com/office/drawing/2014/main" id="{70F54715-A93F-4896-93D9-0F87EC2FA633}"/>
              </a:ext>
            </a:extLst>
          </p:cNvPr>
          <p:cNvGrpSpPr>
            <a:grpSpLocks noChangeAspect="1"/>
          </p:cNvGrpSpPr>
          <p:nvPr userDrawn="1"/>
        </p:nvGrpSpPr>
        <p:grpSpPr bwMode="auto">
          <a:xfrm>
            <a:off x="4700788" y="689925"/>
            <a:ext cx="2793600" cy="681042"/>
            <a:chOff x="2071" y="1578"/>
            <a:chExt cx="2587" cy="631"/>
          </a:xfrm>
          <a:gradFill>
            <a:gsLst>
              <a:gs pos="50000">
                <a:srgbClr val="00E487"/>
              </a:gs>
              <a:gs pos="100000">
                <a:srgbClr val="1ECBD0"/>
              </a:gs>
            </a:gsLst>
            <a:lin ang="18900000" scaled="0"/>
          </a:gradFill>
        </p:grpSpPr>
        <p:sp>
          <p:nvSpPr>
            <p:cNvPr id="8" name="Freeform 5">
              <a:extLst>
                <a:ext uri="{FF2B5EF4-FFF2-40B4-BE49-F238E27FC236}">
                  <a16:creationId xmlns:a16="http://schemas.microsoft.com/office/drawing/2014/main" id="{846B7DFA-C5E8-4F62-AD8D-4DEE7917FD7D}"/>
                </a:ext>
              </a:extLst>
            </p:cNvPr>
            <p:cNvSpPr>
              <a:spLocks/>
            </p:cNvSpPr>
            <p:nvPr userDrawn="1"/>
          </p:nvSpPr>
          <p:spPr bwMode="auto">
            <a:xfrm>
              <a:off x="2765" y="1728"/>
              <a:ext cx="244" cy="318"/>
            </a:xfrm>
            <a:custGeom>
              <a:avLst/>
              <a:gdLst>
                <a:gd name="T0" fmla="*/ 12 w 129"/>
                <a:gd name="T1" fmla="*/ 0 h 168"/>
                <a:gd name="T2" fmla="*/ 8 w 129"/>
                <a:gd name="T3" fmla="*/ 4 h 168"/>
                <a:gd name="T4" fmla="*/ 8 w 129"/>
                <a:gd name="T5" fmla="*/ 25 h 168"/>
                <a:gd name="T6" fmla="*/ 12 w 129"/>
                <a:gd name="T7" fmla="*/ 29 h 168"/>
                <a:gd name="T8" fmla="*/ 48 w 129"/>
                <a:gd name="T9" fmla="*/ 29 h 168"/>
                <a:gd name="T10" fmla="*/ 48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2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2" y="0"/>
                  </a:moveTo>
                  <a:cubicBezTo>
                    <a:pt x="9" y="0"/>
                    <a:pt x="8" y="1"/>
                    <a:pt x="8" y="4"/>
                  </a:cubicBezTo>
                  <a:cubicBezTo>
                    <a:pt x="8" y="25"/>
                    <a:pt x="8" y="25"/>
                    <a:pt x="8" y="25"/>
                  </a:cubicBezTo>
                  <a:cubicBezTo>
                    <a:pt x="8" y="27"/>
                    <a:pt x="9" y="29"/>
                    <a:pt x="12" y="29"/>
                  </a:cubicBezTo>
                  <a:cubicBezTo>
                    <a:pt x="48" y="29"/>
                    <a:pt x="48" y="29"/>
                    <a:pt x="48" y="29"/>
                  </a:cubicBezTo>
                  <a:cubicBezTo>
                    <a:pt x="48" y="140"/>
                    <a:pt x="48" y="140"/>
                    <a:pt x="48"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8" y="140"/>
                    <a:pt x="125" y="140"/>
                  </a:cubicBezTo>
                  <a:cubicBezTo>
                    <a:pt x="76" y="140"/>
                    <a:pt x="76" y="140"/>
                    <a:pt x="76" y="140"/>
                  </a:cubicBezTo>
                  <a:cubicBezTo>
                    <a:pt x="76" y="4"/>
                    <a:pt x="76" y="4"/>
                    <a:pt x="76" y="4"/>
                  </a:cubicBezTo>
                  <a:cubicBezTo>
                    <a:pt x="76" y="1"/>
                    <a:pt x="75" y="0"/>
                    <a:pt x="72" y="0"/>
                  </a:cubicBez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a:p>
          </p:txBody>
        </p:sp>
        <p:sp>
          <p:nvSpPr>
            <p:cNvPr id="9" name="Freeform 6">
              <a:extLst>
                <a:ext uri="{FF2B5EF4-FFF2-40B4-BE49-F238E27FC236}">
                  <a16:creationId xmlns:a16="http://schemas.microsoft.com/office/drawing/2014/main" id="{6ABD64B8-C9CA-4D12-BB30-52ABBBA59E99}"/>
                </a:ext>
              </a:extLst>
            </p:cNvPr>
            <p:cNvSpPr>
              <a:spLocks/>
            </p:cNvSpPr>
            <p:nvPr userDrawn="1"/>
          </p:nvSpPr>
          <p:spPr bwMode="auto">
            <a:xfrm>
              <a:off x="3798" y="1728"/>
              <a:ext cx="244" cy="318"/>
            </a:xfrm>
            <a:custGeom>
              <a:avLst/>
              <a:gdLst>
                <a:gd name="T0" fmla="*/ 11 w 129"/>
                <a:gd name="T1" fmla="*/ 0 h 168"/>
                <a:gd name="T2" fmla="*/ 8 w 129"/>
                <a:gd name="T3" fmla="*/ 4 h 168"/>
                <a:gd name="T4" fmla="*/ 8 w 129"/>
                <a:gd name="T5" fmla="*/ 25 h 168"/>
                <a:gd name="T6" fmla="*/ 11 w 129"/>
                <a:gd name="T7" fmla="*/ 29 h 168"/>
                <a:gd name="T8" fmla="*/ 47 w 129"/>
                <a:gd name="T9" fmla="*/ 29 h 168"/>
                <a:gd name="T10" fmla="*/ 47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1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1" y="0"/>
                  </a:moveTo>
                  <a:cubicBezTo>
                    <a:pt x="9" y="0"/>
                    <a:pt x="8" y="1"/>
                    <a:pt x="8" y="4"/>
                  </a:cubicBezTo>
                  <a:cubicBezTo>
                    <a:pt x="8" y="25"/>
                    <a:pt x="8" y="25"/>
                    <a:pt x="8" y="25"/>
                  </a:cubicBezTo>
                  <a:cubicBezTo>
                    <a:pt x="8" y="27"/>
                    <a:pt x="9" y="29"/>
                    <a:pt x="11" y="29"/>
                  </a:cubicBezTo>
                  <a:cubicBezTo>
                    <a:pt x="47" y="29"/>
                    <a:pt x="47" y="29"/>
                    <a:pt x="47" y="29"/>
                  </a:cubicBezTo>
                  <a:cubicBezTo>
                    <a:pt x="47" y="140"/>
                    <a:pt x="47" y="140"/>
                    <a:pt x="47"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7" y="140"/>
                    <a:pt x="125" y="140"/>
                  </a:cubicBezTo>
                  <a:cubicBezTo>
                    <a:pt x="76" y="140"/>
                    <a:pt x="76" y="140"/>
                    <a:pt x="76" y="140"/>
                  </a:cubicBezTo>
                  <a:cubicBezTo>
                    <a:pt x="76" y="4"/>
                    <a:pt x="76" y="4"/>
                    <a:pt x="76" y="4"/>
                  </a:cubicBezTo>
                  <a:cubicBezTo>
                    <a:pt x="75" y="1"/>
                    <a:pt x="74" y="0"/>
                    <a:pt x="72" y="0"/>
                  </a:cubicBez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a:p>
          </p:txBody>
        </p:sp>
        <p:sp>
          <p:nvSpPr>
            <p:cNvPr id="10" name="Freeform 7">
              <a:extLst>
                <a:ext uri="{FF2B5EF4-FFF2-40B4-BE49-F238E27FC236}">
                  <a16:creationId xmlns:a16="http://schemas.microsoft.com/office/drawing/2014/main" id="{B038732F-5EB5-436D-B40F-847E37FC0954}"/>
                </a:ext>
              </a:extLst>
            </p:cNvPr>
            <p:cNvSpPr>
              <a:spLocks/>
            </p:cNvSpPr>
            <p:nvPr userDrawn="1"/>
          </p:nvSpPr>
          <p:spPr bwMode="auto">
            <a:xfrm>
              <a:off x="4361" y="1728"/>
              <a:ext cx="297" cy="464"/>
            </a:xfrm>
            <a:custGeom>
              <a:avLst/>
              <a:gdLst>
                <a:gd name="T0" fmla="*/ 132 w 157"/>
                <a:gd name="T1" fmla="*/ 0 h 245"/>
                <a:gd name="T2" fmla="*/ 127 w 157"/>
                <a:gd name="T3" fmla="*/ 3 h 245"/>
                <a:gd name="T4" fmla="*/ 127 w 157"/>
                <a:gd name="T5" fmla="*/ 3 h 245"/>
                <a:gd name="T6" fmla="*/ 79 w 157"/>
                <a:gd name="T7" fmla="*/ 128 h 245"/>
                <a:gd name="T8" fmla="*/ 30 w 157"/>
                <a:gd name="T9" fmla="*/ 4 h 245"/>
                <a:gd name="T10" fmla="*/ 25 w 157"/>
                <a:gd name="T11" fmla="*/ 0 h 245"/>
                <a:gd name="T12" fmla="*/ 4 w 157"/>
                <a:gd name="T13" fmla="*/ 0 h 245"/>
                <a:gd name="T14" fmla="*/ 0 w 157"/>
                <a:gd name="T15" fmla="*/ 3 h 245"/>
                <a:gd name="T16" fmla="*/ 1 w 157"/>
                <a:gd name="T17" fmla="*/ 6 h 245"/>
                <a:gd name="T18" fmla="*/ 1 w 157"/>
                <a:gd name="T19" fmla="*/ 6 h 245"/>
                <a:gd name="T20" fmla="*/ 1 w 157"/>
                <a:gd name="T21" fmla="*/ 6 h 245"/>
                <a:gd name="T22" fmla="*/ 64 w 157"/>
                <a:gd name="T23" fmla="*/ 168 h 245"/>
                <a:gd name="T24" fmla="*/ 59 w 157"/>
                <a:gd name="T25" fmla="*/ 182 h 245"/>
                <a:gd name="T26" fmla="*/ 48 w 157"/>
                <a:gd name="T27" fmla="*/ 205 h 245"/>
                <a:gd name="T28" fmla="*/ 38 w 157"/>
                <a:gd name="T29" fmla="*/ 215 h 245"/>
                <a:gd name="T30" fmla="*/ 30 w 157"/>
                <a:gd name="T31" fmla="*/ 217 h 245"/>
                <a:gd name="T32" fmla="*/ 26 w 157"/>
                <a:gd name="T33" fmla="*/ 216 h 245"/>
                <a:gd name="T34" fmla="*/ 14 w 157"/>
                <a:gd name="T35" fmla="*/ 213 h 245"/>
                <a:gd name="T36" fmla="*/ 7 w 157"/>
                <a:gd name="T37" fmla="*/ 210 h 245"/>
                <a:gd name="T38" fmla="*/ 3 w 157"/>
                <a:gd name="T39" fmla="*/ 215 h 245"/>
                <a:gd name="T40" fmla="*/ 3 w 157"/>
                <a:gd name="T41" fmla="*/ 233 h 245"/>
                <a:gd name="T42" fmla="*/ 3 w 157"/>
                <a:gd name="T43" fmla="*/ 233 h 245"/>
                <a:gd name="T44" fmla="*/ 7 w 157"/>
                <a:gd name="T45" fmla="*/ 240 h 245"/>
                <a:gd name="T46" fmla="*/ 32 w 157"/>
                <a:gd name="T47" fmla="*/ 245 h 245"/>
                <a:gd name="T48" fmla="*/ 54 w 157"/>
                <a:gd name="T49" fmla="*/ 238 h 245"/>
                <a:gd name="T50" fmla="*/ 73 w 157"/>
                <a:gd name="T51" fmla="*/ 220 h 245"/>
                <a:gd name="T52" fmla="*/ 79 w 157"/>
                <a:gd name="T53" fmla="*/ 208 h 245"/>
                <a:gd name="T54" fmla="*/ 156 w 157"/>
                <a:gd name="T55" fmla="*/ 6 h 245"/>
                <a:gd name="T56" fmla="*/ 157 w 157"/>
                <a:gd name="T57" fmla="*/ 3 h 245"/>
                <a:gd name="T58" fmla="*/ 153 w 157"/>
                <a:gd name="T59" fmla="*/ 0 h 245"/>
                <a:gd name="T60" fmla="*/ 132 w 157"/>
                <a:gd name="T6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7" h="245">
                  <a:moveTo>
                    <a:pt x="132" y="0"/>
                  </a:moveTo>
                  <a:cubicBezTo>
                    <a:pt x="129" y="0"/>
                    <a:pt x="128" y="1"/>
                    <a:pt x="127" y="3"/>
                  </a:cubicBezTo>
                  <a:cubicBezTo>
                    <a:pt x="127" y="3"/>
                    <a:pt x="127" y="3"/>
                    <a:pt x="127" y="3"/>
                  </a:cubicBezTo>
                  <a:cubicBezTo>
                    <a:pt x="79" y="128"/>
                    <a:pt x="79" y="128"/>
                    <a:pt x="79" y="128"/>
                  </a:cubicBezTo>
                  <a:cubicBezTo>
                    <a:pt x="30" y="4"/>
                    <a:pt x="30" y="4"/>
                    <a:pt x="30" y="4"/>
                  </a:cubicBezTo>
                  <a:cubicBezTo>
                    <a:pt x="29" y="1"/>
                    <a:pt x="28" y="0"/>
                    <a:pt x="25" y="0"/>
                  </a:cubicBezTo>
                  <a:cubicBezTo>
                    <a:pt x="4" y="0"/>
                    <a:pt x="4" y="0"/>
                    <a:pt x="4" y="0"/>
                  </a:cubicBezTo>
                  <a:cubicBezTo>
                    <a:pt x="2" y="0"/>
                    <a:pt x="0" y="1"/>
                    <a:pt x="0" y="3"/>
                  </a:cubicBezTo>
                  <a:cubicBezTo>
                    <a:pt x="0" y="4"/>
                    <a:pt x="1" y="5"/>
                    <a:pt x="1" y="6"/>
                  </a:cubicBezTo>
                  <a:cubicBezTo>
                    <a:pt x="1" y="6"/>
                    <a:pt x="1" y="6"/>
                    <a:pt x="1" y="6"/>
                  </a:cubicBezTo>
                  <a:cubicBezTo>
                    <a:pt x="1" y="6"/>
                    <a:pt x="1" y="6"/>
                    <a:pt x="1" y="6"/>
                  </a:cubicBezTo>
                  <a:cubicBezTo>
                    <a:pt x="64" y="168"/>
                    <a:pt x="64" y="168"/>
                    <a:pt x="64" y="168"/>
                  </a:cubicBezTo>
                  <a:cubicBezTo>
                    <a:pt x="59" y="182"/>
                    <a:pt x="59" y="182"/>
                    <a:pt x="59" y="182"/>
                  </a:cubicBezTo>
                  <a:cubicBezTo>
                    <a:pt x="57" y="187"/>
                    <a:pt x="53" y="199"/>
                    <a:pt x="48" y="205"/>
                  </a:cubicBezTo>
                  <a:cubicBezTo>
                    <a:pt x="44" y="211"/>
                    <a:pt x="42" y="213"/>
                    <a:pt x="38" y="215"/>
                  </a:cubicBezTo>
                  <a:cubicBezTo>
                    <a:pt x="35" y="216"/>
                    <a:pt x="33" y="217"/>
                    <a:pt x="30" y="217"/>
                  </a:cubicBezTo>
                  <a:cubicBezTo>
                    <a:pt x="28" y="217"/>
                    <a:pt x="27" y="217"/>
                    <a:pt x="26" y="216"/>
                  </a:cubicBezTo>
                  <a:cubicBezTo>
                    <a:pt x="22" y="216"/>
                    <a:pt x="18" y="214"/>
                    <a:pt x="14" y="213"/>
                  </a:cubicBezTo>
                  <a:cubicBezTo>
                    <a:pt x="11" y="212"/>
                    <a:pt x="9" y="210"/>
                    <a:pt x="7" y="210"/>
                  </a:cubicBezTo>
                  <a:cubicBezTo>
                    <a:pt x="5" y="210"/>
                    <a:pt x="3" y="212"/>
                    <a:pt x="3" y="215"/>
                  </a:cubicBezTo>
                  <a:cubicBezTo>
                    <a:pt x="3" y="233"/>
                    <a:pt x="3" y="233"/>
                    <a:pt x="3" y="233"/>
                  </a:cubicBezTo>
                  <a:cubicBezTo>
                    <a:pt x="3" y="233"/>
                    <a:pt x="3" y="233"/>
                    <a:pt x="3" y="233"/>
                  </a:cubicBezTo>
                  <a:cubicBezTo>
                    <a:pt x="3" y="236"/>
                    <a:pt x="4" y="238"/>
                    <a:pt x="7" y="240"/>
                  </a:cubicBezTo>
                  <a:cubicBezTo>
                    <a:pt x="15" y="243"/>
                    <a:pt x="21" y="245"/>
                    <a:pt x="32" y="245"/>
                  </a:cubicBezTo>
                  <a:cubicBezTo>
                    <a:pt x="41" y="244"/>
                    <a:pt x="47" y="242"/>
                    <a:pt x="54" y="238"/>
                  </a:cubicBezTo>
                  <a:cubicBezTo>
                    <a:pt x="61" y="233"/>
                    <a:pt x="67" y="227"/>
                    <a:pt x="73" y="220"/>
                  </a:cubicBezTo>
                  <a:cubicBezTo>
                    <a:pt x="75" y="216"/>
                    <a:pt x="77" y="212"/>
                    <a:pt x="79" y="208"/>
                  </a:cubicBezTo>
                  <a:cubicBezTo>
                    <a:pt x="83" y="200"/>
                    <a:pt x="144" y="40"/>
                    <a:pt x="156" y="6"/>
                  </a:cubicBezTo>
                  <a:cubicBezTo>
                    <a:pt x="157" y="5"/>
                    <a:pt x="157" y="4"/>
                    <a:pt x="157" y="3"/>
                  </a:cubicBezTo>
                  <a:cubicBezTo>
                    <a:pt x="157" y="1"/>
                    <a:pt x="155" y="0"/>
                    <a:pt x="153" y="0"/>
                  </a:cubicBezTo>
                  <a:lnTo>
                    <a:pt x="1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a:p>
          </p:txBody>
        </p:sp>
        <p:sp>
          <p:nvSpPr>
            <p:cNvPr id="11" name="Freeform 8">
              <a:extLst>
                <a:ext uri="{FF2B5EF4-FFF2-40B4-BE49-F238E27FC236}">
                  <a16:creationId xmlns:a16="http://schemas.microsoft.com/office/drawing/2014/main" id="{B2C29C81-DF56-4D2E-89D6-7B7333393C3E}"/>
                </a:ext>
              </a:extLst>
            </p:cNvPr>
            <p:cNvSpPr>
              <a:spLocks/>
            </p:cNvSpPr>
            <p:nvPr userDrawn="1"/>
          </p:nvSpPr>
          <p:spPr bwMode="auto">
            <a:xfrm>
              <a:off x="3457" y="1726"/>
              <a:ext cx="263" cy="322"/>
            </a:xfrm>
            <a:custGeom>
              <a:avLst/>
              <a:gdLst>
                <a:gd name="T0" fmla="*/ 28 w 139"/>
                <a:gd name="T1" fmla="*/ 21 h 170"/>
                <a:gd name="T2" fmla="*/ 28 w 139"/>
                <a:gd name="T3" fmla="*/ 6 h 170"/>
                <a:gd name="T4" fmla="*/ 25 w 139"/>
                <a:gd name="T5" fmla="*/ 3 h 170"/>
                <a:gd name="T6" fmla="*/ 4 w 139"/>
                <a:gd name="T7" fmla="*/ 3 h 170"/>
                <a:gd name="T8" fmla="*/ 0 w 139"/>
                <a:gd name="T9" fmla="*/ 6 h 170"/>
                <a:gd name="T10" fmla="*/ 0 w 139"/>
                <a:gd name="T11" fmla="*/ 167 h 170"/>
                <a:gd name="T12" fmla="*/ 4 w 139"/>
                <a:gd name="T13" fmla="*/ 170 h 170"/>
                <a:gd name="T14" fmla="*/ 25 w 139"/>
                <a:gd name="T15" fmla="*/ 170 h 170"/>
                <a:gd name="T16" fmla="*/ 28 w 139"/>
                <a:gd name="T17" fmla="*/ 167 h 170"/>
                <a:gd name="T18" fmla="*/ 28 w 139"/>
                <a:gd name="T19" fmla="*/ 68 h 170"/>
                <a:gd name="T20" fmla="*/ 70 w 139"/>
                <a:gd name="T21" fmla="*/ 28 h 170"/>
                <a:gd name="T22" fmla="*/ 111 w 139"/>
                <a:gd name="T23" fmla="*/ 68 h 170"/>
                <a:gd name="T24" fmla="*/ 111 w 139"/>
                <a:gd name="T25" fmla="*/ 167 h 170"/>
                <a:gd name="T26" fmla="*/ 111 w 139"/>
                <a:gd name="T27" fmla="*/ 167 h 170"/>
                <a:gd name="T28" fmla="*/ 114 w 139"/>
                <a:gd name="T29" fmla="*/ 170 h 170"/>
                <a:gd name="T30" fmla="*/ 136 w 139"/>
                <a:gd name="T31" fmla="*/ 170 h 170"/>
                <a:gd name="T32" fmla="*/ 139 w 139"/>
                <a:gd name="T33" fmla="*/ 167 h 170"/>
                <a:gd name="T34" fmla="*/ 139 w 139"/>
                <a:gd name="T35" fmla="*/ 68 h 170"/>
                <a:gd name="T36" fmla="*/ 139 w 139"/>
                <a:gd name="T37" fmla="*/ 68 h 170"/>
                <a:gd name="T38" fmla="*/ 139 w 139"/>
                <a:gd name="T39" fmla="*/ 68 h 170"/>
                <a:gd name="T40" fmla="*/ 120 w 139"/>
                <a:gd name="T41" fmla="*/ 20 h 170"/>
                <a:gd name="T42" fmla="*/ 70 w 139"/>
                <a:gd name="T43" fmla="*/ 0 h 170"/>
                <a:gd name="T44" fmla="*/ 28 w 139"/>
                <a:gd name="T45" fmla="*/ 2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170">
                  <a:moveTo>
                    <a:pt x="28" y="21"/>
                  </a:moveTo>
                  <a:cubicBezTo>
                    <a:pt x="28" y="6"/>
                    <a:pt x="28" y="6"/>
                    <a:pt x="28" y="6"/>
                  </a:cubicBezTo>
                  <a:cubicBezTo>
                    <a:pt x="28" y="4"/>
                    <a:pt x="27" y="3"/>
                    <a:pt x="25" y="3"/>
                  </a:cubicBezTo>
                  <a:cubicBezTo>
                    <a:pt x="4" y="3"/>
                    <a:pt x="4" y="3"/>
                    <a:pt x="4" y="3"/>
                  </a:cubicBezTo>
                  <a:cubicBezTo>
                    <a:pt x="1" y="3"/>
                    <a:pt x="0" y="4"/>
                    <a:pt x="0" y="6"/>
                  </a:cubicBezTo>
                  <a:cubicBezTo>
                    <a:pt x="0" y="167"/>
                    <a:pt x="0" y="167"/>
                    <a:pt x="0" y="167"/>
                  </a:cubicBezTo>
                  <a:cubicBezTo>
                    <a:pt x="0" y="169"/>
                    <a:pt x="1" y="170"/>
                    <a:pt x="4" y="170"/>
                  </a:cubicBezTo>
                  <a:cubicBezTo>
                    <a:pt x="25" y="170"/>
                    <a:pt x="25" y="170"/>
                    <a:pt x="25" y="170"/>
                  </a:cubicBezTo>
                  <a:cubicBezTo>
                    <a:pt x="27" y="170"/>
                    <a:pt x="28" y="169"/>
                    <a:pt x="28" y="167"/>
                  </a:cubicBezTo>
                  <a:cubicBezTo>
                    <a:pt x="28" y="68"/>
                    <a:pt x="28" y="68"/>
                    <a:pt x="28" y="68"/>
                  </a:cubicBezTo>
                  <a:cubicBezTo>
                    <a:pt x="28" y="49"/>
                    <a:pt x="42" y="28"/>
                    <a:pt x="70" y="28"/>
                  </a:cubicBezTo>
                  <a:cubicBezTo>
                    <a:pt x="97" y="28"/>
                    <a:pt x="111" y="49"/>
                    <a:pt x="111" y="68"/>
                  </a:cubicBezTo>
                  <a:cubicBezTo>
                    <a:pt x="111" y="167"/>
                    <a:pt x="111" y="167"/>
                    <a:pt x="111" y="167"/>
                  </a:cubicBezTo>
                  <a:cubicBezTo>
                    <a:pt x="111" y="167"/>
                    <a:pt x="111" y="167"/>
                    <a:pt x="111" y="167"/>
                  </a:cubicBezTo>
                  <a:cubicBezTo>
                    <a:pt x="111" y="169"/>
                    <a:pt x="112" y="170"/>
                    <a:pt x="114" y="170"/>
                  </a:cubicBezTo>
                  <a:cubicBezTo>
                    <a:pt x="136" y="170"/>
                    <a:pt x="136" y="170"/>
                    <a:pt x="136" y="170"/>
                  </a:cubicBezTo>
                  <a:cubicBezTo>
                    <a:pt x="138" y="170"/>
                    <a:pt x="139" y="169"/>
                    <a:pt x="139" y="167"/>
                  </a:cubicBezTo>
                  <a:cubicBezTo>
                    <a:pt x="139" y="68"/>
                    <a:pt x="139" y="68"/>
                    <a:pt x="139" y="68"/>
                  </a:cubicBezTo>
                  <a:cubicBezTo>
                    <a:pt x="139" y="68"/>
                    <a:pt x="139" y="68"/>
                    <a:pt x="139" y="68"/>
                  </a:cubicBezTo>
                  <a:cubicBezTo>
                    <a:pt x="139" y="68"/>
                    <a:pt x="139" y="68"/>
                    <a:pt x="139" y="68"/>
                  </a:cubicBezTo>
                  <a:cubicBezTo>
                    <a:pt x="139" y="51"/>
                    <a:pt x="133" y="35"/>
                    <a:pt x="120" y="20"/>
                  </a:cubicBezTo>
                  <a:cubicBezTo>
                    <a:pt x="109" y="7"/>
                    <a:pt x="88" y="0"/>
                    <a:pt x="70" y="0"/>
                  </a:cubicBezTo>
                  <a:cubicBezTo>
                    <a:pt x="41" y="0"/>
                    <a:pt x="28" y="21"/>
                    <a:pt x="28"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a:p>
          </p:txBody>
        </p:sp>
        <p:sp>
          <p:nvSpPr>
            <p:cNvPr id="12" name="Freeform 9">
              <a:extLst>
                <a:ext uri="{FF2B5EF4-FFF2-40B4-BE49-F238E27FC236}">
                  <a16:creationId xmlns:a16="http://schemas.microsoft.com/office/drawing/2014/main" id="{B38DB0D8-2A95-458B-BC03-75E42A03A8C8}"/>
                </a:ext>
              </a:extLst>
            </p:cNvPr>
            <p:cNvSpPr>
              <a:spLocks/>
            </p:cNvSpPr>
            <p:nvPr userDrawn="1"/>
          </p:nvSpPr>
          <p:spPr bwMode="auto">
            <a:xfrm>
              <a:off x="2264" y="1724"/>
              <a:ext cx="246" cy="328"/>
            </a:xfrm>
            <a:custGeom>
              <a:avLst/>
              <a:gdLst>
                <a:gd name="T0" fmla="*/ 4 w 130"/>
                <a:gd name="T1" fmla="*/ 48 h 173"/>
                <a:gd name="T2" fmla="*/ 56 w 130"/>
                <a:gd name="T3" fmla="*/ 97 h 173"/>
                <a:gd name="T4" fmla="*/ 57 w 130"/>
                <a:gd name="T5" fmla="*/ 98 h 173"/>
                <a:gd name="T6" fmla="*/ 101 w 130"/>
                <a:gd name="T7" fmla="*/ 124 h 173"/>
                <a:gd name="T8" fmla="*/ 66 w 130"/>
                <a:gd name="T9" fmla="*/ 146 h 173"/>
                <a:gd name="T10" fmla="*/ 30 w 130"/>
                <a:gd name="T11" fmla="*/ 118 h 173"/>
                <a:gd name="T12" fmla="*/ 26 w 130"/>
                <a:gd name="T13" fmla="*/ 114 h 173"/>
                <a:gd name="T14" fmla="*/ 5 w 130"/>
                <a:gd name="T15" fmla="*/ 114 h 173"/>
                <a:gd name="T16" fmla="*/ 0 w 130"/>
                <a:gd name="T17" fmla="*/ 118 h 173"/>
                <a:gd name="T18" fmla="*/ 65 w 130"/>
                <a:gd name="T19" fmla="*/ 173 h 173"/>
                <a:gd name="T20" fmla="*/ 130 w 130"/>
                <a:gd name="T21" fmla="*/ 120 h 173"/>
                <a:gd name="T22" fmla="*/ 72 w 130"/>
                <a:gd name="T23" fmla="*/ 74 h 173"/>
                <a:gd name="T24" fmla="*/ 32 w 130"/>
                <a:gd name="T25" fmla="*/ 48 h 173"/>
                <a:gd name="T26" fmla="*/ 63 w 130"/>
                <a:gd name="T27" fmla="*/ 27 h 173"/>
                <a:gd name="T28" fmla="*/ 97 w 130"/>
                <a:gd name="T29" fmla="*/ 49 h 173"/>
                <a:gd name="T30" fmla="*/ 102 w 130"/>
                <a:gd name="T31" fmla="*/ 53 h 173"/>
                <a:gd name="T32" fmla="*/ 120 w 130"/>
                <a:gd name="T33" fmla="*/ 53 h 173"/>
                <a:gd name="T34" fmla="*/ 125 w 130"/>
                <a:gd name="T35" fmla="*/ 48 h 173"/>
                <a:gd name="T36" fmla="*/ 63 w 130"/>
                <a:gd name="T37" fmla="*/ 0 h 173"/>
                <a:gd name="T38" fmla="*/ 4 w 130"/>
                <a:gd name="T39" fmla="*/ 4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173">
                  <a:moveTo>
                    <a:pt x="4" y="48"/>
                  </a:moveTo>
                  <a:cubicBezTo>
                    <a:pt x="4" y="77"/>
                    <a:pt x="19" y="91"/>
                    <a:pt x="56" y="97"/>
                  </a:cubicBezTo>
                  <a:cubicBezTo>
                    <a:pt x="57" y="98"/>
                    <a:pt x="57" y="98"/>
                    <a:pt x="57" y="98"/>
                  </a:cubicBezTo>
                  <a:cubicBezTo>
                    <a:pt x="83" y="102"/>
                    <a:pt x="101" y="105"/>
                    <a:pt x="101" y="124"/>
                  </a:cubicBezTo>
                  <a:cubicBezTo>
                    <a:pt x="101" y="139"/>
                    <a:pt x="83" y="146"/>
                    <a:pt x="66" y="146"/>
                  </a:cubicBezTo>
                  <a:cubicBezTo>
                    <a:pt x="46" y="146"/>
                    <a:pt x="33" y="136"/>
                    <a:pt x="30" y="118"/>
                  </a:cubicBezTo>
                  <a:cubicBezTo>
                    <a:pt x="30" y="116"/>
                    <a:pt x="29" y="114"/>
                    <a:pt x="26" y="114"/>
                  </a:cubicBezTo>
                  <a:cubicBezTo>
                    <a:pt x="5" y="114"/>
                    <a:pt x="5" y="114"/>
                    <a:pt x="5" y="114"/>
                  </a:cubicBezTo>
                  <a:cubicBezTo>
                    <a:pt x="2" y="114"/>
                    <a:pt x="0" y="116"/>
                    <a:pt x="0" y="118"/>
                  </a:cubicBezTo>
                  <a:cubicBezTo>
                    <a:pt x="0" y="150"/>
                    <a:pt x="27" y="173"/>
                    <a:pt x="65" y="173"/>
                  </a:cubicBezTo>
                  <a:cubicBezTo>
                    <a:pt x="104" y="173"/>
                    <a:pt x="130" y="151"/>
                    <a:pt x="130" y="120"/>
                  </a:cubicBezTo>
                  <a:cubicBezTo>
                    <a:pt x="130" y="86"/>
                    <a:pt x="100" y="79"/>
                    <a:pt x="72" y="74"/>
                  </a:cubicBezTo>
                  <a:cubicBezTo>
                    <a:pt x="37" y="68"/>
                    <a:pt x="32" y="58"/>
                    <a:pt x="32" y="48"/>
                  </a:cubicBezTo>
                  <a:cubicBezTo>
                    <a:pt x="32" y="32"/>
                    <a:pt x="49" y="27"/>
                    <a:pt x="63" y="27"/>
                  </a:cubicBezTo>
                  <a:cubicBezTo>
                    <a:pt x="82" y="27"/>
                    <a:pt x="94" y="34"/>
                    <a:pt x="97" y="49"/>
                  </a:cubicBezTo>
                  <a:cubicBezTo>
                    <a:pt x="98" y="51"/>
                    <a:pt x="98" y="53"/>
                    <a:pt x="102" y="53"/>
                  </a:cubicBezTo>
                  <a:cubicBezTo>
                    <a:pt x="120" y="53"/>
                    <a:pt x="120" y="53"/>
                    <a:pt x="120" y="53"/>
                  </a:cubicBezTo>
                  <a:cubicBezTo>
                    <a:pt x="123" y="53"/>
                    <a:pt x="125" y="51"/>
                    <a:pt x="125" y="48"/>
                  </a:cubicBezTo>
                  <a:cubicBezTo>
                    <a:pt x="125" y="19"/>
                    <a:pt x="100" y="0"/>
                    <a:pt x="63" y="0"/>
                  </a:cubicBezTo>
                  <a:cubicBezTo>
                    <a:pt x="22" y="0"/>
                    <a:pt x="4" y="25"/>
                    <a:pt x="4" y="4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a:p>
          </p:txBody>
        </p:sp>
        <p:sp>
          <p:nvSpPr>
            <p:cNvPr id="13" name="Freeform 10">
              <a:extLst>
                <a:ext uri="{FF2B5EF4-FFF2-40B4-BE49-F238E27FC236}">
                  <a16:creationId xmlns:a16="http://schemas.microsoft.com/office/drawing/2014/main" id="{285FBA9D-B6C7-4BE7-90DC-3572BFC95303}"/>
                </a:ext>
              </a:extLst>
            </p:cNvPr>
            <p:cNvSpPr>
              <a:spLocks/>
            </p:cNvSpPr>
            <p:nvPr userDrawn="1"/>
          </p:nvSpPr>
          <p:spPr bwMode="auto">
            <a:xfrm>
              <a:off x="3062" y="1722"/>
              <a:ext cx="312" cy="474"/>
            </a:xfrm>
            <a:custGeom>
              <a:avLst/>
              <a:gdLst>
                <a:gd name="T0" fmla="*/ 67 w 165"/>
                <a:gd name="T1" fmla="*/ 0 h 250"/>
                <a:gd name="T2" fmla="*/ 0 w 165"/>
                <a:gd name="T3" fmla="*/ 86 h 250"/>
                <a:gd name="T4" fmla="*/ 82 w 165"/>
                <a:gd name="T5" fmla="*/ 174 h 250"/>
                <a:gd name="T6" fmla="*/ 137 w 165"/>
                <a:gd name="T7" fmla="*/ 152 h 250"/>
                <a:gd name="T8" fmla="*/ 137 w 165"/>
                <a:gd name="T9" fmla="*/ 173 h 250"/>
                <a:gd name="T10" fmla="*/ 89 w 165"/>
                <a:gd name="T11" fmla="*/ 222 h 250"/>
                <a:gd name="T12" fmla="*/ 48 w 165"/>
                <a:gd name="T13" fmla="*/ 194 h 250"/>
                <a:gd name="T14" fmla="*/ 43 w 165"/>
                <a:gd name="T15" fmla="*/ 190 h 250"/>
                <a:gd name="T16" fmla="*/ 24 w 165"/>
                <a:gd name="T17" fmla="*/ 190 h 250"/>
                <a:gd name="T18" fmla="*/ 19 w 165"/>
                <a:gd name="T19" fmla="*/ 195 h 250"/>
                <a:gd name="T20" fmla="*/ 89 w 165"/>
                <a:gd name="T21" fmla="*/ 250 h 250"/>
                <a:gd name="T22" fmla="*/ 165 w 165"/>
                <a:gd name="T23" fmla="*/ 174 h 250"/>
                <a:gd name="T24" fmla="*/ 165 w 165"/>
                <a:gd name="T25" fmla="*/ 7 h 250"/>
                <a:gd name="T26" fmla="*/ 162 w 165"/>
                <a:gd name="T27" fmla="*/ 4 h 250"/>
                <a:gd name="T28" fmla="*/ 140 w 165"/>
                <a:gd name="T29" fmla="*/ 4 h 250"/>
                <a:gd name="T30" fmla="*/ 137 w 165"/>
                <a:gd name="T31" fmla="*/ 7 h 250"/>
                <a:gd name="T32" fmla="*/ 137 w 165"/>
                <a:gd name="T33" fmla="*/ 21 h 250"/>
                <a:gd name="T34" fmla="*/ 99 w 165"/>
                <a:gd name="T35" fmla="*/ 0 h 250"/>
                <a:gd name="T36" fmla="*/ 96 w 165"/>
                <a:gd name="T37" fmla="*/ 3 h 250"/>
                <a:gd name="T38" fmla="*/ 96 w 165"/>
                <a:gd name="T39" fmla="*/ 28 h 250"/>
                <a:gd name="T40" fmla="*/ 97 w 165"/>
                <a:gd name="T41" fmla="*/ 31 h 250"/>
                <a:gd name="T42" fmla="*/ 138 w 165"/>
                <a:gd name="T43" fmla="*/ 87 h 250"/>
                <a:gd name="T44" fmla="*/ 83 w 165"/>
                <a:gd name="T45" fmla="*/ 146 h 250"/>
                <a:gd name="T46" fmla="*/ 29 w 165"/>
                <a:gd name="T47" fmla="*/ 87 h 250"/>
                <a:gd name="T48" fmla="*/ 68 w 165"/>
                <a:gd name="T49" fmla="*/ 31 h 250"/>
                <a:gd name="T50" fmla="*/ 70 w 165"/>
                <a:gd name="T51" fmla="*/ 29 h 250"/>
                <a:gd name="T52" fmla="*/ 70 w 165"/>
                <a:gd name="T53" fmla="*/ 3 h 250"/>
                <a:gd name="T54" fmla="*/ 67 w 165"/>
                <a:gd name="T55" fmla="*/ 0 h 250"/>
                <a:gd name="T56" fmla="*/ 67 w 165"/>
                <a:gd name="T57"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5" h="250">
                  <a:moveTo>
                    <a:pt x="67" y="0"/>
                  </a:moveTo>
                  <a:cubicBezTo>
                    <a:pt x="29" y="8"/>
                    <a:pt x="0" y="44"/>
                    <a:pt x="0" y="86"/>
                  </a:cubicBezTo>
                  <a:cubicBezTo>
                    <a:pt x="0" y="135"/>
                    <a:pt x="37" y="174"/>
                    <a:pt x="82" y="174"/>
                  </a:cubicBezTo>
                  <a:cubicBezTo>
                    <a:pt x="103" y="174"/>
                    <a:pt x="122" y="166"/>
                    <a:pt x="137" y="152"/>
                  </a:cubicBezTo>
                  <a:cubicBezTo>
                    <a:pt x="137" y="173"/>
                    <a:pt x="137" y="173"/>
                    <a:pt x="137" y="173"/>
                  </a:cubicBezTo>
                  <a:cubicBezTo>
                    <a:pt x="137" y="205"/>
                    <a:pt x="120" y="222"/>
                    <a:pt x="89" y="222"/>
                  </a:cubicBezTo>
                  <a:cubicBezTo>
                    <a:pt x="66" y="222"/>
                    <a:pt x="52" y="213"/>
                    <a:pt x="48" y="194"/>
                  </a:cubicBezTo>
                  <a:cubicBezTo>
                    <a:pt x="47" y="192"/>
                    <a:pt x="46" y="190"/>
                    <a:pt x="43" y="190"/>
                  </a:cubicBezTo>
                  <a:cubicBezTo>
                    <a:pt x="24" y="190"/>
                    <a:pt x="24" y="190"/>
                    <a:pt x="24" y="190"/>
                  </a:cubicBezTo>
                  <a:cubicBezTo>
                    <a:pt x="21" y="190"/>
                    <a:pt x="19" y="192"/>
                    <a:pt x="19" y="195"/>
                  </a:cubicBezTo>
                  <a:cubicBezTo>
                    <a:pt x="22" y="228"/>
                    <a:pt x="51" y="250"/>
                    <a:pt x="89" y="250"/>
                  </a:cubicBezTo>
                  <a:cubicBezTo>
                    <a:pt x="135" y="250"/>
                    <a:pt x="165" y="219"/>
                    <a:pt x="165" y="174"/>
                  </a:cubicBezTo>
                  <a:cubicBezTo>
                    <a:pt x="165" y="7"/>
                    <a:pt x="165" y="7"/>
                    <a:pt x="165" y="7"/>
                  </a:cubicBezTo>
                  <a:cubicBezTo>
                    <a:pt x="165" y="5"/>
                    <a:pt x="164" y="4"/>
                    <a:pt x="162" y="4"/>
                  </a:cubicBezTo>
                  <a:cubicBezTo>
                    <a:pt x="140" y="4"/>
                    <a:pt x="140" y="4"/>
                    <a:pt x="140" y="4"/>
                  </a:cubicBezTo>
                  <a:cubicBezTo>
                    <a:pt x="138" y="4"/>
                    <a:pt x="137" y="5"/>
                    <a:pt x="137" y="7"/>
                  </a:cubicBezTo>
                  <a:cubicBezTo>
                    <a:pt x="137" y="21"/>
                    <a:pt x="137" y="21"/>
                    <a:pt x="137" y="21"/>
                  </a:cubicBezTo>
                  <a:cubicBezTo>
                    <a:pt x="126" y="11"/>
                    <a:pt x="113" y="4"/>
                    <a:pt x="99" y="0"/>
                  </a:cubicBezTo>
                  <a:cubicBezTo>
                    <a:pt x="97" y="0"/>
                    <a:pt x="96" y="1"/>
                    <a:pt x="96" y="3"/>
                  </a:cubicBezTo>
                  <a:cubicBezTo>
                    <a:pt x="96" y="28"/>
                    <a:pt x="96" y="28"/>
                    <a:pt x="96" y="28"/>
                  </a:cubicBezTo>
                  <a:cubicBezTo>
                    <a:pt x="96" y="29"/>
                    <a:pt x="96" y="30"/>
                    <a:pt x="97" y="31"/>
                  </a:cubicBezTo>
                  <a:cubicBezTo>
                    <a:pt x="121" y="37"/>
                    <a:pt x="138" y="60"/>
                    <a:pt x="138" y="87"/>
                  </a:cubicBezTo>
                  <a:cubicBezTo>
                    <a:pt x="138" y="119"/>
                    <a:pt x="114" y="146"/>
                    <a:pt x="83" y="146"/>
                  </a:cubicBezTo>
                  <a:cubicBezTo>
                    <a:pt x="53" y="146"/>
                    <a:pt x="29" y="119"/>
                    <a:pt x="29" y="87"/>
                  </a:cubicBezTo>
                  <a:cubicBezTo>
                    <a:pt x="29" y="61"/>
                    <a:pt x="45" y="38"/>
                    <a:pt x="68" y="31"/>
                  </a:cubicBezTo>
                  <a:cubicBezTo>
                    <a:pt x="69" y="31"/>
                    <a:pt x="70" y="30"/>
                    <a:pt x="70" y="29"/>
                  </a:cubicBezTo>
                  <a:cubicBezTo>
                    <a:pt x="70" y="3"/>
                    <a:pt x="70" y="3"/>
                    <a:pt x="70" y="3"/>
                  </a:cubicBezTo>
                  <a:cubicBezTo>
                    <a:pt x="70" y="1"/>
                    <a:pt x="69" y="0"/>
                    <a:pt x="67" y="0"/>
                  </a:cubicBezTo>
                  <a:cubicBezTo>
                    <a:pt x="67" y="0"/>
                    <a:pt x="67" y="0"/>
                    <a:pt x="6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a:p>
          </p:txBody>
        </p:sp>
        <p:sp>
          <p:nvSpPr>
            <p:cNvPr id="14" name="Oval 11">
              <a:extLst>
                <a:ext uri="{FF2B5EF4-FFF2-40B4-BE49-F238E27FC236}">
                  <a16:creationId xmlns:a16="http://schemas.microsoft.com/office/drawing/2014/main" id="{48DD9144-12C1-4B89-9F6D-92B4361D96B3}"/>
                </a:ext>
              </a:extLst>
            </p:cNvPr>
            <p:cNvSpPr>
              <a:spLocks noChangeArrowheads="1"/>
            </p:cNvSpPr>
            <p:nvPr userDrawn="1"/>
          </p:nvSpPr>
          <p:spPr bwMode="auto">
            <a:xfrm>
              <a:off x="284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a:p>
          </p:txBody>
        </p:sp>
        <p:sp>
          <p:nvSpPr>
            <p:cNvPr id="15" name="Oval 12">
              <a:extLst>
                <a:ext uri="{FF2B5EF4-FFF2-40B4-BE49-F238E27FC236}">
                  <a16:creationId xmlns:a16="http://schemas.microsoft.com/office/drawing/2014/main" id="{01B98C09-7AAE-43C7-82DE-9DB278B02F42}"/>
                </a:ext>
              </a:extLst>
            </p:cNvPr>
            <p:cNvSpPr>
              <a:spLocks noChangeArrowheads="1"/>
            </p:cNvSpPr>
            <p:nvPr userDrawn="1"/>
          </p:nvSpPr>
          <p:spPr bwMode="auto">
            <a:xfrm>
              <a:off x="387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a:p>
          </p:txBody>
        </p:sp>
        <p:sp>
          <p:nvSpPr>
            <p:cNvPr id="16" name="Freeform 13">
              <a:extLst>
                <a:ext uri="{FF2B5EF4-FFF2-40B4-BE49-F238E27FC236}">
                  <a16:creationId xmlns:a16="http://schemas.microsoft.com/office/drawing/2014/main" id="{DF4FD3F7-7AD2-4CA4-8D7C-34E6C136A5E6}"/>
                </a:ext>
              </a:extLst>
            </p:cNvPr>
            <p:cNvSpPr>
              <a:spLocks/>
            </p:cNvSpPr>
            <p:nvPr userDrawn="1"/>
          </p:nvSpPr>
          <p:spPr bwMode="auto">
            <a:xfrm>
              <a:off x="4062" y="1584"/>
              <a:ext cx="242" cy="462"/>
            </a:xfrm>
            <a:custGeom>
              <a:avLst/>
              <a:gdLst>
                <a:gd name="T0" fmla="*/ 39 w 128"/>
                <a:gd name="T1" fmla="*/ 55 h 244"/>
                <a:gd name="T2" fmla="*/ 39 w 128"/>
                <a:gd name="T3" fmla="*/ 76 h 244"/>
                <a:gd name="T4" fmla="*/ 4 w 128"/>
                <a:gd name="T5" fmla="*/ 76 h 244"/>
                <a:gd name="T6" fmla="*/ 0 w 128"/>
                <a:gd name="T7" fmla="*/ 81 h 244"/>
                <a:gd name="T8" fmla="*/ 0 w 128"/>
                <a:gd name="T9" fmla="*/ 99 h 244"/>
                <a:gd name="T10" fmla="*/ 4 w 128"/>
                <a:gd name="T11" fmla="*/ 103 h 244"/>
                <a:gd name="T12" fmla="*/ 39 w 128"/>
                <a:gd name="T13" fmla="*/ 103 h 244"/>
                <a:gd name="T14" fmla="*/ 39 w 128"/>
                <a:gd name="T15" fmla="*/ 239 h 244"/>
                <a:gd name="T16" fmla="*/ 44 w 128"/>
                <a:gd name="T17" fmla="*/ 244 h 244"/>
                <a:gd name="T18" fmla="*/ 62 w 128"/>
                <a:gd name="T19" fmla="*/ 244 h 244"/>
                <a:gd name="T20" fmla="*/ 67 w 128"/>
                <a:gd name="T21" fmla="*/ 239 h 244"/>
                <a:gd name="T22" fmla="*/ 67 w 128"/>
                <a:gd name="T23" fmla="*/ 103 h 244"/>
                <a:gd name="T24" fmla="*/ 120 w 128"/>
                <a:gd name="T25" fmla="*/ 103 h 244"/>
                <a:gd name="T26" fmla="*/ 125 w 128"/>
                <a:gd name="T27" fmla="*/ 99 h 244"/>
                <a:gd name="T28" fmla="*/ 125 w 128"/>
                <a:gd name="T29" fmla="*/ 81 h 244"/>
                <a:gd name="T30" fmla="*/ 120 w 128"/>
                <a:gd name="T31" fmla="*/ 76 h 244"/>
                <a:gd name="T32" fmla="*/ 67 w 128"/>
                <a:gd name="T33" fmla="*/ 76 h 244"/>
                <a:gd name="T34" fmla="*/ 67 w 128"/>
                <a:gd name="T35" fmla="*/ 55 h 244"/>
                <a:gd name="T36" fmla="*/ 91 w 128"/>
                <a:gd name="T37" fmla="*/ 27 h 244"/>
                <a:gd name="T38" fmla="*/ 122 w 128"/>
                <a:gd name="T39" fmla="*/ 37 h 244"/>
                <a:gd name="T40" fmla="*/ 125 w 128"/>
                <a:gd name="T41" fmla="*/ 38 h 244"/>
                <a:gd name="T42" fmla="*/ 128 w 128"/>
                <a:gd name="T43" fmla="*/ 33 h 244"/>
                <a:gd name="T44" fmla="*/ 128 w 128"/>
                <a:gd name="T45" fmla="*/ 16 h 244"/>
                <a:gd name="T46" fmla="*/ 125 w 128"/>
                <a:gd name="T47" fmla="*/ 9 h 244"/>
                <a:gd name="T48" fmla="*/ 89 w 128"/>
                <a:gd name="T49" fmla="*/ 0 h 244"/>
                <a:gd name="T50" fmla="*/ 39 w 128"/>
                <a:gd name="T51" fmla="*/ 5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244">
                  <a:moveTo>
                    <a:pt x="39" y="55"/>
                  </a:moveTo>
                  <a:cubicBezTo>
                    <a:pt x="39" y="76"/>
                    <a:pt x="39" y="76"/>
                    <a:pt x="39" y="76"/>
                  </a:cubicBezTo>
                  <a:cubicBezTo>
                    <a:pt x="4" y="76"/>
                    <a:pt x="4" y="76"/>
                    <a:pt x="4" y="76"/>
                  </a:cubicBezTo>
                  <a:cubicBezTo>
                    <a:pt x="1" y="76"/>
                    <a:pt x="0" y="78"/>
                    <a:pt x="0" y="81"/>
                  </a:cubicBezTo>
                  <a:cubicBezTo>
                    <a:pt x="0" y="99"/>
                    <a:pt x="0" y="99"/>
                    <a:pt x="0" y="99"/>
                  </a:cubicBezTo>
                  <a:cubicBezTo>
                    <a:pt x="0" y="102"/>
                    <a:pt x="1" y="103"/>
                    <a:pt x="4" y="103"/>
                  </a:cubicBezTo>
                  <a:cubicBezTo>
                    <a:pt x="39" y="103"/>
                    <a:pt x="39" y="103"/>
                    <a:pt x="39" y="103"/>
                  </a:cubicBezTo>
                  <a:cubicBezTo>
                    <a:pt x="39" y="239"/>
                    <a:pt x="39" y="239"/>
                    <a:pt x="39" y="239"/>
                  </a:cubicBezTo>
                  <a:cubicBezTo>
                    <a:pt x="39" y="242"/>
                    <a:pt x="41" y="244"/>
                    <a:pt x="44" y="244"/>
                  </a:cubicBezTo>
                  <a:cubicBezTo>
                    <a:pt x="62" y="244"/>
                    <a:pt x="62" y="244"/>
                    <a:pt x="62" y="244"/>
                  </a:cubicBezTo>
                  <a:cubicBezTo>
                    <a:pt x="65" y="244"/>
                    <a:pt x="67" y="242"/>
                    <a:pt x="67" y="239"/>
                  </a:cubicBezTo>
                  <a:cubicBezTo>
                    <a:pt x="67" y="103"/>
                    <a:pt x="67" y="103"/>
                    <a:pt x="67" y="103"/>
                  </a:cubicBezTo>
                  <a:cubicBezTo>
                    <a:pt x="120" y="103"/>
                    <a:pt x="120" y="103"/>
                    <a:pt x="120" y="103"/>
                  </a:cubicBezTo>
                  <a:cubicBezTo>
                    <a:pt x="123" y="103"/>
                    <a:pt x="125" y="102"/>
                    <a:pt x="125" y="99"/>
                  </a:cubicBezTo>
                  <a:cubicBezTo>
                    <a:pt x="125" y="81"/>
                    <a:pt x="125" y="81"/>
                    <a:pt x="125" y="81"/>
                  </a:cubicBezTo>
                  <a:cubicBezTo>
                    <a:pt x="125" y="78"/>
                    <a:pt x="123" y="76"/>
                    <a:pt x="120" y="76"/>
                  </a:cubicBezTo>
                  <a:cubicBezTo>
                    <a:pt x="67" y="76"/>
                    <a:pt x="67" y="76"/>
                    <a:pt x="67" y="76"/>
                  </a:cubicBezTo>
                  <a:cubicBezTo>
                    <a:pt x="67" y="55"/>
                    <a:pt x="67" y="55"/>
                    <a:pt x="67" y="55"/>
                  </a:cubicBezTo>
                  <a:cubicBezTo>
                    <a:pt x="67" y="38"/>
                    <a:pt x="76" y="27"/>
                    <a:pt x="91" y="27"/>
                  </a:cubicBezTo>
                  <a:cubicBezTo>
                    <a:pt x="102" y="27"/>
                    <a:pt x="110" y="30"/>
                    <a:pt x="122" y="37"/>
                  </a:cubicBezTo>
                  <a:cubicBezTo>
                    <a:pt x="123" y="38"/>
                    <a:pt x="124" y="38"/>
                    <a:pt x="125" y="38"/>
                  </a:cubicBezTo>
                  <a:cubicBezTo>
                    <a:pt x="127" y="38"/>
                    <a:pt x="128" y="36"/>
                    <a:pt x="128" y="33"/>
                  </a:cubicBezTo>
                  <a:cubicBezTo>
                    <a:pt x="128" y="16"/>
                    <a:pt x="128" y="16"/>
                    <a:pt x="128" y="16"/>
                  </a:cubicBezTo>
                  <a:cubicBezTo>
                    <a:pt x="128" y="13"/>
                    <a:pt x="128" y="11"/>
                    <a:pt x="125" y="9"/>
                  </a:cubicBezTo>
                  <a:cubicBezTo>
                    <a:pt x="114" y="3"/>
                    <a:pt x="103" y="0"/>
                    <a:pt x="89" y="0"/>
                  </a:cubicBezTo>
                  <a:cubicBezTo>
                    <a:pt x="54" y="0"/>
                    <a:pt x="39" y="29"/>
                    <a:pt x="39"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a:p>
          </p:txBody>
        </p:sp>
        <p:sp>
          <p:nvSpPr>
            <p:cNvPr id="17" name="Freeform 14">
              <a:extLst>
                <a:ext uri="{FF2B5EF4-FFF2-40B4-BE49-F238E27FC236}">
                  <a16:creationId xmlns:a16="http://schemas.microsoft.com/office/drawing/2014/main" id="{E3F74A4C-3F35-49ED-8FDB-98270CD3D01E}"/>
                </a:ext>
              </a:extLst>
            </p:cNvPr>
            <p:cNvSpPr>
              <a:spLocks/>
            </p:cNvSpPr>
            <p:nvPr userDrawn="1"/>
          </p:nvSpPr>
          <p:spPr bwMode="auto">
            <a:xfrm>
              <a:off x="2071" y="1578"/>
              <a:ext cx="632" cy="631"/>
            </a:xfrm>
            <a:custGeom>
              <a:avLst/>
              <a:gdLst>
                <a:gd name="T0" fmla="*/ 181 w 334"/>
                <a:gd name="T1" fmla="*/ 1 h 333"/>
                <a:gd name="T2" fmla="*/ 180 w 334"/>
                <a:gd name="T3" fmla="*/ 4 h 333"/>
                <a:gd name="T4" fmla="*/ 180 w 334"/>
                <a:gd name="T5" fmla="*/ 26 h 333"/>
                <a:gd name="T6" fmla="*/ 180 w 334"/>
                <a:gd name="T7" fmla="*/ 26 h 333"/>
                <a:gd name="T8" fmla="*/ 182 w 334"/>
                <a:gd name="T9" fmla="*/ 28 h 333"/>
                <a:gd name="T10" fmla="*/ 306 w 334"/>
                <a:gd name="T11" fmla="*/ 166 h 333"/>
                <a:gd name="T12" fmla="*/ 167 w 334"/>
                <a:gd name="T13" fmla="*/ 305 h 333"/>
                <a:gd name="T14" fmla="*/ 28 w 334"/>
                <a:gd name="T15" fmla="*/ 166 h 333"/>
                <a:gd name="T16" fmla="*/ 152 w 334"/>
                <a:gd name="T17" fmla="*/ 28 h 333"/>
                <a:gd name="T18" fmla="*/ 154 w 334"/>
                <a:gd name="T19" fmla="*/ 26 h 333"/>
                <a:gd name="T20" fmla="*/ 154 w 334"/>
                <a:gd name="T21" fmla="*/ 26 h 333"/>
                <a:gd name="T22" fmla="*/ 154 w 334"/>
                <a:gd name="T23" fmla="*/ 4 h 333"/>
                <a:gd name="T24" fmla="*/ 153 w 334"/>
                <a:gd name="T25" fmla="*/ 1 h 333"/>
                <a:gd name="T26" fmla="*/ 150 w 334"/>
                <a:gd name="T27" fmla="*/ 0 h 333"/>
                <a:gd name="T28" fmla="*/ 149 w 334"/>
                <a:gd name="T29" fmla="*/ 0 h 333"/>
                <a:gd name="T30" fmla="*/ 149 w 334"/>
                <a:gd name="T31" fmla="*/ 0 h 333"/>
                <a:gd name="T32" fmla="*/ 0 w 334"/>
                <a:gd name="T33" fmla="*/ 166 h 333"/>
                <a:gd name="T34" fmla="*/ 167 w 334"/>
                <a:gd name="T35" fmla="*/ 333 h 333"/>
                <a:gd name="T36" fmla="*/ 334 w 334"/>
                <a:gd name="T37" fmla="*/ 166 h 333"/>
                <a:gd name="T38" fmla="*/ 185 w 334"/>
                <a:gd name="T39" fmla="*/ 0 h 333"/>
                <a:gd name="T40" fmla="*/ 185 w 334"/>
                <a:gd name="T41" fmla="*/ 0 h 333"/>
                <a:gd name="T42" fmla="*/ 184 w 334"/>
                <a:gd name="T43" fmla="*/ 0 h 333"/>
                <a:gd name="T44" fmla="*/ 181 w 334"/>
                <a:gd name="T45" fmla="*/ 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4" h="333">
                  <a:moveTo>
                    <a:pt x="181" y="1"/>
                  </a:moveTo>
                  <a:cubicBezTo>
                    <a:pt x="180" y="2"/>
                    <a:pt x="180" y="3"/>
                    <a:pt x="180" y="4"/>
                  </a:cubicBezTo>
                  <a:cubicBezTo>
                    <a:pt x="180" y="26"/>
                    <a:pt x="180" y="26"/>
                    <a:pt x="180" y="26"/>
                  </a:cubicBezTo>
                  <a:cubicBezTo>
                    <a:pt x="180" y="26"/>
                    <a:pt x="180" y="26"/>
                    <a:pt x="180" y="26"/>
                  </a:cubicBezTo>
                  <a:cubicBezTo>
                    <a:pt x="180" y="27"/>
                    <a:pt x="181" y="28"/>
                    <a:pt x="182" y="28"/>
                  </a:cubicBezTo>
                  <a:cubicBezTo>
                    <a:pt x="251" y="35"/>
                    <a:pt x="306" y="94"/>
                    <a:pt x="306" y="166"/>
                  </a:cubicBezTo>
                  <a:cubicBezTo>
                    <a:pt x="306" y="243"/>
                    <a:pt x="244" y="305"/>
                    <a:pt x="167" y="305"/>
                  </a:cubicBezTo>
                  <a:cubicBezTo>
                    <a:pt x="90" y="305"/>
                    <a:pt x="28" y="243"/>
                    <a:pt x="28" y="166"/>
                  </a:cubicBezTo>
                  <a:cubicBezTo>
                    <a:pt x="28" y="94"/>
                    <a:pt x="82" y="35"/>
                    <a:pt x="152" y="28"/>
                  </a:cubicBezTo>
                  <a:cubicBezTo>
                    <a:pt x="153" y="28"/>
                    <a:pt x="154" y="27"/>
                    <a:pt x="154" y="26"/>
                  </a:cubicBezTo>
                  <a:cubicBezTo>
                    <a:pt x="154" y="26"/>
                    <a:pt x="154" y="26"/>
                    <a:pt x="154" y="26"/>
                  </a:cubicBezTo>
                  <a:cubicBezTo>
                    <a:pt x="154" y="4"/>
                    <a:pt x="154" y="4"/>
                    <a:pt x="154" y="4"/>
                  </a:cubicBezTo>
                  <a:cubicBezTo>
                    <a:pt x="154" y="3"/>
                    <a:pt x="154" y="2"/>
                    <a:pt x="153" y="1"/>
                  </a:cubicBezTo>
                  <a:cubicBezTo>
                    <a:pt x="152" y="0"/>
                    <a:pt x="151" y="0"/>
                    <a:pt x="150" y="0"/>
                  </a:cubicBezTo>
                  <a:cubicBezTo>
                    <a:pt x="149" y="0"/>
                    <a:pt x="149" y="0"/>
                    <a:pt x="149" y="0"/>
                  </a:cubicBezTo>
                  <a:cubicBezTo>
                    <a:pt x="149" y="0"/>
                    <a:pt x="149" y="0"/>
                    <a:pt x="149" y="0"/>
                  </a:cubicBezTo>
                  <a:cubicBezTo>
                    <a:pt x="65" y="9"/>
                    <a:pt x="0" y="80"/>
                    <a:pt x="0" y="166"/>
                  </a:cubicBezTo>
                  <a:cubicBezTo>
                    <a:pt x="0" y="258"/>
                    <a:pt x="75" y="333"/>
                    <a:pt x="167" y="333"/>
                  </a:cubicBezTo>
                  <a:cubicBezTo>
                    <a:pt x="259" y="333"/>
                    <a:pt x="334" y="258"/>
                    <a:pt x="334" y="166"/>
                  </a:cubicBezTo>
                  <a:cubicBezTo>
                    <a:pt x="334" y="80"/>
                    <a:pt x="269" y="9"/>
                    <a:pt x="185" y="0"/>
                  </a:cubicBezTo>
                  <a:cubicBezTo>
                    <a:pt x="185" y="0"/>
                    <a:pt x="185" y="0"/>
                    <a:pt x="185" y="0"/>
                  </a:cubicBezTo>
                  <a:cubicBezTo>
                    <a:pt x="185" y="0"/>
                    <a:pt x="184" y="0"/>
                    <a:pt x="184" y="0"/>
                  </a:cubicBezTo>
                  <a:cubicBezTo>
                    <a:pt x="183" y="0"/>
                    <a:pt x="182" y="0"/>
                    <a:pt x="18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a:p>
          </p:txBody>
        </p:sp>
      </p:grpSp>
    </p:spTree>
    <p:extLst>
      <p:ext uri="{BB962C8B-B14F-4D97-AF65-F5344CB8AC3E}">
        <p14:creationId xmlns:p14="http://schemas.microsoft.com/office/powerpoint/2010/main" val="3361777863"/>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type="title" preserve="1">
  <p:cSld name="Title Slide Dark">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806139"/>
            <a:ext cx="9144000" cy="3245724"/>
          </a:xfrm>
        </p:spPr>
        <p:txBody>
          <a:bodyPr anchor="ctr"/>
          <a:lstStyle>
            <a:lvl1pPr algn="ctr">
              <a:defRPr sz="4000">
                <a:solidFill>
                  <a:schemeClr val="bg1"/>
                </a:solidFill>
              </a:defRPr>
            </a:lvl1pPr>
          </a:lstStyle>
          <a:p>
            <a:r>
              <a:rPr lang="en-US"/>
              <a:t>Click to edit Master title style</a:t>
            </a:r>
          </a:p>
        </p:txBody>
      </p:sp>
      <p:sp>
        <p:nvSpPr>
          <p:cNvPr id="3" name="Subtitle 2"/>
          <p:cNvSpPr>
            <a:spLocks noGrp="1"/>
          </p:cNvSpPr>
          <p:nvPr>
            <p:ph type="subTitle" idx="1"/>
          </p:nvPr>
        </p:nvSpPr>
        <p:spPr>
          <a:xfrm>
            <a:off x="1524000" y="5714325"/>
            <a:ext cx="9144000" cy="453754"/>
          </a:xfrm>
        </p:spPr>
        <p:txBody>
          <a:bodyPr/>
          <a:lstStyle>
            <a:lvl1pPr marL="0" indent="0" algn="ctr">
              <a:buNone/>
              <a:defRPr sz="2399">
                <a:solidFill>
                  <a:schemeClr val="accent3"/>
                </a:solidFill>
              </a:defRPr>
            </a:lvl1pPr>
            <a:lvl2pPr marL="456963" indent="0" algn="ctr">
              <a:buNone/>
              <a:defRPr sz="1999"/>
            </a:lvl2pPr>
            <a:lvl3pPr marL="913923" indent="0" algn="ctr">
              <a:buNone/>
              <a:defRPr sz="1799"/>
            </a:lvl3pPr>
            <a:lvl4pPr marL="1370889" indent="0" algn="ctr">
              <a:buNone/>
              <a:defRPr sz="1599"/>
            </a:lvl4pPr>
            <a:lvl5pPr marL="1827852" indent="0" algn="ctr">
              <a:buNone/>
              <a:defRPr sz="1599"/>
            </a:lvl5pPr>
            <a:lvl6pPr marL="2284812" indent="0" algn="ctr">
              <a:buNone/>
              <a:defRPr sz="1599"/>
            </a:lvl6pPr>
            <a:lvl7pPr marL="2741775" indent="0" algn="ctr">
              <a:buNone/>
              <a:defRPr sz="1599"/>
            </a:lvl7pPr>
            <a:lvl8pPr marL="3198740" indent="0" algn="ctr">
              <a:buNone/>
              <a:defRPr sz="1599"/>
            </a:lvl8pPr>
            <a:lvl9pPr marL="3655703" indent="0" algn="ctr">
              <a:buNone/>
              <a:defRPr sz="1599"/>
            </a:lvl9pPr>
          </a:lstStyle>
          <a:p>
            <a:r>
              <a:rPr lang="en-US"/>
              <a:t>Click to edit Master subtitle style</a:t>
            </a:r>
          </a:p>
        </p:txBody>
      </p:sp>
      <p:grpSp>
        <p:nvGrpSpPr>
          <p:cNvPr id="7" name="Group 4">
            <a:extLst>
              <a:ext uri="{FF2B5EF4-FFF2-40B4-BE49-F238E27FC236}">
                <a16:creationId xmlns:a16="http://schemas.microsoft.com/office/drawing/2014/main" id="{70F54715-A93F-4896-93D9-0F87EC2FA633}"/>
              </a:ext>
            </a:extLst>
          </p:cNvPr>
          <p:cNvGrpSpPr>
            <a:grpSpLocks noChangeAspect="1"/>
          </p:cNvGrpSpPr>
          <p:nvPr userDrawn="1"/>
        </p:nvGrpSpPr>
        <p:grpSpPr bwMode="auto">
          <a:xfrm>
            <a:off x="4699200" y="689925"/>
            <a:ext cx="2793600" cy="681042"/>
            <a:chOff x="2071" y="1578"/>
            <a:chExt cx="2587" cy="631"/>
          </a:xfrm>
          <a:gradFill>
            <a:gsLst>
              <a:gs pos="50000">
                <a:srgbClr val="00E487"/>
              </a:gs>
              <a:gs pos="100000">
                <a:srgbClr val="1ECBD0"/>
              </a:gs>
            </a:gsLst>
            <a:lin ang="18900000" scaled="0"/>
          </a:gradFill>
        </p:grpSpPr>
        <p:sp>
          <p:nvSpPr>
            <p:cNvPr id="8" name="Freeform 5">
              <a:extLst>
                <a:ext uri="{FF2B5EF4-FFF2-40B4-BE49-F238E27FC236}">
                  <a16:creationId xmlns:a16="http://schemas.microsoft.com/office/drawing/2014/main" id="{846B7DFA-C5E8-4F62-AD8D-4DEE7917FD7D}"/>
                </a:ext>
              </a:extLst>
            </p:cNvPr>
            <p:cNvSpPr>
              <a:spLocks/>
            </p:cNvSpPr>
            <p:nvPr userDrawn="1"/>
          </p:nvSpPr>
          <p:spPr bwMode="auto">
            <a:xfrm>
              <a:off x="2765" y="1728"/>
              <a:ext cx="244" cy="318"/>
            </a:xfrm>
            <a:custGeom>
              <a:avLst/>
              <a:gdLst>
                <a:gd name="T0" fmla="*/ 12 w 129"/>
                <a:gd name="T1" fmla="*/ 0 h 168"/>
                <a:gd name="T2" fmla="*/ 8 w 129"/>
                <a:gd name="T3" fmla="*/ 4 h 168"/>
                <a:gd name="T4" fmla="*/ 8 w 129"/>
                <a:gd name="T5" fmla="*/ 25 h 168"/>
                <a:gd name="T6" fmla="*/ 12 w 129"/>
                <a:gd name="T7" fmla="*/ 29 h 168"/>
                <a:gd name="T8" fmla="*/ 48 w 129"/>
                <a:gd name="T9" fmla="*/ 29 h 168"/>
                <a:gd name="T10" fmla="*/ 48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2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2" y="0"/>
                  </a:moveTo>
                  <a:cubicBezTo>
                    <a:pt x="9" y="0"/>
                    <a:pt x="8" y="1"/>
                    <a:pt x="8" y="4"/>
                  </a:cubicBezTo>
                  <a:cubicBezTo>
                    <a:pt x="8" y="25"/>
                    <a:pt x="8" y="25"/>
                    <a:pt x="8" y="25"/>
                  </a:cubicBezTo>
                  <a:cubicBezTo>
                    <a:pt x="8" y="27"/>
                    <a:pt x="9" y="29"/>
                    <a:pt x="12" y="29"/>
                  </a:cubicBezTo>
                  <a:cubicBezTo>
                    <a:pt x="48" y="29"/>
                    <a:pt x="48" y="29"/>
                    <a:pt x="48" y="29"/>
                  </a:cubicBezTo>
                  <a:cubicBezTo>
                    <a:pt x="48" y="140"/>
                    <a:pt x="48" y="140"/>
                    <a:pt x="48"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8" y="140"/>
                    <a:pt x="125" y="140"/>
                  </a:cubicBezTo>
                  <a:cubicBezTo>
                    <a:pt x="76" y="140"/>
                    <a:pt x="76" y="140"/>
                    <a:pt x="76" y="140"/>
                  </a:cubicBezTo>
                  <a:cubicBezTo>
                    <a:pt x="76" y="4"/>
                    <a:pt x="76" y="4"/>
                    <a:pt x="76" y="4"/>
                  </a:cubicBezTo>
                  <a:cubicBezTo>
                    <a:pt x="76" y="1"/>
                    <a:pt x="75" y="0"/>
                    <a:pt x="72" y="0"/>
                  </a:cubicBez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a:p>
          </p:txBody>
        </p:sp>
        <p:sp>
          <p:nvSpPr>
            <p:cNvPr id="9" name="Freeform 6">
              <a:extLst>
                <a:ext uri="{FF2B5EF4-FFF2-40B4-BE49-F238E27FC236}">
                  <a16:creationId xmlns:a16="http://schemas.microsoft.com/office/drawing/2014/main" id="{6ABD64B8-C9CA-4D12-BB30-52ABBBA59E99}"/>
                </a:ext>
              </a:extLst>
            </p:cNvPr>
            <p:cNvSpPr>
              <a:spLocks/>
            </p:cNvSpPr>
            <p:nvPr userDrawn="1"/>
          </p:nvSpPr>
          <p:spPr bwMode="auto">
            <a:xfrm>
              <a:off x="3798" y="1728"/>
              <a:ext cx="244" cy="318"/>
            </a:xfrm>
            <a:custGeom>
              <a:avLst/>
              <a:gdLst>
                <a:gd name="T0" fmla="*/ 11 w 129"/>
                <a:gd name="T1" fmla="*/ 0 h 168"/>
                <a:gd name="T2" fmla="*/ 8 w 129"/>
                <a:gd name="T3" fmla="*/ 4 h 168"/>
                <a:gd name="T4" fmla="*/ 8 w 129"/>
                <a:gd name="T5" fmla="*/ 25 h 168"/>
                <a:gd name="T6" fmla="*/ 11 w 129"/>
                <a:gd name="T7" fmla="*/ 29 h 168"/>
                <a:gd name="T8" fmla="*/ 47 w 129"/>
                <a:gd name="T9" fmla="*/ 29 h 168"/>
                <a:gd name="T10" fmla="*/ 47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1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1" y="0"/>
                  </a:moveTo>
                  <a:cubicBezTo>
                    <a:pt x="9" y="0"/>
                    <a:pt x="8" y="1"/>
                    <a:pt x="8" y="4"/>
                  </a:cubicBezTo>
                  <a:cubicBezTo>
                    <a:pt x="8" y="25"/>
                    <a:pt x="8" y="25"/>
                    <a:pt x="8" y="25"/>
                  </a:cubicBezTo>
                  <a:cubicBezTo>
                    <a:pt x="8" y="27"/>
                    <a:pt x="9" y="29"/>
                    <a:pt x="11" y="29"/>
                  </a:cubicBezTo>
                  <a:cubicBezTo>
                    <a:pt x="47" y="29"/>
                    <a:pt x="47" y="29"/>
                    <a:pt x="47" y="29"/>
                  </a:cubicBezTo>
                  <a:cubicBezTo>
                    <a:pt x="47" y="140"/>
                    <a:pt x="47" y="140"/>
                    <a:pt x="47"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7" y="140"/>
                    <a:pt x="125" y="140"/>
                  </a:cubicBezTo>
                  <a:cubicBezTo>
                    <a:pt x="76" y="140"/>
                    <a:pt x="76" y="140"/>
                    <a:pt x="76" y="140"/>
                  </a:cubicBezTo>
                  <a:cubicBezTo>
                    <a:pt x="76" y="4"/>
                    <a:pt x="76" y="4"/>
                    <a:pt x="76" y="4"/>
                  </a:cubicBezTo>
                  <a:cubicBezTo>
                    <a:pt x="75" y="1"/>
                    <a:pt x="74" y="0"/>
                    <a:pt x="72" y="0"/>
                  </a:cubicBez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a:p>
          </p:txBody>
        </p:sp>
        <p:sp>
          <p:nvSpPr>
            <p:cNvPr id="10" name="Freeform 7">
              <a:extLst>
                <a:ext uri="{FF2B5EF4-FFF2-40B4-BE49-F238E27FC236}">
                  <a16:creationId xmlns:a16="http://schemas.microsoft.com/office/drawing/2014/main" id="{B038732F-5EB5-436D-B40F-847E37FC0954}"/>
                </a:ext>
              </a:extLst>
            </p:cNvPr>
            <p:cNvSpPr>
              <a:spLocks/>
            </p:cNvSpPr>
            <p:nvPr userDrawn="1"/>
          </p:nvSpPr>
          <p:spPr bwMode="auto">
            <a:xfrm>
              <a:off x="4361" y="1728"/>
              <a:ext cx="297" cy="464"/>
            </a:xfrm>
            <a:custGeom>
              <a:avLst/>
              <a:gdLst>
                <a:gd name="T0" fmla="*/ 132 w 157"/>
                <a:gd name="T1" fmla="*/ 0 h 245"/>
                <a:gd name="T2" fmla="*/ 127 w 157"/>
                <a:gd name="T3" fmla="*/ 3 h 245"/>
                <a:gd name="T4" fmla="*/ 127 w 157"/>
                <a:gd name="T5" fmla="*/ 3 h 245"/>
                <a:gd name="T6" fmla="*/ 79 w 157"/>
                <a:gd name="T7" fmla="*/ 128 h 245"/>
                <a:gd name="T8" fmla="*/ 30 w 157"/>
                <a:gd name="T9" fmla="*/ 4 h 245"/>
                <a:gd name="T10" fmla="*/ 25 w 157"/>
                <a:gd name="T11" fmla="*/ 0 h 245"/>
                <a:gd name="T12" fmla="*/ 4 w 157"/>
                <a:gd name="T13" fmla="*/ 0 h 245"/>
                <a:gd name="T14" fmla="*/ 0 w 157"/>
                <a:gd name="T15" fmla="*/ 3 h 245"/>
                <a:gd name="T16" fmla="*/ 1 w 157"/>
                <a:gd name="T17" fmla="*/ 6 h 245"/>
                <a:gd name="T18" fmla="*/ 1 w 157"/>
                <a:gd name="T19" fmla="*/ 6 h 245"/>
                <a:gd name="T20" fmla="*/ 1 w 157"/>
                <a:gd name="T21" fmla="*/ 6 h 245"/>
                <a:gd name="T22" fmla="*/ 64 w 157"/>
                <a:gd name="T23" fmla="*/ 168 h 245"/>
                <a:gd name="T24" fmla="*/ 59 w 157"/>
                <a:gd name="T25" fmla="*/ 182 h 245"/>
                <a:gd name="T26" fmla="*/ 48 w 157"/>
                <a:gd name="T27" fmla="*/ 205 h 245"/>
                <a:gd name="T28" fmla="*/ 38 w 157"/>
                <a:gd name="T29" fmla="*/ 215 h 245"/>
                <a:gd name="T30" fmla="*/ 30 w 157"/>
                <a:gd name="T31" fmla="*/ 217 h 245"/>
                <a:gd name="T32" fmla="*/ 26 w 157"/>
                <a:gd name="T33" fmla="*/ 216 h 245"/>
                <a:gd name="T34" fmla="*/ 14 w 157"/>
                <a:gd name="T35" fmla="*/ 213 h 245"/>
                <a:gd name="T36" fmla="*/ 7 w 157"/>
                <a:gd name="T37" fmla="*/ 210 h 245"/>
                <a:gd name="T38" fmla="*/ 3 w 157"/>
                <a:gd name="T39" fmla="*/ 215 h 245"/>
                <a:gd name="T40" fmla="*/ 3 w 157"/>
                <a:gd name="T41" fmla="*/ 233 h 245"/>
                <a:gd name="T42" fmla="*/ 3 w 157"/>
                <a:gd name="T43" fmla="*/ 233 h 245"/>
                <a:gd name="T44" fmla="*/ 7 w 157"/>
                <a:gd name="T45" fmla="*/ 240 h 245"/>
                <a:gd name="T46" fmla="*/ 32 w 157"/>
                <a:gd name="T47" fmla="*/ 245 h 245"/>
                <a:gd name="T48" fmla="*/ 54 w 157"/>
                <a:gd name="T49" fmla="*/ 238 h 245"/>
                <a:gd name="T50" fmla="*/ 73 w 157"/>
                <a:gd name="T51" fmla="*/ 220 h 245"/>
                <a:gd name="T52" fmla="*/ 79 w 157"/>
                <a:gd name="T53" fmla="*/ 208 h 245"/>
                <a:gd name="T54" fmla="*/ 156 w 157"/>
                <a:gd name="T55" fmla="*/ 6 h 245"/>
                <a:gd name="T56" fmla="*/ 157 w 157"/>
                <a:gd name="T57" fmla="*/ 3 h 245"/>
                <a:gd name="T58" fmla="*/ 153 w 157"/>
                <a:gd name="T59" fmla="*/ 0 h 245"/>
                <a:gd name="T60" fmla="*/ 132 w 157"/>
                <a:gd name="T6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7" h="245">
                  <a:moveTo>
                    <a:pt x="132" y="0"/>
                  </a:moveTo>
                  <a:cubicBezTo>
                    <a:pt x="129" y="0"/>
                    <a:pt x="128" y="1"/>
                    <a:pt x="127" y="3"/>
                  </a:cubicBezTo>
                  <a:cubicBezTo>
                    <a:pt x="127" y="3"/>
                    <a:pt x="127" y="3"/>
                    <a:pt x="127" y="3"/>
                  </a:cubicBezTo>
                  <a:cubicBezTo>
                    <a:pt x="79" y="128"/>
                    <a:pt x="79" y="128"/>
                    <a:pt x="79" y="128"/>
                  </a:cubicBezTo>
                  <a:cubicBezTo>
                    <a:pt x="30" y="4"/>
                    <a:pt x="30" y="4"/>
                    <a:pt x="30" y="4"/>
                  </a:cubicBezTo>
                  <a:cubicBezTo>
                    <a:pt x="29" y="1"/>
                    <a:pt x="28" y="0"/>
                    <a:pt x="25" y="0"/>
                  </a:cubicBezTo>
                  <a:cubicBezTo>
                    <a:pt x="4" y="0"/>
                    <a:pt x="4" y="0"/>
                    <a:pt x="4" y="0"/>
                  </a:cubicBezTo>
                  <a:cubicBezTo>
                    <a:pt x="2" y="0"/>
                    <a:pt x="0" y="1"/>
                    <a:pt x="0" y="3"/>
                  </a:cubicBezTo>
                  <a:cubicBezTo>
                    <a:pt x="0" y="4"/>
                    <a:pt x="1" y="5"/>
                    <a:pt x="1" y="6"/>
                  </a:cubicBezTo>
                  <a:cubicBezTo>
                    <a:pt x="1" y="6"/>
                    <a:pt x="1" y="6"/>
                    <a:pt x="1" y="6"/>
                  </a:cubicBezTo>
                  <a:cubicBezTo>
                    <a:pt x="1" y="6"/>
                    <a:pt x="1" y="6"/>
                    <a:pt x="1" y="6"/>
                  </a:cubicBezTo>
                  <a:cubicBezTo>
                    <a:pt x="64" y="168"/>
                    <a:pt x="64" y="168"/>
                    <a:pt x="64" y="168"/>
                  </a:cubicBezTo>
                  <a:cubicBezTo>
                    <a:pt x="59" y="182"/>
                    <a:pt x="59" y="182"/>
                    <a:pt x="59" y="182"/>
                  </a:cubicBezTo>
                  <a:cubicBezTo>
                    <a:pt x="57" y="187"/>
                    <a:pt x="53" y="199"/>
                    <a:pt x="48" y="205"/>
                  </a:cubicBezTo>
                  <a:cubicBezTo>
                    <a:pt x="44" y="211"/>
                    <a:pt x="42" y="213"/>
                    <a:pt x="38" y="215"/>
                  </a:cubicBezTo>
                  <a:cubicBezTo>
                    <a:pt x="35" y="216"/>
                    <a:pt x="33" y="217"/>
                    <a:pt x="30" y="217"/>
                  </a:cubicBezTo>
                  <a:cubicBezTo>
                    <a:pt x="28" y="217"/>
                    <a:pt x="27" y="217"/>
                    <a:pt x="26" y="216"/>
                  </a:cubicBezTo>
                  <a:cubicBezTo>
                    <a:pt x="22" y="216"/>
                    <a:pt x="18" y="214"/>
                    <a:pt x="14" y="213"/>
                  </a:cubicBezTo>
                  <a:cubicBezTo>
                    <a:pt x="11" y="212"/>
                    <a:pt x="9" y="210"/>
                    <a:pt x="7" y="210"/>
                  </a:cubicBezTo>
                  <a:cubicBezTo>
                    <a:pt x="5" y="210"/>
                    <a:pt x="3" y="212"/>
                    <a:pt x="3" y="215"/>
                  </a:cubicBezTo>
                  <a:cubicBezTo>
                    <a:pt x="3" y="233"/>
                    <a:pt x="3" y="233"/>
                    <a:pt x="3" y="233"/>
                  </a:cubicBezTo>
                  <a:cubicBezTo>
                    <a:pt x="3" y="233"/>
                    <a:pt x="3" y="233"/>
                    <a:pt x="3" y="233"/>
                  </a:cubicBezTo>
                  <a:cubicBezTo>
                    <a:pt x="3" y="236"/>
                    <a:pt x="4" y="238"/>
                    <a:pt x="7" y="240"/>
                  </a:cubicBezTo>
                  <a:cubicBezTo>
                    <a:pt x="15" y="243"/>
                    <a:pt x="21" y="245"/>
                    <a:pt x="32" y="245"/>
                  </a:cubicBezTo>
                  <a:cubicBezTo>
                    <a:pt x="41" y="244"/>
                    <a:pt x="47" y="242"/>
                    <a:pt x="54" y="238"/>
                  </a:cubicBezTo>
                  <a:cubicBezTo>
                    <a:pt x="61" y="233"/>
                    <a:pt x="67" y="227"/>
                    <a:pt x="73" y="220"/>
                  </a:cubicBezTo>
                  <a:cubicBezTo>
                    <a:pt x="75" y="216"/>
                    <a:pt x="77" y="212"/>
                    <a:pt x="79" y="208"/>
                  </a:cubicBezTo>
                  <a:cubicBezTo>
                    <a:pt x="83" y="200"/>
                    <a:pt x="144" y="40"/>
                    <a:pt x="156" y="6"/>
                  </a:cubicBezTo>
                  <a:cubicBezTo>
                    <a:pt x="157" y="5"/>
                    <a:pt x="157" y="4"/>
                    <a:pt x="157" y="3"/>
                  </a:cubicBezTo>
                  <a:cubicBezTo>
                    <a:pt x="157" y="1"/>
                    <a:pt x="155" y="0"/>
                    <a:pt x="153" y="0"/>
                  </a:cubicBezTo>
                  <a:lnTo>
                    <a:pt x="1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a:p>
          </p:txBody>
        </p:sp>
        <p:sp>
          <p:nvSpPr>
            <p:cNvPr id="11" name="Freeform 8">
              <a:extLst>
                <a:ext uri="{FF2B5EF4-FFF2-40B4-BE49-F238E27FC236}">
                  <a16:creationId xmlns:a16="http://schemas.microsoft.com/office/drawing/2014/main" id="{B2C29C81-DF56-4D2E-89D6-7B7333393C3E}"/>
                </a:ext>
              </a:extLst>
            </p:cNvPr>
            <p:cNvSpPr>
              <a:spLocks/>
            </p:cNvSpPr>
            <p:nvPr userDrawn="1"/>
          </p:nvSpPr>
          <p:spPr bwMode="auto">
            <a:xfrm>
              <a:off x="3457" y="1726"/>
              <a:ext cx="263" cy="322"/>
            </a:xfrm>
            <a:custGeom>
              <a:avLst/>
              <a:gdLst>
                <a:gd name="T0" fmla="*/ 28 w 139"/>
                <a:gd name="T1" fmla="*/ 21 h 170"/>
                <a:gd name="T2" fmla="*/ 28 w 139"/>
                <a:gd name="T3" fmla="*/ 6 h 170"/>
                <a:gd name="T4" fmla="*/ 25 w 139"/>
                <a:gd name="T5" fmla="*/ 3 h 170"/>
                <a:gd name="T6" fmla="*/ 4 w 139"/>
                <a:gd name="T7" fmla="*/ 3 h 170"/>
                <a:gd name="T8" fmla="*/ 0 w 139"/>
                <a:gd name="T9" fmla="*/ 6 h 170"/>
                <a:gd name="T10" fmla="*/ 0 w 139"/>
                <a:gd name="T11" fmla="*/ 167 h 170"/>
                <a:gd name="T12" fmla="*/ 4 w 139"/>
                <a:gd name="T13" fmla="*/ 170 h 170"/>
                <a:gd name="T14" fmla="*/ 25 w 139"/>
                <a:gd name="T15" fmla="*/ 170 h 170"/>
                <a:gd name="T16" fmla="*/ 28 w 139"/>
                <a:gd name="T17" fmla="*/ 167 h 170"/>
                <a:gd name="T18" fmla="*/ 28 w 139"/>
                <a:gd name="T19" fmla="*/ 68 h 170"/>
                <a:gd name="T20" fmla="*/ 70 w 139"/>
                <a:gd name="T21" fmla="*/ 28 h 170"/>
                <a:gd name="T22" fmla="*/ 111 w 139"/>
                <a:gd name="T23" fmla="*/ 68 h 170"/>
                <a:gd name="T24" fmla="*/ 111 w 139"/>
                <a:gd name="T25" fmla="*/ 167 h 170"/>
                <a:gd name="T26" fmla="*/ 111 w 139"/>
                <a:gd name="T27" fmla="*/ 167 h 170"/>
                <a:gd name="T28" fmla="*/ 114 w 139"/>
                <a:gd name="T29" fmla="*/ 170 h 170"/>
                <a:gd name="T30" fmla="*/ 136 w 139"/>
                <a:gd name="T31" fmla="*/ 170 h 170"/>
                <a:gd name="T32" fmla="*/ 139 w 139"/>
                <a:gd name="T33" fmla="*/ 167 h 170"/>
                <a:gd name="T34" fmla="*/ 139 w 139"/>
                <a:gd name="T35" fmla="*/ 68 h 170"/>
                <a:gd name="T36" fmla="*/ 139 w 139"/>
                <a:gd name="T37" fmla="*/ 68 h 170"/>
                <a:gd name="T38" fmla="*/ 139 w 139"/>
                <a:gd name="T39" fmla="*/ 68 h 170"/>
                <a:gd name="T40" fmla="*/ 120 w 139"/>
                <a:gd name="T41" fmla="*/ 20 h 170"/>
                <a:gd name="T42" fmla="*/ 70 w 139"/>
                <a:gd name="T43" fmla="*/ 0 h 170"/>
                <a:gd name="T44" fmla="*/ 28 w 139"/>
                <a:gd name="T45" fmla="*/ 2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170">
                  <a:moveTo>
                    <a:pt x="28" y="21"/>
                  </a:moveTo>
                  <a:cubicBezTo>
                    <a:pt x="28" y="6"/>
                    <a:pt x="28" y="6"/>
                    <a:pt x="28" y="6"/>
                  </a:cubicBezTo>
                  <a:cubicBezTo>
                    <a:pt x="28" y="4"/>
                    <a:pt x="27" y="3"/>
                    <a:pt x="25" y="3"/>
                  </a:cubicBezTo>
                  <a:cubicBezTo>
                    <a:pt x="4" y="3"/>
                    <a:pt x="4" y="3"/>
                    <a:pt x="4" y="3"/>
                  </a:cubicBezTo>
                  <a:cubicBezTo>
                    <a:pt x="1" y="3"/>
                    <a:pt x="0" y="4"/>
                    <a:pt x="0" y="6"/>
                  </a:cubicBezTo>
                  <a:cubicBezTo>
                    <a:pt x="0" y="167"/>
                    <a:pt x="0" y="167"/>
                    <a:pt x="0" y="167"/>
                  </a:cubicBezTo>
                  <a:cubicBezTo>
                    <a:pt x="0" y="169"/>
                    <a:pt x="1" y="170"/>
                    <a:pt x="4" y="170"/>
                  </a:cubicBezTo>
                  <a:cubicBezTo>
                    <a:pt x="25" y="170"/>
                    <a:pt x="25" y="170"/>
                    <a:pt x="25" y="170"/>
                  </a:cubicBezTo>
                  <a:cubicBezTo>
                    <a:pt x="27" y="170"/>
                    <a:pt x="28" y="169"/>
                    <a:pt x="28" y="167"/>
                  </a:cubicBezTo>
                  <a:cubicBezTo>
                    <a:pt x="28" y="68"/>
                    <a:pt x="28" y="68"/>
                    <a:pt x="28" y="68"/>
                  </a:cubicBezTo>
                  <a:cubicBezTo>
                    <a:pt x="28" y="49"/>
                    <a:pt x="42" y="28"/>
                    <a:pt x="70" y="28"/>
                  </a:cubicBezTo>
                  <a:cubicBezTo>
                    <a:pt x="97" y="28"/>
                    <a:pt x="111" y="49"/>
                    <a:pt x="111" y="68"/>
                  </a:cubicBezTo>
                  <a:cubicBezTo>
                    <a:pt x="111" y="167"/>
                    <a:pt x="111" y="167"/>
                    <a:pt x="111" y="167"/>
                  </a:cubicBezTo>
                  <a:cubicBezTo>
                    <a:pt x="111" y="167"/>
                    <a:pt x="111" y="167"/>
                    <a:pt x="111" y="167"/>
                  </a:cubicBezTo>
                  <a:cubicBezTo>
                    <a:pt x="111" y="169"/>
                    <a:pt x="112" y="170"/>
                    <a:pt x="114" y="170"/>
                  </a:cubicBezTo>
                  <a:cubicBezTo>
                    <a:pt x="136" y="170"/>
                    <a:pt x="136" y="170"/>
                    <a:pt x="136" y="170"/>
                  </a:cubicBezTo>
                  <a:cubicBezTo>
                    <a:pt x="138" y="170"/>
                    <a:pt x="139" y="169"/>
                    <a:pt x="139" y="167"/>
                  </a:cubicBezTo>
                  <a:cubicBezTo>
                    <a:pt x="139" y="68"/>
                    <a:pt x="139" y="68"/>
                    <a:pt x="139" y="68"/>
                  </a:cubicBezTo>
                  <a:cubicBezTo>
                    <a:pt x="139" y="68"/>
                    <a:pt x="139" y="68"/>
                    <a:pt x="139" y="68"/>
                  </a:cubicBezTo>
                  <a:cubicBezTo>
                    <a:pt x="139" y="68"/>
                    <a:pt x="139" y="68"/>
                    <a:pt x="139" y="68"/>
                  </a:cubicBezTo>
                  <a:cubicBezTo>
                    <a:pt x="139" y="51"/>
                    <a:pt x="133" y="35"/>
                    <a:pt x="120" y="20"/>
                  </a:cubicBezTo>
                  <a:cubicBezTo>
                    <a:pt x="109" y="7"/>
                    <a:pt x="88" y="0"/>
                    <a:pt x="70" y="0"/>
                  </a:cubicBezTo>
                  <a:cubicBezTo>
                    <a:pt x="41" y="0"/>
                    <a:pt x="28" y="21"/>
                    <a:pt x="28"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a:p>
          </p:txBody>
        </p:sp>
        <p:sp>
          <p:nvSpPr>
            <p:cNvPr id="12" name="Freeform 9">
              <a:extLst>
                <a:ext uri="{FF2B5EF4-FFF2-40B4-BE49-F238E27FC236}">
                  <a16:creationId xmlns:a16="http://schemas.microsoft.com/office/drawing/2014/main" id="{B38DB0D8-2A95-458B-BC03-75E42A03A8C8}"/>
                </a:ext>
              </a:extLst>
            </p:cNvPr>
            <p:cNvSpPr>
              <a:spLocks/>
            </p:cNvSpPr>
            <p:nvPr userDrawn="1"/>
          </p:nvSpPr>
          <p:spPr bwMode="auto">
            <a:xfrm>
              <a:off x="2264" y="1724"/>
              <a:ext cx="246" cy="328"/>
            </a:xfrm>
            <a:custGeom>
              <a:avLst/>
              <a:gdLst>
                <a:gd name="T0" fmla="*/ 4 w 130"/>
                <a:gd name="T1" fmla="*/ 48 h 173"/>
                <a:gd name="T2" fmla="*/ 56 w 130"/>
                <a:gd name="T3" fmla="*/ 97 h 173"/>
                <a:gd name="T4" fmla="*/ 57 w 130"/>
                <a:gd name="T5" fmla="*/ 98 h 173"/>
                <a:gd name="T6" fmla="*/ 101 w 130"/>
                <a:gd name="T7" fmla="*/ 124 h 173"/>
                <a:gd name="T8" fmla="*/ 66 w 130"/>
                <a:gd name="T9" fmla="*/ 146 h 173"/>
                <a:gd name="T10" fmla="*/ 30 w 130"/>
                <a:gd name="T11" fmla="*/ 118 h 173"/>
                <a:gd name="T12" fmla="*/ 26 w 130"/>
                <a:gd name="T13" fmla="*/ 114 h 173"/>
                <a:gd name="T14" fmla="*/ 5 w 130"/>
                <a:gd name="T15" fmla="*/ 114 h 173"/>
                <a:gd name="T16" fmla="*/ 0 w 130"/>
                <a:gd name="T17" fmla="*/ 118 h 173"/>
                <a:gd name="T18" fmla="*/ 65 w 130"/>
                <a:gd name="T19" fmla="*/ 173 h 173"/>
                <a:gd name="T20" fmla="*/ 130 w 130"/>
                <a:gd name="T21" fmla="*/ 120 h 173"/>
                <a:gd name="T22" fmla="*/ 72 w 130"/>
                <a:gd name="T23" fmla="*/ 74 h 173"/>
                <a:gd name="T24" fmla="*/ 32 w 130"/>
                <a:gd name="T25" fmla="*/ 48 h 173"/>
                <a:gd name="T26" fmla="*/ 63 w 130"/>
                <a:gd name="T27" fmla="*/ 27 h 173"/>
                <a:gd name="T28" fmla="*/ 97 w 130"/>
                <a:gd name="T29" fmla="*/ 49 h 173"/>
                <a:gd name="T30" fmla="*/ 102 w 130"/>
                <a:gd name="T31" fmla="*/ 53 h 173"/>
                <a:gd name="T32" fmla="*/ 120 w 130"/>
                <a:gd name="T33" fmla="*/ 53 h 173"/>
                <a:gd name="T34" fmla="*/ 125 w 130"/>
                <a:gd name="T35" fmla="*/ 48 h 173"/>
                <a:gd name="T36" fmla="*/ 63 w 130"/>
                <a:gd name="T37" fmla="*/ 0 h 173"/>
                <a:gd name="T38" fmla="*/ 4 w 130"/>
                <a:gd name="T39" fmla="*/ 4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173">
                  <a:moveTo>
                    <a:pt x="4" y="48"/>
                  </a:moveTo>
                  <a:cubicBezTo>
                    <a:pt x="4" y="77"/>
                    <a:pt x="19" y="91"/>
                    <a:pt x="56" y="97"/>
                  </a:cubicBezTo>
                  <a:cubicBezTo>
                    <a:pt x="57" y="98"/>
                    <a:pt x="57" y="98"/>
                    <a:pt x="57" y="98"/>
                  </a:cubicBezTo>
                  <a:cubicBezTo>
                    <a:pt x="83" y="102"/>
                    <a:pt x="101" y="105"/>
                    <a:pt x="101" y="124"/>
                  </a:cubicBezTo>
                  <a:cubicBezTo>
                    <a:pt x="101" y="139"/>
                    <a:pt x="83" y="146"/>
                    <a:pt x="66" y="146"/>
                  </a:cubicBezTo>
                  <a:cubicBezTo>
                    <a:pt x="46" y="146"/>
                    <a:pt x="33" y="136"/>
                    <a:pt x="30" y="118"/>
                  </a:cubicBezTo>
                  <a:cubicBezTo>
                    <a:pt x="30" y="116"/>
                    <a:pt x="29" y="114"/>
                    <a:pt x="26" y="114"/>
                  </a:cubicBezTo>
                  <a:cubicBezTo>
                    <a:pt x="5" y="114"/>
                    <a:pt x="5" y="114"/>
                    <a:pt x="5" y="114"/>
                  </a:cubicBezTo>
                  <a:cubicBezTo>
                    <a:pt x="2" y="114"/>
                    <a:pt x="0" y="116"/>
                    <a:pt x="0" y="118"/>
                  </a:cubicBezTo>
                  <a:cubicBezTo>
                    <a:pt x="0" y="150"/>
                    <a:pt x="27" y="173"/>
                    <a:pt x="65" y="173"/>
                  </a:cubicBezTo>
                  <a:cubicBezTo>
                    <a:pt x="104" y="173"/>
                    <a:pt x="130" y="151"/>
                    <a:pt x="130" y="120"/>
                  </a:cubicBezTo>
                  <a:cubicBezTo>
                    <a:pt x="130" y="86"/>
                    <a:pt x="100" y="79"/>
                    <a:pt x="72" y="74"/>
                  </a:cubicBezTo>
                  <a:cubicBezTo>
                    <a:pt x="37" y="68"/>
                    <a:pt x="32" y="58"/>
                    <a:pt x="32" y="48"/>
                  </a:cubicBezTo>
                  <a:cubicBezTo>
                    <a:pt x="32" y="32"/>
                    <a:pt x="49" y="27"/>
                    <a:pt x="63" y="27"/>
                  </a:cubicBezTo>
                  <a:cubicBezTo>
                    <a:pt x="82" y="27"/>
                    <a:pt x="94" y="34"/>
                    <a:pt x="97" y="49"/>
                  </a:cubicBezTo>
                  <a:cubicBezTo>
                    <a:pt x="98" y="51"/>
                    <a:pt x="98" y="53"/>
                    <a:pt x="102" y="53"/>
                  </a:cubicBezTo>
                  <a:cubicBezTo>
                    <a:pt x="120" y="53"/>
                    <a:pt x="120" y="53"/>
                    <a:pt x="120" y="53"/>
                  </a:cubicBezTo>
                  <a:cubicBezTo>
                    <a:pt x="123" y="53"/>
                    <a:pt x="125" y="51"/>
                    <a:pt x="125" y="48"/>
                  </a:cubicBezTo>
                  <a:cubicBezTo>
                    <a:pt x="125" y="19"/>
                    <a:pt x="100" y="0"/>
                    <a:pt x="63" y="0"/>
                  </a:cubicBezTo>
                  <a:cubicBezTo>
                    <a:pt x="22" y="0"/>
                    <a:pt x="4" y="25"/>
                    <a:pt x="4" y="4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a:p>
          </p:txBody>
        </p:sp>
        <p:sp>
          <p:nvSpPr>
            <p:cNvPr id="13" name="Freeform 10">
              <a:extLst>
                <a:ext uri="{FF2B5EF4-FFF2-40B4-BE49-F238E27FC236}">
                  <a16:creationId xmlns:a16="http://schemas.microsoft.com/office/drawing/2014/main" id="{285FBA9D-B6C7-4BE7-90DC-3572BFC95303}"/>
                </a:ext>
              </a:extLst>
            </p:cNvPr>
            <p:cNvSpPr>
              <a:spLocks/>
            </p:cNvSpPr>
            <p:nvPr userDrawn="1"/>
          </p:nvSpPr>
          <p:spPr bwMode="auto">
            <a:xfrm>
              <a:off x="3062" y="1722"/>
              <a:ext cx="312" cy="474"/>
            </a:xfrm>
            <a:custGeom>
              <a:avLst/>
              <a:gdLst>
                <a:gd name="T0" fmla="*/ 67 w 165"/>
                <a:gd name="T1" fmla="*/ 0 h 250"/>
                <a:gd name="T2" fmla="*/ 0 w 165"/>
                <a:gd name="T3" fmla="*/ 86 h 250"/>
                <a:gd name="T4" fmla="*/ 82 w 165"/>
                <a:gd name="T5" fmla="*/ 174 h 250"/>
                <a:gd name="T6" fmla="*/ 137 w 165"/>
                <a:gd name="T7" fmla="*/ 152 h 250"/>
                <a:gd name="T8" fmla="*/ 137 w 165"/>
                <a:gd name="T9" fmla="*/ 173 h 250"/>
                <a:gd name="T10" fmla="*/ 89 w 165"/>
                <a:gd name="T11" fmla="*/ 222 h 250"/>
                <a:gd name="T12" fmla="*/ 48 w 165"/>
                <a:gd name="T13" fmla="*/ 194 h 250"/>
                <a:gd name="T14" fmla="*/ 43 w 165"/>
                <a:gd name="T15" fmla="*/ 190 h 250"/>
                <a:gd name="T16" fmla="*/ 24 w 165"/>
                <a:gd name="T17" fmla="*/ 190 h 250"/>
                <a:gd name="T18" fmla="*/ 19 w 165"/>
                <a:gd name="T19" fmla="*/ 195 h 250"/>
                <a:gd name="T20" fmla="*/ 89 w 165"/>
                <a:gd name="T21" fmla="*/ 250 h 250"/>
                <a:gd name="T22" fmla="*/ 165 w 165"/>
                <a:gd name="T23" fmla="*/ 174 h 250"/>
                <a:gd name="T24" fmla="*/ 165 w 165"/>
                <a:gd name="T25" fmla="*/ 7 h 250"/>
                <a:gd name="T26" fmla="*/ 162 w 165"/>
                <a:gd name="T27" fmla="*/ 4 h 250"/>
                <a:gd name="T28" fmla="*/ 140 w 165"/>
                <a:gd name="T29" fmla="*/ 4 h 250"/>
                <a:gd name="T30" fmla="*/ 137 w 165"/>
                <a:gd name="T31" fmla="*/ 7 h 250"/>
                <a:gd name="T32" fmla="*/ 137 w 165"/>
                <a:gd name="T33" fmla="*/ 21 h 250"/>
                <a:gd name="T34" fmla="*/ 99 w 165"/>
                <a:gd name="T35" fmla="*/ 0 h 250"/>
                <a:gd name="T36" fmla="*/ 96 w 165"/>
                <a:gd name="T37" fmla="*/ 3 h 250"/>
                <a:gd name="T38" fmla="*/ 96 w 165"/>
                <a:gd name="T39" fmla="*/ 28 h 250"/>
                <a:gd name="T40" fmla="*/ 97 w 165"/>
                <a:gd name="T41" fmla="*/ 31 h 250"/>
                <a:gd name="T42" fmla="*/ 138 w 165"/>
                <a:gd name="T43" fmla="*/ 87 h 250"/>
                <a:gd name="T44" fmla="*/ 83 w 165"/>
                <a:gd name="T45" fmla="*/ 146 h 250"/>
                <a:gd name="T46" fmla="*/ 29 w 165"/>
                <a:gd name="T47" fmla="*/ 87 h 250"/>
                <a:gd name="T48" fmla="*/ 68 w 165"/>
                <a:gd name="T49" fmla="*/ 31 h 250"/>
                <a:gd name="T50" fmla="*/ 70 w 165"/>
                <a:gd name="T51" fmla="*/ 29 h 250"/>
                <a:gd name="T52" fmla="*/ 70 w 165"/>
                <a:gd name="T53" fmla="*/ 3 h 250"/>
                <a:gd name="T54" fmla="*/ 67 w 165"/>
                <a:gd name="T55" fmla="*/ 0 h 250"/>
                <a:gd name="T56" fmla="*/ 67 w 165"/>
                <a:gd name="T57"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5" h="250">
                  <a:moveTo>
                    <a:pt x="67" y="0"/>
                  </a:moveTo>
                  <a:cubicBezTo>
                    <a:pt x="29" y="8"/>
                    <a:pt x="0" y="44"/>
                    <a:pt x="0" y="86"/>
                  </a:cubicBezTo>
                  <a:cubicBezTo>
                    <a:pt x="0" y="135"/>
                    <a:pt x="37" y="174"/>
                    <a:pt x="82" y="174"/>
                  </a:cubicBezTo>
                  <a:cubicBezTo>
                    <a:pt x="103" y="174"/>
                    <a:pt x="122" y="166"/>
                    <a:pt x="137" y="152"/>
                  </a:cubicBezTo>
                  <a:cubicBezTo>
                    <a:pt x="137" y="173"/>
                    <a:pt x="137" y="173"/>
                    <a:pt x="137" y="173"/>
                  </a:cubicBezTo>
                  <a:cubicBezTo>
                    <a:pt x="137" y="205"/>
                    <a:pt x="120" y="222"/>
                    <a:pt x="89" y="222"/>
                  </a:cubicBezTo>
                  <a:cubicBezTo>
                    <a:pt x="66" y="222"/>
                    <a:pt x="52" y="213"/>
                    <a:pt x="48" y="194"/>
                  </a:cubicBezTo>
                  <a:cubicBezTo>
                    <a:pt x="47" y="192"/>
                    <a:pt x="46" y="190"/>
                    <a:pt x="43" y="190"/>
                  </a:cubicBezTo>
                  <a:cubicBezTo>
                    <a:pt x="24" y="190"/>
                    <a:pt x="24" y="190"/>
                    <a:pt x="24" y="190"/>
                  </a:cubicBezTo>
                  <a:cubicBezTo>
                    <a:pt x="21" y="190"/>
                    <a:pt x="19" y="192"/>
                    <a:pt x="19" y="195"/>
                  </a:cubicBezTo>
                  <a:cubicBezTo>
                    <a:pt x="22" y="228"/>
                    <a:pt x="51" y="250"/>
                    <a:pt x="89" y="250"/>
                  </a:cubicBezTo>
                  <a:cubicBezTo>
                    <a:pt x="135" y="250"/>
                    <a:pt x="165" y="219"/>
                    <a:pt x="165" y="174"/>
                  </a:cubicBezTo>
                  <a:cubicBezTo>
                    <a:pt x="165" y="7"/>
                    <a:pt x="165" y="7"/>
                    <a:pt x="165" y="7"/>
                  </a:cubicBezTo>
                  <a:cubicBezTo>
                    <a:pt x="165" y="5"/>
                    <a:pt x="164" y="4"/>
                    <a:pt x="162" y="4"/>
                  </a:cubicBezTo>
                  <a:cubicBezTo>
                    <a:pt x="140" y="4"/>
                    <a:pt x="140" y="4"/>
                    <a:pt x="140" y="4"/>
                  </a:cubicBezTo>
                  <a:cubicBezTo>
                    <a:pt x="138" y="4"/>
                    <a:pt x="137" y="5"/>
                    <a:pt x="137" y="7"/>
                  </a:cubicBezTo>
                  <a:cubicBezTo>
                    <a:pt x="137" y="21"/>
                    <a:pt x="137" y="21"/>
                    <a:pt x="137" y="21"/>
                  </a:cubicBezTo>
                  <a:cubicBezTo>
                    <a:pt x="126" y="11"/>
                    <a:pt x="113" y="4"/>
                    <a:pt x="99" y="0"/>
                  </a:cubicBezTo>
                  <a:cubicBezTo>
                    <a:pt x="97" y="0"/>
                    <a:pt x="96" y="1"/>
                    <a:pt x="96" y="3"/>
                  </a:cubicBezTo>
                  <a:cubicBezTo>
                    <a:pt x="96" y="28"/>
                    <a:pt x="96" y="28"/>
                    <a:pt x="96" y="28"/>
                  </a:cubicBezTo>
                  <a:cubicBezTo>
                    <a:pt x="96" y="29"/>
                    <a:pt x="96" y="30"/>
                    <a:pt x="97" y="31"/>
                  </a:cubicBezTo>
                  <a:cubicBezTo>
                    <a:pt x="121" y="37"/>
                    <a:pt x="138" y="60"/>
                    <a:pt x="138" y="87"/>
                  </a:cubicBezTo>
                  <a:cubicBezTo>
                    <a:pt x="138" y="119"/>
                    <a:pt x="114" y="146"/>
                    <a:pt x="83" y="146"/>
                  </a:cubicBezTo>
                  <a:cubicBezTo>
                    <a:pt x="53" y="146"/>
                    <a:pt x="29" y="119"/>
                    <a:pt x="29" y="87"/>
                  </a:cubicBezTo>
                  <a:cubicBezTo>
                    <a:pt x="29" y="61"/>
                    <a:pt x="45" y="38"/>
                    <a:pt x="68" y="31"/>
                  </a:cubicBezTo>
                  <a:cubicBezTo>
                    <a:pt x="69" y="31"/>
                    <a:pt x="70" y="30"/>
                    <a:pt x="70" y="29"/>
                  </a:cubicBezTo>
                  <a:cubicBezTo>
                    <a:pt x="70" y="3"/>
                    <a:pt x="70" y="3"/>
                    <a:pt x="70" y="3"/>
                  </a:cubicBezTo>
                  <a:cubicBezTo>
                    <a:pt x="70" y="1"/>
                    <a:pt x="69" y="0"/>
                    <a:pt x="67" y="0"/>
                  </a:cubicBezTo>
                  <a:cubicBezTo>
                    <a:pt x="67" y="0"/>
                    <a:pt x="67" y="0"/>
                    <a:pt x="6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a:p>
          </p:txBody>
        </p:sp>
        <p:sp>
          <p:nvSpPr>
            <p:cNvPr id="14" name="Oval 11">
              <a:extLst>
                <a:ext uri="{FF2B5EF4-FFF2-40B4-BE49-F238E27FC236}">
                  <a16:creationId xmlns:a16="http://schemas.microsoft.com/office/drawing/2014/main" id="{48DD9144-12C1-4B89-9F6D-92B4361D96B3}"/>
                </a:ext>
              </a:extLst>
            </p:cNvPr>
            <p:cNvSpPr>
              <a:spLocks noChangeArrowheads="1"/>
            </p:cNvSpPr>
            <p:nvPr userDrawn="1"/>
          </p:nvSpPr>
          <p:spPr bwMode="auto">
            <a:xfrm>
              <a:off x="284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a:p>
          </p:txBody>
        </p:sp>
        <p:sp>
          <p:nvSpPr>
            <p:cNvPr id="15" name="Oval 12">
              <a:extLst>
                <a:ext uri="{FF2B5EF4-FFF2-40B4-BE49-F238E27FC236}">
                  <a16:creationId xmlns:a16="http://schemas.microsoft.com/office/drawing/2014/main" id="{01B98C09-7AAE-43C7-82DE-9DB278B02F42}"/>
                </a:ext>
              </a:extLst>
            </p:cNvPr>
            <p:cNvSpPr>
              <a:spLocks noChangeArrowheads="1"/>
            </p:cNvSpPr>
            <p:nvPr userDrawn="1"/>
          </p:nvSpPr>
          <p:spPr bwMode="auto">
            <a:xfrm>
              <a:off x="387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a:p>
          </p:txBody>
        </p:sp>
        <p:sp>
          <p:nvSpPr>
            <p:cNvPr id="16" name="Freeform 13">
              <a:extLst>
                <a:ext uri="{FF2B5EF4-FFF2-40B4-BE49-F238E27FC236}">
                  <a16:creationId xmlns:a16="http://schemas.microsoft.com/office/drawing/2014/main" id="{DF4FD3F7-7AD2-4CA4-8D7C-34E6C136A5E6}"/>
                </a:ext>
              </a:extLst>
            </p:cNvPr>
            <p:cNvSpPr>
              <a:spLocks/>
            </p:cNvSpPr>
            <p:nvPr userDrawn="1"/>
          </p:nvSpPr>
          <p:spPr bwMode="auto">
            <a:xfrm>
              <a:off x="4062" y="1584"/>
              <a:ext cx="242" cy="462"/>
            </a:xfrm>
            <a:custGeom>
              <a:avLst/>
              <a:gdLst>
                <a:gd name="T0" fmla="*/ 39 w 128"/>
                <a:gd name="T1" fmla="*/ 55 h 244"/>
                <a:gd name="T2" fmla="*/ 39 w 128"/>
                <a:gd name="T3" fmla="*/ 76 h 244"/>
                <a:gd name="T4" fmla="*/ 4 w 128"/>
                <a:gd name="T5" fmla="*/ 76 h 244"/>
                <a:gd name="T6" fmla="*/ 0 w 128"/>
                <a:gd name="T7" fmla="*/ 81 h 244"/>
                <a:gd name="T8" fmla="*/ 0 w 128"/>
                <a:gd name="T9" fmla="*/ 99 h 244"/>
                <a:gd name="T10" fmla="*/ 4 w 128"/>
                <a:gd name="T11" fmla="*/ 103 h 244"/>
                <a:gd name="T12" fmla="*/ 39 w 128"/>
                <a:gd name="T13" fmla="*/ 103 h 244"/>
                <a:gd name="T14" fmla="*/ 39 w 128"/>
                <a:gd name="T15" fmla="*/ 239 h 244"/>
                <a:gd name="T16" fmla="*/ 44 w 128"/>
                <a:gd name="T17" fmla="*/ 244 h 244"/>
                <a:gd name="T18" fmla="*/ 62 w 128"/>
                <a:gd name="T19" fmla="*/ 244 h 244"/>
                <a:gd name="T20" fmla="*/ 67 w 128"/>
                <a:gd name="T21" fmla="*/ 239 h 244"/>
                <a:gd name="T22" fmla="*/ 67 w 128"/>
                <a:gd name="T23" fmla="*/ 103 h 244"/>
                <a:gd name="T24" fmla="*/ 120 w 128"/>
                <a:gd name="T25" fmla="*/ 103 h 244"/>
                <a:gd name="T26" fmla="*/ 125 w 128"/>
                <a:gd name="T27" fmla="*/ 99 h 244"/>
                <a:gd name="T28" fmla="*/ 125 w 128"/>
                <a:gd name="T29" fmla="*/ 81 h 244"/>
                <a:gd name="T30" fmla="*/ 120 w 128"/>
                <a:gd name="T31" fmla="*/ 76 h 244"/>
                <a:gd name="T32" fmla="*/ 67 w 128"/>
                <a:gd name="T33" fmla="*/ 76 h 244"/>
                <a:gd name="T34" fmla="*/ 67 w 128"/>
                <a:gd name="T35" fmla="*/ 55 h 244"/>
                <a:gd name="T36" fmla="*/ 91 w 128"/>
                <a:gd name="T37" fmla="*/ 27 h 244"/>
                <a:gd name="T38" fmla="*/ 122 w 128"/>
                <a:gd name="T39" fmla="*/ 37 h 244"/>
                <a:gd name="T40" fmla="*/ 125 w 128"/>
                <a:gd name="T41" fmla="*/ 38 h 244"/>
                <a:gd name="T42" fmla="*/ 128 w 128"/>
                <a:gd name="T43" fmla="*/ 33 h 244"/>
                <a:gd name="T44" fmla="*/ 128 w 128"/>
                <a:gd name="T45" fmla="*/ 16 h 244"/>
                <a:gd name="T46" fmla="*/ 125 w 128"/>
                <a:gd name="T47" fmla="*/ 9 h 244"/>
                <a:gd name="T48" fmla="*/ 89 w 128"/>
                <a:gd name="T49" fmla="*/ 0 h 244"/>
                <a:gd name="T50" fmla="*/ 39 w 128"/>
                <a:gd name="T51" fmla="*/ 5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244">
                  <a:moveTo>
                    <a:pt x="39" y="55"/>
                  </a:moveTo>
                  <a:cubicBezTo>
                    <a:pt x="39" y="76"/>
                    <a:pt x="39" y="76"/>
                    <a:pt x="39" y="76"/>
                  </a:cubicBezTo>
                  <a:cubicBezTo>
                    <a:pt x="4" y="76"/>
                    <a:pt x="4" y="76"/>
                    <a:pt x="4" y="76"/>
                  </a:cubicBezTo>
                  <a:cubicBezTo>
                    <a:pt x="1" y="76"/>
                    <a:pt x="0" y="78"/>
                    <a:pt x="0" y="81"/>
                  </a:cubicBezTo>
                  <a:cubicBezTo>
                    <a:pt x="0" y="99"/>
                    <a:pt x="0" y="99"/>
                    <a:pt x="0" y="99"/>
                  </a:cubicBezTo>
                  <a:cubicBezTo>
                    <a:pt x="0" y="102"/>
                    <a:pt x="1" y="103"/>
                    <a:pt x="4" y="103"/>
                  </a:cubicBezTo>
                  <a:cubicBezTo>
                    <a:pt x="39" y="103"/>
                    <a:pt x="39" y="103"/>
                    <a:pt x="39" y="103"/>
                  </a:cubicBezTo>
                  <a:cubicBezTo>
                    <a:pt x="39" y="239"/>
                    <a:pt x="39" y="239"/>
                    <a:pt x="39" y="239"/>
                  </a:cubicBezTo>
                  <a:cubicBezTo>
                    <a:pt x="39" y="242"/>
                    <a:pt x="41" y="244"/>
                    <a:pt x="44" y="244"/>
                  </a:cubicBezTo>
                  <a:cubicBezTo>
                    <a:pt x="62" y="244"/>
                    <a:pt x="62" y="244"/>
                    <a:pt x="62" y="244"/>
                  </a:cubicBezTo>
                  <a:cubicBezTo>
                    <a:pt x="65" y="244"/>
                    <a:pt x="67" y="242"/>
                    <a:pt x="67" y="239"/>
                  </a:cubicBezTo>
                  <a:cubicBezTo>
                    <a:pt x="67" y="103"/>
                    <a:pt x="67" y="103"/>
                    <a:pt x="67" y="103"/>
                  </a:cubicBezTo>
                  <a:cubicBezTo>
                    <a:pt x="120" y="103"/>
                    <a:pt x="120" y="103"/>
                    <a:pt x="120" y="103"/>
                  </a:cubicBezTo>
                  <a:cubicBezTo>
                    <a:pt x="123" y="103"/>
                    <a:pt x="125" y="102"/>
                    <a:pt x="125" y="99"/>
                  </a:cubicBezTo>
                  <a:cubicBezTo>
                    <a:pt x="125" y="81"/>
                    <a:pt x="125" y="81"/>
                    <a:pt x="125" y="81"/>
                  </a:cubicBezTo>
                  <a:cubicBezTo>
                    <a:pt x="125" y="78"/>
                    <a:pt x="123" y="76"/>
                    <a:pt x="120" y="76"/>
                  </a:cubicBezTo>
                  <a:cubicBezTo>
                    <a:pt x="67" y="76"/>
                    <a:pt x="67" y="76"/>
                    <a:pt x="67" y="76"/>
                  </a:cubicBezTo>
                  <a:cubicBezTo>
                    <a:pt x="67" y="55"/>
                    <a:pt x="67" y="55"/>
                    <a:pt x="67" y="55"/>
                  </a:cubicBezTo>
                  <a:cubicBezTo>
                    <a:pt x="67" y="38"/>
                    <a:pt x="76" y="27"/>
                    <a:pt x="91" y="27"/>
                  </a:cubicBezTo>
                  <a:cubicBezTo>
                    <a:pt x="102" y="27"/>
                    <a:pt x="110" y="30"/>
                    <a:pt x="122" y="37"/>
                  </a:cubicBezTo>
                  <a:cubicBezTo>
                    <a:pt x="123" y="38"/>
                    <a:pt x="124" y="38"/>
                    <a:pt x="125" y="38"/>
                  </a:cubicBezTo>
                  <a:cubicBezTo>
                    <a:pt x="127" y="38"/>
                    <a:pt x="128" y="36"/>
                    <a:pt x="128" y="33"/>
                  </a:cubicBezTo>
                  <a:cubicBezTo>
                    <a:pt x="128" y="16"/>
                    <a:pt x="128" y="16"/>
                    <a:pt x="128" y="16"/>
                  </a:cubicBezTo>
                  <a:cubicBezTo>
                    <a:pt x="128" y="13"/>
                    <a:pt x="128" y="11"/>
                    <a:pt x="125" y="9"/>
                  </a:cubicBezTo>
                  <a:cubicBezTo>
                    <a:pt x="114" y="3"/>
                    <a:pt x="103" y="0"/>
                    <a:pt x="89" y="0"/>
                  </a:cubicBezTo>
                  <a:cubicBezTo>
                    <a:pt x="54" y="0"/>
                    <a:pt x="39" y="29"/>
                    <a:pt x="39"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a:p>
          </p:txBody>
        </p:sp>
        <p:sp>
          <p:nvSpPr>
            <p:cNvPr id="17" name="Freeform 14">
              <a:extLst>
                <a:ext uri="{FF2B5EF4-FFF2-40B4-BE49-F238E27FC236}">
                  <a16:creationId xmlns:a16="http://schemas.microsoft.com/office/drawing/2014/main" id="{E3F74A4C-3F35-49ED-8FDB-98270CD3D01E}"/>
                </a:ext>
              </a:extLst>
            </p:cNvPr>
            <p:cNvSpPr>
              <a:spLocks/>
            </p:cNvSpPr>
            <p:nvPr userDrawn="1"/>
          </p:nvSpPr>
          <p:spPr bwMode="auto">
            <a:xfrm>
              <a:off x="2071" y="1578"/>
              <a:ext cx="632" cy="631"/>
            </a:xfrm>
            <a:custGeom>
              <a:avLst/>
              <a:gdLst>
                <a:gd name="T0" fmla="*/ 181 w 334"/>
                <a:gd name="T1" fmla="*/ 1 h 333"/>
                <a:gd name="T2" fmla="*/ 180 w 334"/>
                <a:gd name="T3" fmla="*/ 4 h 333"/>
                <a:gd name="T4" fmla="*/ 180 w 334"/>
                <a:gd name="T5" fmla="*/ 26 h 333"/>
                <a:gd name="T6" fmla="*/ 180 w 334"/>
                <a:gd name="T7" fmla="*/ 26 h 333"/>
                <a:gd name="T8" fmla="*/ 182 w 334"/>
                <a:gd name="T9" fmla="*/ 28 h 333"/>
                <a:gd name="T10" fmla="*/ 306 w 334"/>
                <a:gd name="T11" fmla="*/ 166 h 333"/>
                <a:gd name="T12" fmla="*/ 167 w 334"/>
                <a:gd name="T13" fmla="*/ 305 h 333"/>
                <a:gd name="T14" fmla="*/ 28 w 334"/>
                <a:gd name="T15" fmla="*/ 166 h 333"/>
                <a:gd name="T16" fmla="*/ 152 w 334"/>
                <a:gd name="T17" fmla="*/ 28 h 333"/>
                <a:gd name="T18" fmla="*/ 154 w 334"/>
                <a:gd name="T19" fmla="*/ 26 h 333"/>
                <a:gd name="T20" fmla="*/ 154 w 334"/>
                <a:gd name="T21" fmla="*/ 26 h 333"/>
                <a:gd name="T22" fmla="*/ 154 w 334"/>
                <a:gd name="T23" fmla="*/ 4 h 333"/>
                <a:gd name="T24" fmla="*/ 153 w 334"/>
                <a:gd name="T25" fmla="*/ 1 h 333"/>
                <a:gd name="T26" fmla="*/ 150 w 334"/>
                <a:gd name="T27" fmla="*/ 0 h 333"/>
                <a:gd name="T28" fmla="*/ 149 w 334"/>
                <a:gd name="T29" fmla="*/ 0 h 333"/>
                <a:gd name="T30" fmla="*/ 149 w 334"/>
                <a:gd name="T31" fmla="*/ 0 h 333"/>
                <a:gd name="T32" fmla="*/ 0 w 334"/>
                <a:gd name="T33" fmla="*/ 166 h 333"/>
                <a:gd name="T34" fmla="*/ 167 w 334"/>
                <a:gd name="T35" fmla="*/ 333 h 333"/>
                <a:gd name="T36" fmla="*/ 334 w 334"/>
                <a:gd name="T37" fmla="*/ 166 h 333"/>
                <a:gd name="T38" fmla="*/ 185 w 334"/>
                <a:gd name="T39" fmla="*/ 0 h 333"/>
                <a:gd name="T40" fmla="*/ 185 w 334"/>
                <a:gd name="T41" fmla="*/ 0 h 333"/>
                <a:gd name="T42" fmla="*/ 184 w 334"/>
                <a:gd name="T43" fmla="*/ 0 h 333"/>
                <a:gd name="T44" fmla="*/ 181 w 334"/>
                <a:gd name="T45" fmla="*/ 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4" h="333">
                  <a:moveTo>
                    <a:pt x="181" y="1"/>
                  </a:moveTo>
                  <a:cubicBezTo>
                    <a:pt x="180" y="2"/>
                    <a:pt x="180" y="3"/>
                    <a:pt x="180" y="4"/>
                  </a:cubicBezTo>
                  <a:cubicBezTo>
                    <a:pt x="180" y="26"/>
                    <a:pt x="180" y="26"/>
                    <a:pt x="180" y="26"/>
                  </a:cubicBezTo>
                  <a:cubicBezTo>
                    <a:pt x="180" y="26"/>
                    <a:pt x="180" y="26"/>
                    <a:pt x="180" y="26"/>
                  </a:cubicBezTo>
                  <a:cubicBezTo>
                    <a:pt x="180" y="27"/>
                    <a:pt x="181" y="28"/>
                    <a:pt x="182" y="28"/>
                  </a:cubicBezTo>
                  <a:cubicBezTo>
                    <a:pt x="251" y="35"/>
                    <a:pt x="306" y="94"/>
                    <a:pt x="306" y="166"/>
                  </a:cubicBezTo>
                  <a:cubicBezTo>
                    <a:pt x="306" y="243"/>
                    <a:pt x="244" y="305"/>
                    <a:pt x="167" y="305"/>
                  </a:cubicBezTo>
                  <a:cubicBezTo>
                    <a:pt x="90" y="305"/>
                    <a:pt x="28" y="243"/>
                    <a:pt x="28" y="166"/>
                  </a:cubicBezTo>
                  <a:cubicBezTo>
                    <a:pt x="28" y="94"/>
                    <a:pt x="82" y="35"/>
                    <a:pt x="152" y="28"/>
                  </a:cubicBezTo>
                  <a:cubicBezTo>
                    <a:pt x="153" y="28"/>
                    <a:pt x="154" y="27"/>
                    <a:pt x="154" y="26"/>
                  </a:cubicBezTo>
                  <a:cubicBezTo>
                    <a:pt x="154" y="26"/>
                    <a:pt x="154" y="26"/>
                    <a:pt x="154" y="26"/>
                  </a:cubicBezTo>
                  <a:cubicBezTo>
                    <a:pt x="154" y="4"/>
                    <a:pt x="154" y="4"/>
                    <a:pt x="154" y="4"/>
                  </a:cubicBezTo>
                  <a:cubicBezTo>
                    <a:pt x="154" y="3"/>
                    <a:pt x="154" y="2"/>
                    <a:pt x="153" y="1"/>
                  </a:cubicBezTo>
                  <a:cubicBezTo>
                    <a:pt x="152" y="0"/>
                    <a:pt x="151" y="0"/>
                    <a:pt x="150" y="0"/>
                  </a:cubicBezTo>
                  <a:cubicBezTo>
                    <a:pt x="149" y="0"/>
                    <a:pt x="149" y="0"/>
                    <a:pt x="149" y="0"/>
                  </a:cubicBezTo>
                  <a:cubicBezTo>
                    <a:pt x="149" y="0"/>
                    <a:pt x="149" y="0"/>
                    <a:pt x="149" y="0"/>
                  </a:cubicBezTo>
                  <a:cubicBezTo>
                    <a:pt x="65" y="9"/>
                    <a:pt x="0" y="80"/>
                    <a:pt x="0" y="166"/>
                  </a:cubicBezTo>
                  <a:cubicBezTo>
                    <a:pt x="0" y="258"/>
                    <a:pt x="75" y="333"/>
                    <a:pt x="167" y="333"/>
                  </a:cubicBezTo>
                  <a:cubicBezTo>
                    <a:pt x="259" y="333"/>
                    <a:pt x="334" y="258"/>
                    <a:pt x="334" y="166"/>
                  </a:cubicBezTo>
                  <a:cubicBezTo>
                    <a:pt x="334" y="80"/>
                    <a:pt x="269" y="9"/>
                    <a:pt x="185" y="0"/>
                  </a:cubicBezTo>
                  <a:cubicBezTo>
                    <a:pt x="185" y="0"/>
                    <a:pt x="185" y="0"/>
                    <a:pt x="185" y="0"/>
                  </a:cubicBezTo>
                  <a:cubicBezTo>
                    <a:pt x="185" y="0"/>
                    <a:pt x="184" y="0"/>
                    <a:pt x="184" y="0"/>
                  </a:cubicBezTo>
                  <a:cubicBezTo>
                    <a:pt x="183" y="0"/>
                    <a:pt x="182" y="0"/>
                    <a:pt x="18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a:p>
          </p:txBody>
        </p:sp>
      </p:grpSp>
    </p:spTree>
    <p:extLst>
      <p:ext uri="{BB962C8B-B14F-4D97-AF65-F5344CB8AC3E}">
        <p14:creationId xmlns:p14="http://schemas.microsoft.com/office/powerpoint/2010/main" val="4891016"/>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type="title" preserve="1">
  <p:cSld name="Title Slide Image">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806139"/>
            <a:ext cx="9144000" cy="3245724"/>
          </a:xfrm>
        </p:spPr>
        <p:txBody>
          <a:bodyPr anchor="ctr"/>
          <a:lstStyle>
            <a:lvl1pPr algn="ctr">
              <a:defRPr sz="4000">
                <a:solidFill>
                  <a:schemeClr val="bg1"/>
                </a:solidFill>
              </a:defRPr>
            </a:lvl1pPr>
          </a:lstStyle>
          <a:p>
            <a:r>
              <a:rPr lang="en-US"/>
              <a:t>Click to edit Master title style</a:t>
            </a:r>
          </a:p>
        </p:txBody>
      </p:sp>
      <p:sp>
        <p:nvSpPr>
          <p:cNvPr id="3" name="Subtitle 2"/>
          <p:cNvSpPr>
            <a:spLocks noGrp="1"/>
          </p:cNvSpPr>
          <p:nvPr>
            <p:ph type="subTitle" idx="1"/>
          </p:nvPr>
        </p:nvSpPr>
        <p:spPr>
          <a:xfrm>
            <a:off x="1524000" y="5714325"/>
            <a:ext cx="9144000" cy="453754"/>
          </a:xfrm>
        </p:spPr>
        <p:txBody>
          <a:bodyPr/>
          <a:lstStyle>
            <a:lvl1pPr marL="0" indent="0" algn="ctr">
              <a:buNone/>
              <a:defRPr sz="2399">
                <a:solidFill>
                  <a:schemeClr val="bg1"/>
                </a:solidFill>
              </a:defRPr>
            </a:lvl1pPr>
            <a:lvl2pPr marL="456963" indent="0" algn="ctr">
              <a:buNone/>
              <a:defRPr sz="1999"/>
            </a:lvl2pPr>
            <a:lvl3pPr marL="913923" indent="0" algn="ctr">
              <a:buNone/>
              <a:defRPr sz="1799"/>
            </a:lvl3pPr>
            <a:lvl4pPr marL="1370889" indent="0" algn="ctr">
              <a:buNone/>
              <a:defRPr sz="1599"/>
            </a:lvl4pPr>
            <a:lvl5pPr marL="1827852" indent="0" algn="ctr">
              <a:buNone/>
              <a:defRPr sz="1599"/>
            </a:lvl5pPr>
            <a:lvl6pPr marL="2284812" indent="0" algn="ctr">
              <a:buNone/>
              <a:defRPr sz="1599"/>
            </a:lvl6pPr>
            <a:lvl7pPr marL="2741775" indent="0" algn="ctr">
              <a:buNone/>
              <a:defRPr sz="1599"/>
            </a:lvl7pPr>
            <a:lvl8pPr marL="3198740" indent="0" algn="ctr">
              <a:buNone/>
              <a:defRPr sz="1599"/>
            </a:lvl8pPr>
            <a:lvl9pPr marL="3655703" indent="0" algn="ctr">
              <a:buNone/>
              <a:defRPr sz="1599"/>
            </a:lvl9pPr>
          </a:lstStyle>
          <a:p>
            <a:r>
              <a:rPr lang="en-US"/>
              <a:t>Click to edit Master subtitle style</a:t>
            </a:r>
          </a:p>
        </p:txBody>
      </p:sp>
      <p:grpSp>
        <p:nvGrpSpPr>
          <p:cNvPr id="7" name="Group 4">
            <a:extLst>
              <a:ext uri="{FF2B5EF4-FFF2-40B4-BE49-F238E27FC236}">
                <a16:creationId xmlns:a16="http://schemas.microsoft.com/office/drawing/2014/main" id="{70F54715-A93F-4896-93D9-0F87EC2FA633}"/>
              </a:ext>
            </a:extLst>
          </p:cNvPr>
          <p:cNvGrpSpPr>
            <a:grpSpLocks noChangeAspect="1"/>
          </p:cNvGrpSpPr>
          <p:nvPr userDrawn="1"/>
        </p:nvGrpSpPr>
        <p:grpSpPr bwMode="auto">
          <a:xfrm>
            <a:off x="4700788" y="689925"/>
            <a:ext cx="2793600" cy="681042"/>
            <a:chOff x="2071" y="1578"/>
            <a:chExt cx="2587" cy="631"/>
          </a:xfrm>
          <a:gradFill>
            <a:gsLst>
              <a:gs pos="50000">
                <a:srgbClr val="00E487"/>
              </a:gs>
              <a:gs pos="100000">
                <a:srgbClr val="1ECBD0"/>
              </a:gs>
            </a:gsLst>
            <a:lin ang="18900000" scaled="0"/>
          </a:gradFill>
        </p:grpSpPr>
        <p:sp>
          <p:nvSpPr>
            <p:cNvPr id="8" name="Freeform 5">
              <a:extLst>
                <a:ext uri="{FF2B5EF4-FFF2-40B4-BE49-F238E27FC236}">
                  <a16:creationId xmlns:a16="http://schemas.microsoft.com/office/drawing/2014/main" id="{846B7DFA-C5E8-4F62-AD8D-4DEE7917FD7D}"/>
                </a:ext>
              </a:extLst>
            </p:cNvPr>
            <p:cNvSpPr>
              <a:spLocks/>
            </p:cNvSpPr>
            <p:nvPr userDrawn="1"/>
          </p:nvSpPr>
          <p:spPr bwMode="auto">
            <a:xfrm>
              <a:off x="2765" y="1728"/>
              <a:ext cx="244" cy="318"/>
            </a:xfrm>
            <a:custGeom>
              <a:avLst/>
              <a:gdLst>
                <a:gd name="T0" fmla="*/ 12 w 129"/>
                <a:gd name="T1" fmla="*/ 0 h 168"/>
                <a:gd name="T2" fmla="*/ 8 w 129"/>
                <a:gd name="T3" fmla="*/ 4 h 168"/>
                <a:gd name="T4" fmla="*/ 8 w 129"/>
                <a:gd name="T5" fmla="*/ 25 h 168"/>
                <a:gd name="T6" fmla="*/ 12 w 129"/>
                <a:gd name="T7" fmla="*/ 29 h 168"/>
                <a:gd name="T8" fmla="*/ 48 w 129"/>
                <a:gd name="T9" fmla="*/ 29 h 168"/>
                <a:gd name="T10" fmla="*/ 48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2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2" y="0"/>
                  </a:moveTo>
                  <a:cubicBezTo>
                    <a:pt x="9" y="0"/>
                    <a:pt x="8" y="1"/>
                    <a:pt x="8" y="4"/>
                  </a:cubicBezTo>
                  <a:cubicBezTo>
                    <a:pt x="8" y="25"/>
                    <a:pt x="8" y="25"/>
                    <a:pt x="8" y="25"/>
                  </a:cubicBezTo>
                  <a:cubicBezTo>
                    <a:pt x="8" y="27"/>
                    <a:pt x="9" y="29"/>
                    <a:pt x="12" y="29"/>
                  </a:cubicBezTo>
                  <a:cubicBezTo>
                    <a:pt x="48" y="29"/>
                    <a:pt x="48" y="29"/>
                    <a:pt x="48" y="29"/>
                  </a:cubicBezTo>
                  <a:cubicBezTo>
                    <a:pt x="48" y="140"/>
                    <a:pt x="48" y="140"/>
                    <a:pt x="48"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8" y="140"/>
                    <a:pt x="125" y="140"/>
                  </a:cubicBezTo>
                  <a:cubicBezTo>
                    <a:pt x="76" y="140"/>
                    <a:pt x="76" y="140"/>
                    <a:pt x="76" y="140"/>
                  </a:cubicBezTo>
                  <a:cubicBezTo>
                    <a:pt x="76" y="4"/>
                    <a:pt x="76" y="4"/>
                    <a:pt x="76" y="4"/>
                  </a:cubicBezTo>
                  <a:cubicBezTo>
                    <a:pt x="76" y="1"/>
                    <a:pt x="75" y="0"/>
                    <a:pt x="72" y="0"/>
                  </a:cubicBez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a:p>
          </p:txBody>
        </p:sp>
        <p:sp>
          <p:nvSpPr>
            <p:cNvPr id="9" name="Freeform 6">
              <a:extLst>
                <a:ext uri="{FF2B5EF4-FFF2-40B4-BE49-F238E27FC236}">
                  <a16:creationId xmlns:a16="http://schemas.microsoft.com/office/drawing/2014/main" id="{6ABD64B8-C9CA-4D12-BB30-52ABBBA59E99}"/>
                </a:ext>
              </a:extLst>
            </p:cNvPr>
            <p:cNvSpPr>
              <a:spLocks/>
            </p:cNvSpPr>
            <p:nvPr userDrawn="1"/>
          </p:nvSpPr>
          <p:spPr bwMode="auto">
            <a:xfrm>
              <a:off x="3798" y="1728"/>
              <a:ext cx="244" cy="318"/>
            </a:xfrm>
            <a:custGeom>
              <a:avLst/>
              <a:gdLst>
                <a:gd name="T0" fmla="*/ 11 w 129"/>
                <a:gd name="T1" fmla="*/ 0 h 168"/>
                <a:gd name="T2" fmla="*/ 8 w 129"/>
                <a:gd name="T3" fmla="*/ 4 h 168"/>
                <a:gd name="T4" fmla="*/ 8 w 129"/>
                <a:gd name="T5" fmla="*/ 25 h 168"/>
                <a:gd name="T6" fmla="*/ 11 w 129"/>
                <a:gd name="T7" fmla="*/ 29 h 168"/>
                <a:gd name="T8" fmla="*/ 47 w 129"/>
                <a:gd name="T9" fmla="*/ 29 h 168"/>
                <a:gd name="T10" fmla="*/ 47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1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1" y="0"/>
                  </a:moveTo>
                  <a:cubicBezTo>
                    <a:pt x="9" y="0"/>
                    <a:pt x="8" y="1"/>
                    <a:pt x="8" y="4"/>
                  </a:cubicBezTo>
                  <a:cubicBezTo>
                    <a:pt x="8" y="25"/>
                    <a:pt x="8" y="25"/>
                    <a:pt x="8" y="25"/>
                  </a:cubicBezTo>
                  <a:cubicBezTo>
                    <a:pt x="8" y="27"/>
                    <a:pt x="9" y="29"/>
                    <a:pt x="11" y="29"/>
                  </a:cubicBezTo>
                  <a:cubicBezTo>
                    <a:pt x="47" y="29"/>
                    <a:pt x="47" y="29"/>
                    <a:pt x="47" y="29"/>
                  </a:cubicBezTo>
                  <a:cubicBezTo>
                    <a:pt x="47" y="140"/>
                    <a:pt x="47" y="140"/>
                    <a:pt x="47"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7" y="140"/>
                    <a:pt x="125" y="140"/>
                  </a:cubicBezTo>
                  <a:cubicBezTo>
                    <a:pt x="76" y="140"/>
                    <a:pt x="76" y="140"/>
                    <a:pt x="76" y="140"/>
                  </a:cubicBezTo>
                  <a:cubicBezTo>
                    <a:pt x="76" y="4"/>
                    <a:pt x="76" y="4"/>
                    <a:pt x="76" y="4"/>
                  </a:cubicBezTo>
                  <a:cubicBezTo>
                    <a:pt x="75" y="1"/>
                    <a:pt x="74" y="0"/>
                    <a:pt x="72" y="0"/>
                  </a:cubicBez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a:p>
          </p:txBody>
        </p:sp>
        <p:sp>
          <p:nvSpPr>
            <p:cNvPr id="10" name="Freeform 7">
              <a:extLst>
                <a:ext uri="{FF2B5EF4-FFF2-40B4-BE49-F238E27FC236}">
                  <a16:creationId xmlns:a16="http://schemas.microsoft.com/office/drawing/2014/main" id="{B038732F-5EB5-436D-B40F-847E37FC0954}"/>
                </a:ext>
              </a:extLst>
            </p:cNvPr>
            <p:cNvSpPr>
              <a:spLocks/>
            </p:cNvSpPr>
            <p:nvPr userDrawn="1"/>
          </p:nvSpPr>
          <p:spPr bwMode="auto">
            <a:xfrm>
              <a:off x="4361" y="1728"/>
              <a:ext cx="297" cy="464"/>
            </a:xfrm>
            <a:custGeom>
              <a:avLst/>
              <a:gdLst>
                <a:gd name="T0" fmla="*/ 132 w 157"/>
                <a:gd name="T1" fmla="*/ 0 h 245"/>
                <a:gd name="T2" fmla="*/ 127 w 157"/>
                <a:gd name="T3" fmla="*/ 3 h 245"/>
                <a:gd name="T4" fmla="*/ 127 w 157"/>
                <a:gd name="T5" fmla="*/ 3 h 245"/>
                <a:gd name="T6" fmla="*/ 79 w 157"/>
                <a:gd name="T7" fmla="*/ 128 h 245"/>
                <a:gd name="T8" fmla="*/ 30 w 157"/>
                <a:gd name="T9" fmla="*/ 4 h 245"/>
                <a:gd name="T10" fmla="*/ 25 w 157"/>
                <a:gd name="T11" fmla="*/ 0 h 245"/>
                <a:gd name="T12" fmla="*/ 4 w 157"/>
                <a:gd name="T13" fmla="*/ 0 h 245"/>
                <a:gd name="T14" fmla="*/ 0 w 157"/>
                <a:gd name="T15" fmla="*/ 3 h 245"/>
                <a:gd name="T16" fmla="*/ 1 w 157"/>
                <a:gd name="T17" fmla="*/ 6 h 245"/>
                <a:gd name="T18" fmla="*/ 1 w 157"/>
                <a:gd name="T19" fmla="*/ 6 h 245"/>
                <a:gd name="T20" fmla="*/ 1 w 157"/>
                <a:gd name="T21" fmla="*/ 6 h 245"/>
                <a:gd name="T22" fmla="*/ 64 w 157"/>
                <a:gd name="T23" fmla="*/ 168 h 245"/>
                <a:gd name="T24" fmla="*/ 59 w 157"/>
                <a:gd name="T25" fmla="*/ 182 h 245"/>
                <a:gd name="T26" fmla="*/ 48 w 157"/>
                <a:gd name="T27" fmla="*/ 205 h 245"/>
                <a:gd name="T28" fmla="*/ 38 w 157"/>
                <a:gd name="T29" fmla="*/ 215 h 245"/>
                <a:gd name="T30" fmla="*/ 30 w 157"/>
                <a:gd name="T31" fmla="*/ 217 h 245"/>
                <a:gd name="T32" fmla="*/ 26 w 157"/>
                <a:gd name="T33" fmla="*/ 216 h 245"/>
                <a:gd name="T34" fmla="*/ 14 w 157"/>
                <a:gd name="T35" fmla="*/ 213 h 245"/>
                <a:gd name="T36" fmla="*/ 7 w 157"/>
                <a:gd name="T37" fmla="*/ 210 h 245"/>
                <a:gd name="T38" fmla="*/ 3 w 157"/>
                <a:gd name="T39" fmla="*/ 215 h 245"/>
                <a:gd name="T40" fmla="*/ 3 w 157"/>
                <a:gd name="T41" fmla="*/ 233 h 245"/>
                <a:gd name="T42" fmla="*/ 3 w 157"/>
                <a:gd name="T43" fmla="*/ 233 h 245"/>
                <a:gd name="T44" fmla="*/ 7 w 157"/>
                <a:gd name="T45" fmla="*/ 240 h 245"/>
                <a:gd name="T46" fmla="*/ 32 w 157"/>
                <a:gd name="T47" fmla="*/ 245 h 245"/>
                <a:gd name="T48" fmla="*/ 54 w 157"/>
                <a:gd name="T49" fmla="*/ 238 h 245"/>
                <a:gd name="T50" fmla="*/ 73 w 157"/>
                <a:gd name="T51" fmla="*/ 220 h 245"/>
                <a:gd name="T52" fmla="*/ 79 w 157"/>
                <a:gd name="T53" fmla="*/ 208 h 245"/>
                <a:gd name="T54" fmla="*/ 156 w 157"/>
                <a:gd name="T55" fmla="*/ 6 h 245"/>
                <a:gd name="T56" fmla="*/ 157 w 157"/>
                <a:gd name="T57" fmla="*/ 3 h 245"/>
                <a:gd name="T58" fmla="*/ 153 w 157"/>
                <a:gd name="T59" fmla="*/ 0 h 245"/>
                <a:gd name="T60" fmla="*/ 132 w 157"/>
                <a:gd name="T6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7" h="245">
                  <a:moveTo>
                    <a:pt x="132" y="0"/>
                  </a:moveTo>
                  <a:cubicBezTo>
                    <a:pt x="129" y="0"/>
                    <a:pt x="128" y="1"/>
                    <a:pt x="127" y="3"/>
                  </a:cubicBezTo>
                  <a:cubicBezTo>
                    <a:pt x="127" y="3"/>
                    <a:pt x="127" y="3"/>
                    <a:pt x="127" y="3"/>
                  </a:cubicBezTo>
                  <a:cubicBezTo>
                    <a:pt x="79" y="128"/>
                    <a:pt x="79" y="128"/>
                    <a:pt x="79" y="128"/>
                  </a:cubicBezTo>
                  <a:cubicBezTo>
                    <a:pt x="30" y="4"/>
                    <a:pt x="30" y="4"/>
                    <a:pt x="30" y="4"/>
                  </a:cubicBezTo>
                  <a:cubicBezTo>
                    <a:pt x="29" y="1"/>
                    <a:pt x="28" y="0"/>
                    <a:pt x="25" y="0"/>
                  </a:cubicBezTo>
                  <a:cubicBezTo>
                    <a:pt x="4" y="0"/>
                    <a:pt x="4" y="0"/>
                    <a:pt x="4" y="0"/>
                  </a:cubicBezTo>
                  <a:cubicBezTo>
                    <a:pt x="2" y="0"/>
                    <a:pt x="0" y="1"/>
                    <a:pt x="0" y="3"/>
                  </a:cubicBezTo>
                  <a:cubicBezTo>
                    <a:pt x="0" y="4"/>
                    <a:pt x="1" y="5"/>
                    <a:pt x="1" y="6"/>
                  </a:cubicBezTo>
                  <a:cubicBezTo>
                    <a:pt x="1" y="6"/>
                    <a:pt x="1" y="6"/>
                    <a:pt x="1" y="6"/>
                  </a:cubicBezTo>
                  <a:cubicBezTo>
                    <a:pt x="1" y="6"/>
                    <a:pt x="1" y="6"/>
                    <a:pt x="1" y="6"/>
                  </a:cubicBezTo>
                  <a:cubicBezTo>
                    <a:pt x="64" y="168"/>
                    <a:pt x="64" y="168"/>
                    <a:pt x="64" y="168"/>
                  </a:cubicBezTo>
                  <a:cubicBezTo>
                    <a:pt x="59" y="182"/>
                    <a:pt x="59" y="182"/>
                    <a:pt x="59" y="182"/>
                  </a:cubicBezTo>
                  <a:cubicBezTo>
                    <a:pt x="57" y="187"/>
                    <a:pt x="53" y="199"/>
                    <a:pt x="48" y="205"/>
                  </a:cubicBezTo>
                  <a:cubicBezTo>
                    <a:pt x="44" y="211"/>
                    <a:pt x="42" y="213"/>
                    <a:pt x="38" y="215"/>
                  </a:cubicBezTo>
                  <a:cubicBezTo>
                    <a:pt x="35" y="216"/>
                    <a:pt x="33" y="217"/>
                    <a:pt x="30" y="217"/>
                  </a:cubicBezTo>
                  <a:cubicBezTo>
                    <a:pt x="28" y="217"/>
                    <a:pt x="27" y="217"/>
                    <a:pt x="26" y="216"/>
                  </a:cubicBezTo>
                  <a:cubicBezTo>
                    <a:pt x="22" y="216"/>
                    <a:pt x="18" y="214"/>
                    <a:pt x="14" y="213"/>
                  </a:cubicBezTo>
                  <a:cubicBezTo>
                    <a:pt x="11" y="212"/>
                    <a:pt x="9" y="210"/>
                    <a:pt x="7" y="210"/>
                  </a:cubicBezTo>
                  <a:cubicBezTo>
                    <a:pt x="5" y="210"/>
                    <a:pt x="3" y="212"/>
                    <a:pt x="3" y="215"/>
                  </a:cubicBezTo>
                  <a:cubicBezTo>
                    <a:pt x="3" y="233"/>
                    <a:pt x="3" y="233"/>
                    <a:pt x="3" y="233"/>
                  </a:cubicBezTo>
                  <a:cubicBezTo>
                    <a:pt x="3" y="233"/>
                    <a:pt x="3" y="233"/>
                    <a:pt x="3" y="233"/>
                  </a:cubicBezTo>
                  <a:cubicBezTo>
                    <a:pt x="3" y="236"/>
                    <a:pt x="4" y="238"/>
                    <a:pt x="7" y="240"/>
                  </a:cubicBezTo>
                  <a:cubicBezTo>
                    <a:pt x="15" y="243"/>
                    <a:pt x="21" y="245"/>
                    <a:pt x="32" y="245"/>
                  </a:cubicBezTo>
                  <a:cubicBezTo>
                    <a:pt x="41" y="244"/>
                    <a:pt x="47" y="242"/>
                    <a:pt x="54" y="238"/>
                  </a:cubicBezTo>
                  <a:cubicBezTo>
                    <a:pt x="61" y="233"/>
                    <a:pt x="67" y="227"/>
                    <a:pt x="73" y="220"/>
                  </a:cubicBezTo>
                  <a:cubicBezTo>
                    <a:pt x="75" y="216"/>
                    <a:pt x="77" y="212"/>
                    <a:pt x="79" y="208"/>
                  </a:cubicBezTo>
                  <a:cubicBezTo>
                    <a:pt x="83" y="200"/>
                    <a:pt x="144" y="40"/>
                    <a:pt x="156" y="6"/>
                  </a:cubicBezTo>
                  <a:cubicBezTo>
                    <a:pt x="157" y="5"/>
                    <a:pt x="157" y="4"/>
                    <a:pt x="157" y="3"/>
                  </a:cubicBezTo>
                  <a:cubicBezTo>
                    <a:pt x="157" y="1"/>
                    <a:pt x="155" y="0"/>
                    <a:pt x="153" y="0"/>
                  </a:cubicBezTo>
                  <a:lnTo>
                    <a:pt x="1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a:p>
          </p:txBody>
        </p:sp>
        <p:sp>
          <p:nvSpPr>
            <p:cNvPr id="11" name="Freeform 8">
              <a:extLst>
                <a:ext uri="{FF2B5EF4-FFF2-40B4-BE49-F238E27FC236}">
                  <a16:creationId xmlns:a16="http://schemas.microsoft.com/office/drawing/2014/main" id="{B2C29C81-DF56-4D2E-89D6-7B7333393C3E}"/>
                </a:ext>
              </a:extLst>
            </p:cNvPr>
            <p:cNvSpPr>
              <a:spLocks/>
            </p:cNvSpPr>
            <p:nvPr userDrawn="1"/>
          </p:nvSpPr>
          <p:spPr bwMode="auto">
            <a:xfrm>
              <a:off x="3457" y="1726"/>
              <a:ext cx="263" cy="322"/>
            </a:xfrm>
            <a:custGeom>
              <a:avLst/>
              <a:gdLst>
                <a:gd name="T0" fmla="*/ 28 w 139"/>
                <a:gd name="T1" fmla="*/ 21 h 170"/>
                <a:gd name="T2" fmla="*/ 28 w 139"/>
                <a:gd name="T3" fmla="*/ 6 h 170"/>
                <a:gd name="T4" fmla="*/ 25 w 139"/>
                <a:gd name="T5" fmla="*/ 3 h 170"/>
                <a:gd name="T6" fmla="*/ 4 w 139"/>
                <a:gd name="T7" fmla="*/ 3 h 170"/>
                <a:gd name="T8" fmla="*/ 0 w 139"/>
                <a:gd name="T9" fmla="*/ 6 h 170"/>
                <a:gd name="T10" fmla="*/ 0 w 139"/>
                <a:gd name="T11" fmla="*/ 167 h 170"/>
                <a:gd name="T12" fmla="*/ 4 w 139"/>
                <a:gd name="T13" fmla="*/ 170 h 170"/>
                <a:gd name="T14" fmla="*/ 25 w 139"/>
                <a:gd name="T15" fmla="*/ 170 h 170"/>
                <a:gd name="T16" fmla="*/ 28 w 139"/>
                <a:gd name="T17" fmla="*/ 167 h 170"/>
                <a:gd name="T18" fmla="*/ 28 w 139"/>
                <a:gd name="T19" fmla="*/ 68 h 170"/>
                <a:gd name="T20" fmla="*/ 70 w 139"/>
                <a:gd name="T21" fmla="*/ 28 h 170"/>
                <a:gd name="T22" fmla="*/ 111 w 139"/>
                <a:gd name="T23" fmla="*/ 68 h 170"/>
                <a:gd name="T24" fmla="*/ 111 w 139"/>
                <a:gd name="T25" fmla="*/ 167 h 170"/>
                <a:gd name="T26" fmla="*/ 111 w 139"/>
                <a:gd name="T27" fmla="*/ 167 h 170"/>
                <a:gd name="T28" fmla="*/ 114 w 139"/>
                <a:gd name="T29" fmla="*/ 170 h 170"/>
                <a:gd name="T30" fmla="*/ 136 w 139"/>
                <a:gd name="T31" fmla="*/ 170 h 170"/>
                <a:gd name="T32" fmla="*/ 139 w 139"/>
                <a:gd name="T33" fmla="*/ 167 h 170"/>
                <a:gd name="T34" fmla="*/ 139 w 139"/>
                <a:gd name="T35" fmla="*/ 68 h 170"/>
                <a:gd name="T36" fmla="*/ 139 w 139"/>
                <a:gd name="T37" fmla="*/ 68 h 170"/>
                <a:gd name="T38" fmla="*/ 139 w 139"/>
                <a:gd name="T39" fmla="*/ 68 h 170"/>
                <a:gd name="T40" fmla="*/ 120 w 139"/>
                <a:gd name="T41" fmla="*/ 20 h 170"/>
                <a:gd name="T42" fmla="*/ 70 w 139"/>
                <a:gd name="T43" fmla="*/ 0 h 170"/>
                <a:gd name="T44" fmla="*/ 28 w 139"/>
                <a:gd name="T45" fmla="*/ 2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170">
                  <a:moveTo>
                    <a:pt x="28" y="21"/>
                  </a:moveTo>
                  <a:cubicBezTo>
                    <a:pt x="28" y="6"/>
                    <a:pt x="28" y="6"/>
                    <a:pt x="28" y="6"/>
                  </a:cubicBezTo>
                  <a:cubicBezTo>
                    <a:pt x="28" y="4"/>
                    <a:pt x="27" y="3"/>
                    <a:pt x="25" y="3"/>
                  </a:cubicBezTo>
                  <a:cubicBezTo>
                    <a:pt x="4" y="3"/>
                    <a:pt x="4" y="3"/>
                    <a:pt x="4" y="3"/>
                  </a:cubicBezTo>
                  <a:cubicBezTo>
                    <a:pt x="1" y="3"/>
                    <a:pt x="0" y="4"/>
                    <a:pt x="0" y="6"/>
                  </a:cubicBezTo>
                  <a:cubicBezTo>
                    <a:pt x="0" y="167"/>
                    <a:pt x="0" y="167"/>
                    <a:pt x="0" y="167"/>
                  </a:cubicBezTo>
                  <a:cubicBezTo>
                    <a:pt x="0" y="169"/>
                    <a:pt x="1" y="170"/>
                    <a:pt x="4" y="170"/>
                  </a:cubicBezTo>
                  <a:cubicBezTo>
                    <a:pt x="25" y="170"/>
                    <a:pt x="25" y="170"/>
                    <a:pt x="25" y="170"/>
                  </a:cubicBezTo>
                  <a:cubicBezTo>
                    <a:pt x="27" y="170"/>
                    <a:pt x="28" y="169"/>
                    <a:pt x="28" y="167"/>
                  </a:cubicBezTo>
                  <a:cubicBezTo>
                    <a:pt x="28" y="68"/>
                    <a:pt x="28" y="68"/>
                    <a:pt x="28" y="68"/>
                  </a:cubicBezTo>
                  <a:cubicBezTo>
                    <a:pt x="28" y="49"/>
                    <a:pt x="42" y="28"/>
                    <a:pt x="70" y="28"/>
                  </a:cubicBezTo>
                  <a:cubicBezTo>
                    <a:pt x="97" y="28"/>
                    <a:pt x="111" y="49"/>
                    <a:pt x="111" y="68"/>
                  </a:cubicBezTo>
                  <a:cubicBezTo>
                    <a:pt x="111" y="167"/>
                    <a:pt x="111" y="167"/>
                    <a:pt x="111" y="167"/>
                  </a:cubicBezTo>
                  <a:cubicBezTo>
                    <a:pt x="111" y="167"/>
                    <a:pt x="111" y="167"/>
                    <a:pt x="111" y="167"/>
                  </a:cubicBezTo>
                  <a:cubicBezTo>
                    <a:pt x="111" y="169"/>
                    <a:pt x="112" y="170"/>
                    <a:pt x="114" y="170"/>
                  </a:cubicBezTo>
                  <a:cubicBezTo>
                    <a:pt x="136" y="170"/>
                    <a:pt x="136" y="170"/>
                    <a:pt x="136" y="170"/>
                  </a:cubicBezTo>
                  <a:cubicBezTo>
                    <a:pt x="138" y="170"/>
                    <a:pt x="139" y="169"/>
                    <a:pt x="139" y="167"/>
                  </a:cubicBezTo>
                  <a:cubicBezTo>
                    <a:pt x="139" y="68"/>
                    <a:pt x="139" y="68"/>
                    <a:pt x="139" y="68"/>
                  </a:cubicBezTo>
                  <a:cubicBezTo>
                    <a:pt x="139" y="68"/>
                    <a:pt x="139" y="68"/>
                    <a:pt x="139" y="68"/>
                  </a:cubicBezTo>
                  <a:cubicBezTo>
                    <a:pt x="139" y="68"/>
                    <a:pt x="139" y="68"/>
                    <a:pt x="139" y="68"/>
                  </a:cubicBezTo>
                  <a:cubicBezTo>
                    <a:pt x="139" y="51"/>
                    <a:pt x="133" y="35"/>
                    <a:pt x="120" y="20"/>
                  </a:cubicBezTo>
                  <a:cubicBezTo>
                    <a:pt x="109" y="7"/>
                    <a:pt x="88" y="0"/>
                    <a:pt x="70" y="0"/>
                  </a:cubicBezTo>
                  <a:cubicBezTo>
                    <a:pt x="41" y="0"/>
                    <a:pt x="28" y="21"/>
                    <a:pt x="28"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a:p>
          </p:txBody>
        </p:sp>
        <p:sp>
          <p:nvSpPr>
            <p:cNvPr id="12" name="Freeform 9">
              <a:extLst>
                <a:ext uri="{FF2B5EF4-FFF2-40B4-BE49-F238E27FC236}">
                  <a16:creationId xmlns:a16="http://schemas.microsoft.com/office/drawing/2014/main" id="{B38DB0D8-2A95-458B-BC03-75E42A03A8C8}"/>
                </a:ext>
              </a:extLst>
            </p:cNvPr>
            <p:cNvSpPr>
              <a:spLocks/>
            </p:cNvSpPr>
            <p:nvPr userDrawn="1"/>
          </p:nvSpPr>
          <p:spPr bwMode="auto">
            <a:xfrm>
              <a:off x="2264" y="1724"/>
              <a:ext cx="246" cy="328"/>
            </a:xfrm>
            <a:custGeom>
              <a:avLst/>
              <a:gdLst>
                <a:gd name="T0" fmla="*/ 4 w 130"/>
                <a:gd name="T1" fmla="*/ 48 h 173"/>
                <a:gd name="T2" fmla="*/ 56 w 130"/>
                <a:gd name="T3" fmla="*/ 97 h 173"/>
                <a:gd name="T4" fmla="*/ 57 w 130"/>
                <a:gd name="T5" fmla="*/ 98 h 173"/>
                <a:gd name="T6" fmla="*/ 101 w 130"/>
                <a:gd name="T7" fmla="*/ 124 h 173"/>
                <a:gd name="T8" fmla="*/ 66 w 130"/>
                <a:gd name="T9" fmla="*/ 146 h 173"/>
                <a:gd name="T10" fmla="*/ 30 w 130"/>
                <a:gd name="T11" fmla="*/ 118 h 173"/>
                <a:gd name="T12" fmla="*/ 26 w 130"/>
                <a:gd name="T13" fmla="*/ 114 h 173"/>
                <a:gd name="T14" fmla="*/ 5 w 130"/>
                <a:gd name="T15" fmla="*/ 114 h 173"/>
                <a:gd name="T16" fmla="*/ 0 w 130"/>
                <a:gd name="T17" fmla="*/ 118 h 173"/>
                <a:gd name="T18" fmla="*/ 65 w 130"/>
                <a:gd name="T19" fmla="*/ 173 h 173"/>
                <a:gd name="T20" fmla="*/ 130 w 130"/>
                <a:gd name="T21" fmla="*/ 120 h 173"/>
                <a:gd name="T22" fmla="*/ 72 w 130"/>
                <a:gd name="T23" fmla="*/ 74 h 173"/>
                <a:gd name="T24" fmla="*/ 32 w 130"/>
                <a:gd name="T25" fmla="*/ 48 h 173"/>
                <a:gd name="T26" fmla="*/ 63 w 130"/>
                <a:gd name="T27" fmla="*/ 27 h 173"/>
                <a:gd name="T28" fmla="*/ 97 w 130"/>
                <a:gd name="T29" fmla="*/ 49 h 173"/>
                <a:gd name="T30" fmla="*/ 102 w 130"/>
                <a:gd name="T31" fmla="*/ 53 h 173"/>
                <a:gd name="T32" fmla="*/ 120 w 130"/>
                <a:gd name="T33" fmla="*/ 53 h 173"/>
                <a:gd name="T34" fmla="*/ 125 w 130"/>
                <a:gd name="T35" fmla="*/ 48 h 173"/>
                <a:gd name="T36" fmla="*/ 63 w 130"/>
                <a:gd name="T37" fmla="*/ 0 h 173"/>
                <a:gd name="T38" fmla="*/ 4 w 130"/>
                <a:gd name="T39" fmla="*/ 4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173">
                  <a:moveTo>
                    <a:pt x="4" y="48"/>
                  </a:moveTo>
                  <a:cubicBezTo>
                    <a:pt x="4" y="77"/>
                    <a:pt x="19" y="91"/>
                    <a:pt x="56" y="97"/>
                  </a:cubicBezTo>
                  <a:cubicBezTo>
                    <a:pt x="57" y="98"/>
                    <a:pt x="57" y="98"/>
                    <a:pt x="57" y="98"/>
                  </a:cubicBezTo>
                  <a:cubicBezTo>
                    <a:pt x="83" y="102"/>
                    <a:pt x="101" y="105"/>
                    <a:pt x="101" y="124"/>
                  </a:cubicBezTo>
                  <a:cubicBezTo>
                    <a:pt x="101" y="139"/>
                    <a:pt x="83" y="146"/>
                    <a:pt x="66" y="146"/>
                  </a:cubicBezTo>
                  <a:cubicBezTo>
                    <a:pt x="46" y="146"/>
                    <a:pt x="33" y="136"/>
                    <a:pt x="30" y="118"/>
                  </a:cubicBezTo>
                  <a:cubicBezTo>
                    <a:pt x="30" y="116"/>
                    <a:pt x="29" y="114"/>
                    <a:pt x="26" y="114"/>
                  </a:cubicBezTo>
                  <a:cubicBezTo>
                    <a:pt x="5" y="114"/>
                    <a:pt x="5" y="114"/>
                    <a:pt x="5" y="114"/>
                  </a:cubicBezTo>
                  <a:cubicBezTo>
                    <a:pt x="2" y="114"/>
                    <a:pt x="0" y="116"/>
                    <a:pt x="0" y="118"/>
                  </a:cubicBezTo>
                  <a:cubicBezTo>
                    <a:pt x="0" y="150"/>
                    <a:pt x="27" y="173"/>
                    <a:pt x="65" y="173"/>
                  </a:cubicBezTo>
                  <a:cubicBezTo>
                    <a:pt x="104" y="173"/>
                    <a:pt x="130" y="151"/>
                    <a:pt x="130" y="120"/>
                  </a:cubicBezTo>
                  <a:cubicBezTo>
                    <a:pt x="130" y="86"/>
                    <a:pt x="100" y="79"/>
                    <a:pt x="72" y="74"/>
                  </a:cubicBezTo>
                  <a:cubicBezTo>
                    <a:pt x="37" y="68"/>
                    <a:pt x="32" y="58"/>
                    <a:pt x="32" y="48"/>
                  </a:cubicBezTo>
                  <a:cubicBezTo>
                    <a:pt x="32" y="32"/>
                    <a:pt x="49" y="27"/>
                    <a:pt x="63" y="27"/>
                  </a:cubicBezTo>
                  <a:cubicBezTo>
                    <a:pt x="82" y="27"/>
                    <a:pt x="94" y="34"/>
                    <a:pt x="97" y="49"/>
                  </a:cubicBezTo>
                  <a:cubicBezTo>
                    <a:pt x="98" y="51"/>
                    <a:pt x="98" y="53"/>
                    <a:pt x="102" y="53"/>
                  </a:cubicBezTo>
                  <a:cubicBezTo>
                    <a:pt x="120" y="53"/>
                    <a:pt x="120" y="53"/>
                    <a:pt x="120" y="53"/>
                  </a:cubicBezTo>
                  <a:cubicBezTo>
                    <a:pt x="123" y="53"/>
                    <a:pt x="125" y="51"/>
                    <a:pt x="125" y="48"/>
                  </a:cubicBezTo>
                  <a:cubicBezTo>
                    <a:pt x="125" y="19"/>
                    <a:pt x="100" y="0"/>
                    <a:pt x="63" y="0"/>
                  </a:cubicBezTo>
                  <a:cubicBezTo>
                    <a:pt x="22" y="0"/>
                    <a:pt x="4" y="25"/>
                    <a:pt x="4" y="4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a:p>
          </p:txBody>
        </p:sp>
        <p:sp>
          <p:nvSpPr>
            <p:cNvPr id="13" name="Freeform 10">
              <a:extLst>
                <a:ext uri="{FF2B5EF4-FFF2-40B4-BE49-F238E27FC236}">
                  <a16:creationId xmlns:a16="http://schemas.microsoft.com/office/drawing/2014/main" id="{285FBA9D-B6C7-4BE7-90DC-3572BFC95303}"/>
                </a:ext>
              </a:extLst>
            </p:cNvPr>
            <p:cNvSpPr>
              <a:spLocks/>
            </p:cNvSpPr>
            <p:nvPr userDrawn="1"/>
          </p:nvSpPr>
          <p:spPr bwMode="auto">
            <a:xfrm>
              <a:off x="3062" y="1722"/>
              <a:ext cx="312" cy="474"/>
            </a:xfrm>
            <a:custGeom>
              <a:avLst/>
              <a:gdLst>
                <a:gd name="T0" fmla="*/ 67 w 165"/>
                <a:gd name="T1" fmla="*/ 0 h 250"/>
                <a:gd name="T2" fmla="*/ 0 w 165"/>
                <a:gd name="T3" fmla="*/ 86 h 250"/>
                <a:gd name="T4" fmla="*/ 82 w 165"/>
                <a:gd name="T5" fmla="*/ 174 h 250"/>
                <a:gd name="T6" fmla="*/ 137 w 165"/>
                <a:gd name="T7" fmla="*/ 152 h 250"/>
                <a:gd name="T8" fmla="*/ 137 w 165"/>
                <a:gd name="T9" fmla="*/ 173 h 250"/>
                <a:gd name="T10" fmla="*/ 89 w 165"/>
                <a:gd name="T11" fmla="*/ 222 h 250"/>
                <a:gd name="T12" fmla="*/ 48 w 165"/>
                <a:gd name="T13" fmla="*/ 194 h 250"/>
                <a:gd name="T14" fmla="*/ 43 w 165"/>
                <a:gd name="T15" fmla="*/ 190 h 250"/>
                <a:gd name="T16" fmla="*/ 24 w 165"/>
                <a:gd name="T17" fmla="*/ 190 h 250"/>
                <a:gd name="T18" fmla="*/ 19 w 165"/>
                <a:gd name="T19" fmla="*/ 195 h 250"/>
                <a:gd name="T20" fmla="*/ 89 w 165"/>
                <a:gd name="T21" fmla="*/ 250 h 250"/>
                <a:gd name="T22" fmla="*/ 165 w 165"/>
                <a:gd name="T23" fmla="*/ 174 h 250"/>
                <a:gd name="T24" fmla="*/ 165 w 165"/>
                <a:gd name="T25" fmla="*/ 7 h 250"/>
                <a:gd name="T26" fmla="*/ 162 w 165"/>
                <a:gd name="T27" fmla="*/ 4 h 250"/>
                <a:gd name="T28" fmla="*/ 140 w 165"/>
                <a:gd name="T29" fmla="*/ 4 h 250"/>
                <a:gd name="T30" fmla="*/ 137 w 165"/>
                <a:gd name="T31" fmla="*/ 7 h 250"/>
                <a:gd name="T32" fmla="*/ 137 w 165"/>
                <a:gd name="T33" fmla="*/ 21 h 250"/>
                <a:gd name="T34" fmla="*/ 99 w 165"/>
                <a:gd name="T35" fmla="*/ 0 h 250"/>
                <a:gd name="T36" fmla="*/ 96 w 165"/>
                <a:gd name="T37" fmla="*/ 3 h 250"/>
                <a:gd name="T38" fmla="*/ 96 w 165"/>
                <a:gd name="T39" fmla="*/ 28 h 250"/>
                <a:gd name="T40" fmla="*/ 97 w 165"/>
                <a:gd name="T41" fmla="*/ 31 h 250"/>
                <a:gd name="T42" fmla="*/ 138 w 165"/>
                <a:gd name="T43" fmla="*/ 87 h 250"/>
                <a:gd name="T44" fmla="*/ 83 w 165"/>
                <a:gd name="T45" fmla="*/ 146 h 250"/>
                <a:gd name="T46" fmla="*/ 29 w 165"/>
                <a:gd name="T47" fmla="*/ 87 h 250"/>
                <a:gd name="T48" fmla="*/ 68 w 165"/>
                <a:gd name="T49" fmla="*/ 31 h 250"/>
                <a:gd name="T50" fmla="*/ 70 w 165"/>
                <a:gd name="T51" fmla="*/ 29 h 250"/>
                <a:gd name="T52" fmla="*/ 70 w 165"/>
                <a:gd name="T53" fmla="*/ 3 h 250"/>
                <a:gd name="T54" fmla="*/ 67 w 165"/>
                <a:gd name="T55" fmla="*/ 0 h 250"/>
                <a:gd name="T56" fmla="*/ 67 w 165"/>
                <a:gd name="T57"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5" h="250">
                  <a:moveTo>
                    <a:pt x="67" y="0"/>
                  </a:moveTo>
                  <a:cubicBezTo>
                    <a:pt x="29" y="8"/>
                    <a:pt x="0" y="44"/>
                    <a:pt x="0" y="86"/>
                  </a:cubicBezTo>
                  <a:cubicBezTo>
                    <a:pt x="0" y="135"/>
                    <a:pt x="37" y="174"/>
                    <a:pt x="82" y="174"/>
                  </a:cubicBezTo>
                  <a:cubicBezTo>
                    <a:pt x="103" y="174"/>
                    <a:pt x="122" y="166"/>
                    <a:pt x="137" y="152"/>
                  </a:cubicBezTo>
                  <a:cubicBezTo>
                    <a:pt x="137" y="173"/>
                    <a:pt x="137" y="173"/>
                    <a:pt x="137" y="173"/>
                  </a:cubicBezTo>
                  <a:cubicBezTo>
                    <a:pt x="137" y="205"/>
                    <a:pt x="120" y="222"/>
                    <a:pt x="89" y="222"/>
                  </a:cubicBezTo>
                  <a:cubicBezTo>
                    <a:pt x="66" y="222"/>
                    <a:pt x="52" y="213"/>
                    <a:pt x="48" y="194"/>
                  </a:cubicBezTo>
                  <a:cubicBezTo>
                    <a:pt x="47" y="192"/>
                    <a:pt x="46" y="190"/>
                    <a:pt x="43" y="190"/>
                  </a:cubicBezTo>
                  <a:cubicBezTo>
                    <a:pt x="24" y="190"/>
                    <a:pt x="24" y="190"/>
                    <a:pt x="24" y="190"/>
                  </a:cubicBezTo>
                  <a:cubicBezTo>
                    <a:pt x="21" y="190"/>
                    <a:pt x="19" y="192"/>
                    <a:pt x="19" y="195"/>
                  </a:cubicBezTo>
                  <a:cubicBezTo>
                    <a:pt x="22" y="228"/>
                    <a:pt x="51" y="250"/>
                    <a:pt x="89" y="250"/>
                  </a:cubicBezTo>
                  <a:cubicBezTo>
                    <a:pt x="135" y="250"/>
                    <a:pt x="165" y="219"/>
                    <a:pt x="165" y="174"/>
                  </a:cubicBezTo>
                  <a:cubicBezTo>
                    <a:pt x="165" y="7"/>
                    <a:pt x="165" y="7"/>
                    <a:pt x="165" y="7"/>
                  </a:cubicBezTo>
                  <a:cubicBezTo>
                    <a:pt x="165" y="5"/>
                    <a:pt x="164" y="4"/>
                    <a:pt x="162" y="4"/>
                  </a:cubicBezTo>
                  <a:cubicBezTo>
                    <a:pt x="140" y="4"/>
                    <a:pt x="140" y="4"/>
                    <a:pt x="140" y="4"/>
                  </a:cubicBezTo>
                  <a:cubicBezTo>
                    <a:pt x="138" y="4"/>
                    <a:pt x="137" y="5"/>
                    <a:pt x="137" y="7"/>
                  </a:cubicBezTo>
                  <a:cubicBezTo>
                    <a:pt x="137" y="21"/>
                    <a:pt x="137" y="21"/>
                    <a:pt x="137" y="21"/>
                  </a:cubicBezTo>
                  <a:cubicBezTo>
                    <a:pt x="126" y="11"/>
                    <a:pt x="113" y="4"/>
                    <a:pt x="99" y="0"/>
                  </a:cubicBezTo>
                  <a:cubicBezTo>
                    <a:pt x="97" y="0"/>
                    <a:pt x="96" y="1"/>
                    <a:pt x="96" y="3"/>
                  </a:cubicBezTo>
                  <a:cubicBezTo>
                    <a:pt x="96" y="28"/>
                    <a:pt x="96" y="28"/>
                    <a:pt x="96" y="28"/>
                  </a:cubicBezTo>
                  <a:cubicBezTo>
                    <a:pt x="96" y="29"/>
                    <a:pt x="96" y="30"/>
                    <a:pt x="97" y="31"/>
                  </a:cubicBezTo>
                  <a:cubicBezTo>
                    <a:pt x="121" y="37"/>
                    <a:pt x="138" y="60"/>
                    <a:pt x="138" y="87"/>
                  </a:cubicBezTo>
                  <a:cubicBezTo>
                    <a:pt x="138" y="119"/>
                    <a:pt x="114" y="146"/>
                    <a:pt x="83" y="146"/>
                  </a:cubicBezTo>
                  <a:cubicBezTo>
                    <a:pt x="53" y="146"/>
                    <a:pt x="29" y="119"/>
                    <a:pt x="29" y="87"/>
                  </a:cubicBezTo>
                  <a:cubicBezTo>
                    <a:pt x="29" y="61"/>
                    <a:pt x="45" y="38"/>
                    <a:pt x="68" y="31"/>
                  </a:cubicBezTo>
                  <a:cubicBezTo>
                    <a:pt x="69" y="31"/>
                    <a:pt x="70" y="30"/>
                    <a:pt x="70" y="29"/>
                  </a:cubicBezTo>
                  <a:cubicBezTo>
                    <a:pt x="70" y="3"/>
                    <a:pt x="70" y="3"/>
                    <a:pt x="70" y="3"/>
                  </a:cubicBezTo>
                  <a:cubicBezTo>
                    <a:pt x="70" y="1"/>
                    <a:pt x="69" y="0"/>
                    <a:pt x="67" y="0"/>
                  </a:cubicBezTo>
                  <a:cubicBezTo>
                    <a:pt x="67" y="0"/>
                    <a:pt x="67" y="0"/>
                    <a:pt x="6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a:p>
          </p:txBody>
        </p:sp>
        <p:sp>
          <p:nvSpPr>
            <p:cNvPr id="14" name="Oval 11">
              <a:extLst>
                <a:ext uri="{FF2B5EF4-FFF2-40B4-BE49-F238E27FC236}">
                  <a16:creationId xmlns:a16="http://schemas.microsoft.com/office/drawing/2014/main" id="{48DD9144-12C1-4B89-9F6D-92B4361D96B3}"/>
                </a:ext>
              </a:extLst>
            </p:cNvPr>
            <p:cNvSpPr>
              <a:spLocks noChangeArrowheads="1"/>
            </p:cNvSpPr>
            <p:nvPr userDrawn="1"/>
          </p:nvSpPr>
          <p:spPr bwMode="auto">
            <a:xfrm>
              <a:off x="284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a:p>
          </p:txBody>
        </p:sp>
        <p:sp>
          <p:nvSpPr>
            <p:cNvPr id="15" name="Oval 12">
              <a:extLst>
                <a:ext uri="{FF2B5EF4-FFF2-40B4-BE49-F238E27FC236}">
                  <a16:creationId xmlns:a16="http://schemas.microsoft.com/office/drawing/2014/main" id="{01B98C09-7AAE-43C7-82DE-9DB278B02F42}"/>
                </a:ext>
              </a:extLst>
            </p:cNvPr>
            <p:cNvSpPr>
              <a:spLocks noChangeArrowheads="1"/>
            </p:cNvSpPr>
            <p:nvPr userDrawn="1"/>
          </p:nvSpPr>
          <p:spPr bwMode="auto">
            <a:xfrm>
              <a:off x="387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a:p>
          </p:txBody>
        </p:sp>
        <p:sp>
          <p:nvSpPr>
            <p:cNvPr id="16" name="Freeform 13">
              <a:extLst>
                <a:ext uri="{FF2B5EF4-FFF2-40B4-BE49-F238E27FC236}">
                  <a16:creationId xmlns:a16="http://schemas.microsoft.com/office/drawing/2014/main" id="{DF4FD3F7-7AD2-4CA4-8D7C-34E6C136A5E6}"/>
                </a:ext>
              </a:extLst>
            </p:cNvPr>
            <p:cNvSpPr>
              <a:spLocks/>
            </p:cNvSpPr>
            <p:nvPr userDrawn="1"/>
          </p:nvSpPr>
          <p:spPr bwMode="auto">
            <a:xfrm>
              <a:off x="4062" y="1584"/>
              <a:ext cx="242" cy="462"/>
            </a:xfrm>
            <a:custGeom>
              <a:avLst/>
              <a:gdLst>
                <a:gd name="T0" fmla="*/ 39 w 128"/>
                <a:gd name="T1" fmla="*/ 55 h 244"/>
                <a:gd name="T2" fmla="*/ 39 w 128"/>
                <a:gd name="T3" fmla="*/ 76 h 244"/>
                <a:gd name="T4" fmla="*/ 4 w 128"/>
                <a:gd name="T5" fmla="*/ 76 h 244"/>
                <a:gd name="T6" fmla="*/ 0 w 128"/>
                <a:gd name="T7" fmla="*/ 81 h 244"/>
                <a:gd name="T8" fmla="*/ 0 w 128"/>
                <a:gd name="T9" fmla="*/ 99 h 244"/>
                <a:gd name="T10" fmla="*/ 4 w 128"/>
                <a:gd name="T11" fmla="*/ 103 h 244"/>
                <a:gd name="T12" fmla="*/ 39 w 128"/>
                <a:gd name="T13" fmla="*/ 103 h 244"/>
                <a:gd name="T14" fmla="*/ 39 w 128"/>
                <a:gd name="T15" fmla="*/ 239 h 244"/>
                <a:gd name="T16" fmla="*/ 44 w 128"/>
                <a:gd name="T17" fmla="*/ 244 h 244"/>
                <a:gd name="T18" fmla="*/ 62 w 128"/>
                <a:gd name="T19" fmla="*/ 244 h 244"/>
                <a:gd name="T20" fmla="*/ 67 w 128"/>
                <a:gd name="T21" fmla="*/ 239 h 244"/>
                <a:gd name="T22" fmla="*/ 67 w 128"/>
                <a:gd name="T23" fmla="*/ 103 h 244"/>
                <a:gd name="T24" fmla="*/ 120 w 128"/>
                <a:gd name="T25" fmla="*/ 103 h 244"/>
                <a:gd name="T26" fmla="*/ 125 w 128"/>
                <a:gd name="T27" fmla="*/ 99 h 244"/>
                <a:gd name="T28" fmla="*/ 125 w 128"/>
                <a:gd name="T29" fmla="*/ 81 h 244"/>
                <a:gd name="T30" fmla="*/ 120 w 128"/>
                <a:gd name="T31" fmla="*/ 76 h 244"/>
                <a:gd name="T32" fmla="*/ 67 w 128"/>
                <a:gd name="T33" fmla="*/ 76 h 244"/>
                <a:gd name="T34" fmla="*/ 67 w 128"/>
                <a:gd name="T35" fmla="*/ 55 h 244"/>
                <a:gd name="T36" fmla="*/ 91 w 128"/>
                <a:gd name="T37" fmla="*/ 27 h 244"/>
                <a:gd name="T38" fmla="*/ 122 w 128"/>
                <a:gd name="T39" fmla="*/ 37 h 244"/>
                <a:gd name="T40" fmla="*/ 125 w 128"/>
                <a:gd name="T41" fmla="*/ 38 h 244"/>
                <a:gd name="T42" fmla="*/ 128 w 128"/>
                <a:gd name="T43" fmla="*/ 33 h 244"/>
                <a:gd name="T44" fmla="*/ 128 w 128"/>
                <a:gd name="T45" fmla="*/ 16 h 244"/>
                <a:gd name="T46" fmla="*/ 125 w 128"/>
                <a:gd name="T47" fmla="*/ 9 h 244"/>
                <a:gd name="T48" fmla="*/ 89 w 128"/>
                <a:gd name="T49" fmla="*/ 0 h 244"/>
                <a:gd name="T50" fmla="*/ 39 w 128"/>
                <a:gd name="T51" fmla="*/ 5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244">
                  <a:moveTo>
                    <a:pt x="39" y="55"/>
                  </a:moveTo>
                  <a:cubicBezTo>
                    <a:pt x="39" y="76"/>
                    <a:pt x="39" y="76"/>
                    <a:pt x="39" y="76"/>
                  </a:cubicBezTo>
                  <a:cubicBezTo>
                    <a:pt x="4" y="76"/>
                    <a:pt x="4" y="76"/>
                    <a:pt x="4" y="76"/>
                  </a:cubicBezTo>
                  <a:cubicBezTo>
                    <a:pt x="1" y="76"/>
                    <a:pt x="0" y="78"/>
                    <a:pt x="0" y="81"/>
                  </a:cubicBezTo>
                  <a:cubicBezTo>
                    <a:pt x="0" y="99"/>
                    <a:pt x="0" y="99"/>
                    <a:pt x="0" y="99"/>
                  </a:cubicBezTo>
                  <a:cubicBezTo>
                    <a:pt x="0" y="102"/>
                    <a:pt x="1" y="103"/>
                    <a:pt x="4" y="103"/>
                  </a:cubicBezTo>
                  <a:cubicBezTo>
                    <a:pt x="39" y="103"/>
                    <a:pt x="39" y="103"/>
                    <a:pt x="39" y="103"/>
                  </a:cubicBezTo>
                  <a:cubicBezTo>
                    <a:pt x="39" y="239"/>
                    <a:pt x="39" y="239"/>
                    <a:pt x="39" y="239"/>
                  </a:cubicBezTo>
                  <a:cubicBezTo>
                    <a:pt x="39" y="242"/>
                    <a:pt x="41" y="244"/>
                    <a:pt x="44" y="244"/>
                  </a:cubicBezTo>
                  <a:cubicBezTo>
                    <a:pt x="62" y="244"/>
                    <a:pt x="62" y="244"/>
                    <a:pt x="62" y="244"/>
                  </a:cubicBezTo>
                  <a:cubicBezTo>
                    <a:pt x="65" y="244"/>
                    <a:pt x="67" y="242"/>
                    <a:pt x="67" y="239"/>
                  </a:cubicBezTo>
                  <a:cubicBezTo>
                    <a:pt x="67" y="103"/>
                    <a:pt x="67" y="103"/>
                    <a:pt x="67" y="103"/>
                  </a:cubicBezTo>
                  <a:cubicBezTo>
                    <a:pt x="120" y="103"/>
                    <a:pt x="120" y="103"/>
                    <a:pt x="120" y="103"/>
                  </a:cubicBezTo>
                  <a:cubicBezTo>
                    <a:pt x="123" y="103"/>
                    <a:pt x="125" y="102"/>
                    <a:pt x="125" y="99"/>
                  </a:cubicBezTo>
                  <a:cubicBezTo>
                    <a:pt x="125" y="81"/>
                    <a:pt x="125" y="81"/>
                    <a:pt x="125" y="81"/>
                  </a:cubicBezTo>
                  <a:cubicBezTo>
                    <a:pt x="125" y="78"/>
                    <a:pt x="123" y="76"/>
                    <a:pt x="120" y="76"/>
                  </a:cubicBezTo>
                  <a:cubicBezTo>
                    <a:pt x="67" y="76"/>
                    <a:pt x="67" y="76"/>
                    <a:pt x="67" y="76"/>
                  </a:cubicBezTo>
                  <a:cubicBezTo>
                    <a:pt x="67" y="55"/>
                    <a:pt x="67" y="55"/>
                    <a:pt x="67" y="55"/>
                  </a:cubicBezTo>
                  <a:cubicBezTo>
                    <a:pt x="67" y="38"/>
                    <a:pt x="76" y="27"/>
                    <a:pt x="91" y="27"/>
                  </a:cubicBezTo>
                  <a:cubicBezTo>
                    <a:pt x="102" y="27"/>
                    <a:pt x="110" y="30"/>
                    <a:pt x="122" y="37"/>
                  </a:cubicBezTo>
                  <a:cubicBezTo>
                    <a:pt x="123" y="38"/>
                    <a:pt x="124" y="38"/>
                    <a:pt x="125" y="38"/>
                  </a:cubicBezTo>
                  <a:cubicBezTo>
                    <a:pt x="127" y="38"/>
                    <a:pt x="128" y="36"/>
                    <a:pt x="128" y="33"/>
                  </a:cubicBezTo>
                  <a:cubicBezTo>
                    <a:pt x="128" y="16"/>
                    <a:pt x="128" y="16"/>
                    <a:pt x="128" y="16"/>
                  </a:cubicBezTo>
                  <a:cubicBezTo>
                    <a:pt x="128" y="13"/>
                    <a:pt x="128" y="11"/>
                    <a:pt x="125" y="9"/>
                  </a:cubicBezTo>
                  <a:cubicBezTo>
                    <a:pt x="114" y="3"/>
                    <a:pt x="103" y="0"/>
                    <a:pt x="89" y="0"/>
                  </a:cubicBezTo>
                  <a:cubicBezTo>
                    <a:pt x="54" y="0"/>
                    <a:pt x="39" y="29"/>
                    <a:pt x="39"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a:p>
          </p:txBody>
        </p:sp>
        <p:sp>
          <p:nvSpPr>
            <p:cNvPr id="17" name="Freeform 14">
              <a:extLst>
                <a:ext uri="{FF2B5EF4-FFF2-40B4-BE49-F238E27FC236}">
                  <a16:creationId xmlns:a16="http://schemas.microsoft.com/office/drawing/2014/main" id="{E3F74A4C-3F35-49ED-8FDB-98270CD3D01E}"/>
                </a:ext>
              </a:extLst>
            </p:cNvPr>
            <p:cNvSpPr>
              <a:spLocks/>
            </p:cNvSpPr>
            <p:nvPr userDrawn="1"/>
          </p:nvSpPr>
          <p:spPr bwMode="auto">
            <a:xfrm>
              <a:off x="2071" y="1578"/>
              <a:ext cx="632" cy="631"/>
            </a:xfrm>
            <a:custGeom>
              <a:avLst/>
              <a:gdLst>
                <a:gd name="T0" fmla="*/ 181 w 334"/>
                <a:gd name="T1" fmla="*/ 1 h 333"/>
                <a:gd name="T2" fmla="*/ 180 w 334"/>
                <a:gd name="T3" fmla="*/ 4 h 333"/>
                <a:gd name="T4" fmla="*/ 180 w 334"/>
                <a:gd name="T5" fmla="*/ 26 h 333"/>
                <a:gd name="T6" fmla="*/ 180 w 334"/>
                <a:gd name="T7" fmla="*/ 26 h 333"/>
                <a:gd name="T8" fmla="*/ 182 w 334"/>
                <a:gd name="T9" fmla="*/ 28 h 333"/>
                <a:gd name="T10" fmla="*/ 306 w 334"/>
                <a:gd name="T11" fmla="*/ 166 h 333"/>
                <a:gd name="T12" fmla="*/ 167 w 334"/>
                <a:gd name="T13" fmla="*/ 305 h 333"/>
                <a:gd name="T14" fmla="*/ 28 w 334"/>
                <a:gd name="T15" fmla="*/ 166 h 333"/>
                <a:gd name="T16" fmla="*/ 152 w 334"/>
                <a:gd name="T17" fmla="*/ 28 h 333"/>
                <a:gd name="T18" fmla="*/ 154 w 334"/>
                <a:gd name="T19" fmla="*/ 26 h 333"/>
                <a:gd name="T20" fmla="*/ 154 w 334"/>
                <a:gd name="T21" fmla="*/ 26 h 333"/>
                <a:gd name="T22" fmla="*/ 154 w 334"/>
                <a:gd name="T23" fmla="*/ 4 h 333"/>
                <a:gd name="T24" fmla="*/ 153 w 334"/>
                <a:gd name="T25" fmla="*/ 1 h 333"/>
                <a:gd name="T26" fmla="*/ 150 w 334"/>
                <a:gd name="T27" fmla="*/ 0 h 333"/>
                <a:gd name="T28" fmla="*/ 149 w 334"/>
                <a:gd name="T29" fmla="*/ 0 h 333"/>
                <a:gd name="T30" fmla="*/ 149 w 334"/>
                <a:gd name="T31" fmla="*/ 0 h 333"/>
                <a:gd name="T32" fmla="*/ 0 w 334"/>
                <a:gd name="T33" fmla="*/ 166 h 333"/>
                <a:gd name="T34" fmla="*/ 167 w 334"/>
                <a:gd name="T35" fmla="*/ 333 h 333"/>
                <a:gd name="T36" fmla="*/ 334 w 334"/>
                <a:gd name="T37" fmla="*/ 166 h 333"/>
                <a:gd name="T38" fmla="*/ 185 w 334"/>
                <a:gd name="T39" fmla="*/ 0 h 333"/>
                <a:gd name="T40" fmla="*/ 185 w 334"/>
                <a:gd name="T41" fmla="*/ 0 h 333"/>
                <a:gd name="T42" fmla="*/ 184 w 334"/>
                <a:gd name="T43" fmla="*/ 0 h 333"/>
                <a:gd name="T44" fmla="*/ 181 w 334"/>
                <a:gd name="T45" fmla="*/ 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4" h="333">
                  <a:moveTo>
                    <a:pt x="181" y="1"/>
                  </a:moveTo>
                  <a:cubicBezTo>
                    <a:pt x="180" y="2"/>
                    <a:pt x="180" y="3"/>
                    <a:pt x="180" y="4"/>
                  </a:cubicBezTo>
                  <a:cubicBezTo>
                    <a:pt x="180" y="26"/>
                    <a:pt x="180" y="26"/>
                    <a:pt x="180" y="26"/>
                  </a:cubicBezTo>
                  <a:cubicBezTo>
                    <a:pt x="180" y="26"/>
                    <a:pt x="180" y="26"/>
                    <a:pt x="180" y="26"/>
                  </a:cubicBezTo>
                  <a:cubicBezTo>
                    <a:pt x="180" y="27"/>
                    <a:pt x="181" y="28"/>
                    <a:pt x="182" y="28"/>
                  </a:cubicBezTo>
                  <a:cubicBezTo>
                    <a:pt x="251" y="35"/>
                    <a:pt x="306" y="94"/>
                    <a:pt x="306" y="166"/>
                  </a:cubicBezTo>
                  <a:cubicBezTo>
                    <a:pt x="306" y="243"/>
                    <a:pt x="244" y="305"/>
                    <a:pt x="167" y="305"/>
                  </a:cubicBezTo>
                  <a:cubicBezTo>
                    <a:pt x="90" y="305"/>
                    <a:pt x="28" y="243"/>
                    <a:pt x="28" y="166"/>
                  </a:cubicBezTo>
                  <a:cubicBezTo>
                    <a:pt x="28" y="94"/>
                    <a:pt x="82" y="35"/>
                    <a:pt x="152" y="28"/>
                  </a:cubicBezTo>
                  <a:cubicBezTo>
                    <a:pt x="153" y="28"/>
                    <a:pt x="154" y="27"/>
                    <a:pt x="154" y="26"/>
                  </a:cubicBezTo>
                  <a:cubicBezTo>
                    <a:pt x="154" y="26"/>
                    <a:pt x="154" y="26"/>
                    <a:pt x="154" y="26"/>
                  </a:cubicBezTo>
                  <a:cubicBezTo>
                    <a:pt x="154" y="4"/>
                    <a:pt x="154" y="4"/>
                    <a:pt x="154" y="4"/>
                  </a:cubicBezTo>
                  <a:cubicBezTo>
                    <a:pt x="154" y="3"/>
                    <a:pt x="154" y="2"/>
                    <a:pt x="153" y="1"/>
                  </a:cubicBezTo>
                  <a:cubicBezTo>
                    <a:pt x="152" y="0"/>
                    <a:pt x="151" y="0"/>
                    <a:pt x="150" y="0"/>
                  </a:cubicBezTo>
                  <a:cubicBezTo>
                    <a:pt x="149" y="0"/>
                    <a:pt x="149" y="0"/>
                    <a:pt x="149" y="0"/>
                  </a:cubicBezTo>
                  <a:cubicBezTo>
                    <a:pt x="149" y="0"/>
                    <a:pt x="149" y="0"/>
                    <a:pt x="149" y="0"/>
                  </a:cubicBezTo>
                  <a:cubicBezTo>
                    <a:pt x="65" y="9"/>
                    <a:pt x="0" y="80"/>
                    <a:pt x="0" y="166"/>
                  </a:cubicBezTo>
                  <a:cubicBezTo>
                    <a:pt x="0" y="258"/>
                    <a:pt x="75" y="333"/>
                    <a:pt x="167" y="333"/>
                  </a:cubicBezTo>
                  <a:cubicBezTo>
                    <a:pt x="259" y="333"/>
                    <a:pt x="334" y="258"/>
                    <a:pt x="334" y="166"/>
                  </a:cubicBezTo>
                  <a:cubicBezTo>
                    <a:pt x="334" y="80"/>
                    <a:pt x="269" y="9"/>
                    <a:pt x="185" y="0"/>
                  </a:cubicBezTo>
                  <a:cubicBezTo>
                    <a:pt x="185" y="0"/>
                    <a:pt x="185" y="0"/>
                    <a:pt x="185" y="0"/>
                  </a:cubicBezTo>
                  <a:cubicBezTo>
                    <a:pt x="185" y="0"/>
                    <a:pt x="184" y="0"/>
                    <a:pt x="184" y="0"/>
                  </a:cubicBezTo>
                  <a:cubicBezTo>
                    <a:pt x="183" y="0"/>
                    <a:pt x="182" y="0"/>
                    <a:pt x="18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a:p>
          </p:txBody>
        </p:sp>
      </p:grpSp>
    </p:spTree>
    <p:extLst>
      <p:ext uri="{BB962C8B-B14F-4D97-AF65-F5344CB8AC3E}">
        <p14:creationId xmlns:p14="http://schemas.microsoft.com/office/powerpoint/2010/main" val="3726591462"/>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10880" y="1521184"/>
            <a:ext cx="6178854" cy="3817442"/>
          </a:xfrm>
        </p:spPr>
        <p:txBody>
          <a:bodyPr anchor="ctr"/>
          <a:lstStyle>
            <a:lvl1pPr marL="0" indent="0">
              <a:buNone/>
              <a:defRPr sz="2400" b="1">
                <a:solidFill>
                  <a:schemeClr val="tx2"/>
                </a:solidFill>
              </a:defRPr>
            </a:lvl1pPr>
            <a:lvl2pPr marL="456963" indent="0">
              <a:buNone/>
              <a:defRPr sz="1999">
                <a:solidFill>
                  <a:schemeClr val="tx1">
                    <a:tint val="75000"/>
                  </a:schemeClr>
                </a:solidFill>
              </a:defRPr>
            </a:lvl2pPr>
            <a:lvl3pPr marL="913923" indent="0">
              <a:buNone/>
              <a:defRPr sz="1799">
                <a:solidFill>
                  <a:schemeClr val="tx1">
                    <a:tint val="75000"/>
                  </a:schemeClr>
                </a:solidFill>
              </a:defRPr>
            </a:lvl3pPr>
            <a:lvl4pPr marL="1370889" indent="0">
              <a:buNone/>
              <a:defRPr sz="1599">
                <a:solidFill>
                  <a:schemeClr val="tx1">
                    <a:tint val="75000"/>
                  </a:schemeClr>
                </a:solidFill>
              </a:defRPr>
            </a:lvl4pPr>
            <a:lvl5pPr marL="1827852" indent="0">
              <a:buNone/>
              <a:defRPr sz="1599">
                <a:solidFill>
                  <a:schemeClr val="tx1">
                    <a:tint val="75000"/>
                  </a:schemeClr>
                </a:solidFill>
              </a:defRPr>
            </a:lvl5pPr>
            <a:lvl6pPr marL="2284812" indent="0">
              <a:buNone/>
              <a:defRPr sz="1599">
                <a:solidFill>
                  <a:schemeClr val="tx1">
                    <a:tint val="75000"/>
                  </a:schemeClr>
                </a:solidFill>
              </a:defRPr>
            </a:lvl6pPr>
            <a:lvl7pPr marL="2741775" indent="0">
              <a:buNone/>
              <a:defRPr sz="1599">
                <a:solidFill>
                  <a:schemeClr val="tx1">
                    <a:tint val="75000"/>
                  </a:schemeClr>
                </a:solidFill>
              </a:defRPr>
            </a:lvl7pPr>
            <a:lvl8pPr marL="3198740" indent="0">
              <a:buNone/>
              <a:defRPr sz="1599">
                <a:solidFill>
                  <a:schemeClr val="tx1">
                    <a:tint val="75000"/>
                  </a:schemeClr>
                </a:solidFill>
              </a:defRPr>
            </a:lvl8pPr>
            <a:lvl9pPr marL="3655703" indent="0">
              <a:buNone/>
              <a:defRPr sz="1599">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p:txBody>
          <a:bodyPr/>
          <a:lstStyle/>
          <a:p>
            <a:r>
              <a:rPr lang="en-US"/>
              <a:t>Footer (Insert &gt; Header &amp; Footer to edit)</a:t>
            </a:r>
          </a:p>
        </p:txBody>
      </p:sp>
      <p:sp>
        <p:nvSpPr>
          <p:cNvPr id="6" name="Slide Number Placeholder 5"/>
          <p:cNvSpPr>
            <a:spLocks noGrp="1"/>
          </p:cNvSpPr>
          <p:nvPr>
            <p:ph type="sldNum" sz="quarter" idx="12"/>
          </p:nvPr>
        </p:nvSpPr>
        <p:spPr/>
        <p:txBody>
          <a:bodyPr/>
          <a:lstStyle/>
          <a:p>
            <a:fld id="{32B354EE-31EA-4FC2-9496-7B6202183237}" type="slidenum">
              <a:rPr lang="en-US" smtClean="0"/>
              <a:t>‹#›</a:t>
            </a:fld>
            <a:endParaRPr lang="en-US"/>
          </a:p>
        </p:txBody>
      </p:sp>
      <p:sp>
        <p:nvSpPr>
          <p:cNvPr id="19" name="Title 18">
            <a:extLst>
              <a:ext uri="{FF2B5EF4-FFF2-40B4-BE49-F238E27FC236}">
                <a16:creationId xmlns:a16="http://schemas.microsoft.com/office/drawing/2014/main" id="{B47DF7D0-E13C-497A-8A71-C5A8B4D7F67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5070345"/>
      </p:ext>
    </p:extLst>
  </p:cSld>
  <p:clrMapOvr>
    <a:masterClrMapping/>
  </p:clrMapOvr>
  <p:transition>
    <p:fade/>
  </p:transition>
  <p:extLst>
    <p:ext uri="{DCECCB84-F9BA-43D5-87BE-67443E8EF086}">
      <p15:sldGuideLst xmlns:p15="http://schemas.microsoft.com/office/powerpoint/2012/main">
        <p15:guide id="1" pos="4151">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chemeClr val="tx2"/>
        </a:solid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lvl1pPr>
              <a:defRPr>
                <a:solidFill>
                  <a:schemeClr val="bg1"/>
                </a:solidFill>
              </a:defRPr>
            </a:lvl1pPr>
          </a:lstStyle>
          <a:p>
            <a:r>
              <a:rPr lang="en-US"/>
              <a:t>Footer (Insert &gt; Header &amp; Footer to edit)</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32B354EE-31EA-4FC2-9496-7B6202183237}" type="slidenum">
              <a:rPr lang="en-US" smtClean="0"/>
              <a:pPr/>
              <a:t>‹#›</a:t>
            </a:fld>
            <a:endParaRPr lang="en-US"/>
          </a:p>
        </p:txBody>
      </p:sp>
      <p:sp>
        <p:nvSpPr>
          <p:cNvPr id="7" name="Title 6">
            <a:extLst>
              <a:ext uri="{FF2B5EF4-FFF2-40B4-BE49-F238E27FC236}">
                <a16:creationId xmlns:a16="http://schemas.microsoft.com/office/drawing/2014/main" id="{EE9D7C87-D037-4797-9A6A-B999C6F026D8}"/>
              </a:ext>
            </a:extLst>
          </p:cNvPr>
          <p:cNvSpPr>
            <a:spLocks noGrp="1"/>
          </p:cNvSpPr>
          <p:nvPr>
            <p:ph type="title"/>
          </p:nvPr>
        </p:nvSpPr>
        <p:spPr>
          <a:xfrm>
            <a:off x="410878" y="1521184"/>
            <a:ext cx="11368018" cy="3815631"/>
          </a:xfrm>
        </p:spPr>
        <p:txBody>
          <a:bodyPr anchor="ctr"/>
          <a:lstStyle>
            <a:lvl1pPr algn="ctr">
              <a:defRPr sz="6800">
                <a:solidFill>
                  <a:schemeClr val="accent1"/>
                </a:solidFill>
              </a:defRPr>
            </a:lvl1pPr>
          </a:lstStyle>
          <a:p>
            <a:r>
              <a:rPr lang="en-US"/>
              <a:t>Click to edit Master title style</a:t>
            </a:r>
          </a:p>
        </p:txBody>
      </p:sp>
    </p:spTree>
    <p:extLst>
      <p:ext uri="{BB962C8B-B14F-4D97-AF65-F5344CB8AC3E}">
        <p14:creationId xmlns:p14="http://schemas.microsoft.com/office/powerpoint/2010/main" val="395800148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Coral">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806139"/>
            <a:ext cx="9144001" cy="3245724"/>
          </a:xfrm>
        </p:spPr>
        <p:txBody>
          <a:bodyPr anchor="ctr"/>
          <a:lstStyle>
            <a:lvl1pPr algn="ctr">
              <a:defRPr sz="4000">
                <a:solidFill>
                  <a:schemeClr val="bg1"/>
                </a:solidFill>
              </a:defRPr>
            </a:lvl1pPr>
          </a:lstStyle>
          <a:p>
            <a:r>
              <a:rPr lang="en-US"/>
              <a:t>Click to edit Master title style</a:t>
            </a:r>
          </a:p>
        </p:txBody>
      </p:sp>
      <p:sp>
        <p:nvSpPr>
          <p:cNvPr id="3" name="Subtitle 2"/>
          <p:cNvSpPr>
            <a:spLocks noGrp="1"/>
          </p:cNvSpPr>
          <p:nvPr>
            <p:ph type="subTitle" idx="1"/>
          </p:nvPr>
        </p:nvSpPr>
        <p:spPr>
          <a:xfrm>
            <a:off x="1524000" y="5714325"/>
            <a:ext cx="9144001" cy="453754"/>
          </a:xfrm>
        </p:spPr>
        <p:txBody>
          <a:bodyPr/>
          <a:lstStyle>
            <a:lvl1pPr marL="0" indent="0" algn="ctr">
              <a:buNone/>
              <a:defRPr sz="2400">
                <a:solidFill>
                  <a:schemeClr val="bg2"/>
                </a:solidFill>
              </a:defRPr>
            </a:lvl1pPr>
            <a:lvl2pPr marL="521258" indent="0" algn="ctr">
              <a:buNone/>
              <a:defRPr sz="2280"/>
            </a:lvl2pPr>
            <a:lvl3pPr marL="1042512" indent="0" algn="ctr">
              <a:buNone/>
              <a:defRPr sz="2052"/>
            </a:lvl3pPr>
            <a:lvl4pPr marL="1563773" indent="0" algn="ctr">
              <a:buNone/>
              <a:defRPr sz="1824"/>
            </a:lvl4pPr>
            <a:lvl5pPr marL="2085031" indent="0" algn="ctr">
              <a:buNone/>
              <a:defRPr sz="1824"/>
            </a:lvl5pPr>
            <a:lvl6pPr marL="2606285" indent="0" algn="ctr">
              <a:buNone/>
              <a:defRPr sz="1824"/>
            </a:lvl6pPr>
            <a:lvl7pPr marL="3127543" indent="0" algn="ctr">
              <a:buNone/>
              <a:defRPr sz="1824"/>
            </a:lvl7pPr>
            <a:lvl8pPr marL="3648803" indent="0" algn="ctr">
              <a:buNone/>
              <a:defRPr sz="1824"/>
            </a:lvl8pPr>
            <a:lvl9pPr marL="4170060" indent="0" algn="ctr">
              <a:buNone/>
              <a:defRPr sz="1824"/>
            </a:lvl9pPr>
          </a:lstStyle>
          <a:p>
            <a:r>
              <a:rPr lang="en-US"/>
              <a:t>Click to edit Master subtitle style</a:t>
            </a:r>
          </a:p>
        </p:txBody>
      </p:sp>
      <p:sp>
        <p:nvSpPr>
          <p:cNvPr id="15" name="Freeform 5">
            <a:extLst>
              <a:ext uri="{FF2B5EF4-FFF2-40B4-BE49-F238E27FC236}">
                <a16:creationId xmlns:a16="http://schemas.microsoft.com/office/drawing/2014/main" id="{E019F4F3-4329-484A-96A3-B3A599B3BA7F}"/>
              </a:ext>
            </a:extLst>
          </p:cNvPr>
          <p:cNvSpPr>
            <a:spLocks noChangeAspect="1" noEditPoints="1"/>
          </p:cNvSpPr>
          <p:nvPr/>
        </p:nvSpPr>
        <p:spPr bwMode="auto">
          <a:xfrm>
            <a:off x="5282400" y="662400"/>
            <a:ext cx="1627200" cy="283542"/>
          </a:xfrm>
          <a:custGeom>
            <a:avLst/>
            <a:gdLst>
              <a:gd name="T0" fmla="*/ 2108 w 2301"/>
              <a:gd name="T1" fmla="*/ 43 h 400"/>
              <a:gd name="T2" fmla="*/ 2257 w 2301"/>
              <a:gd name="T3" fmla="*/ 121 h 400"/>
              <a:gd name="T4" fmla="*/ 2154 w 2301"/>
              <a:gd name="T5" fmla="*/ 289 h 400"/>
              <a:gd name="T6" fmla="*/ 2261 w 2301"/>
              <a:gd name="T7" fmla="*/ 295 h 400"/>
              <a:gd name="T8" fmla="*/ 2301 w 2301"/>
              <a:gd name="T9" fmla="*/ 300 h 400"/>
              <a:gd name="T10" fmla="*/ 2108 w 2301"/>
              <a:gd name="T11" fmla="*/ 167 h 400"/>
              <a:gd name="T12" fmla="*/ 548 w 2301"/>
              <a:gd name="T13" fmla="*/ 121 h 400"/>
              <a:gd name="T14" fmla="*/ 643 w 2301"/>
              <a:gd name="T15" fmla="*/ 43 h 400"/>
              <a:gd name="T16" fmla="*/ 746 w 2301"/>
              <a:gd name="T17" fmla="*/ 167 h 400"/>
              <a:gd name="T18" fmla="*/ 729 w 2301"/>
              <a:gd name="T19" fmla="*/ 342 h 400"/>
              <a:gd name="T20" fmla="*/ 789 w 2301"/>
              <a:gd name="T21" fmla="*/ 296 h 400"/>
              <a:gd name="T22" fmla="*/ 622 w 2301"/>
              <a:gd name="T23" fmla="*/ 371 h 400"/>
              <a:gd name="T24" fmla="*/ 1997 w 2301"/>
              <a:gd name="T25" fmla="*/ 297 h 400"/>
              <a:gd name="T26" fmla="*/ 1822 w 2301"/>
              <a:gd name="T27" fmla="*/ 327 h 400"/>
              <a:gd name="T28" fmla="*/ 1954 w 2301"/>
              <a:gd name="T29" fmla="*/ 213 h 400"/>
              <a:gd name="T30" fmla="*/ 1962 w 2301"/>
              <a:gd name="T31" fmla="*/ 141 h 400"/>
              <a:gd name="T32" fmla="*/ 1885 w 2301"/>
              <a:gd name="T33" fmla="*/ 400 h 400"/>
              <a:gd name="T34" fmla="*/ 0 w 2301"/>
              <a:gd name="T35" fmla="*/ 389 h 400"/>
              <a:gd name="T36" fmla="*/ 19 w 2301"/>
              <a:gd name="T37" fmla="*/ 167 h 400"/>
              <a:gd name="T38" fmla="*/ 125 w 2301"/>
              <a:gd name="T39" fmla="*/ 126 h 400"/>
              <a:gd name="T40" fmla="*/ 206 w 2301"/>
              <a:gd name="T41" fmla="*/ 395 h 400"/>
              <a:gd name="T42" fmla="*/ 381 w 2301"/>
              <a:gd name="T43" fmla="*/ 116 h 400"/>
              <a:gd name="T44" fmla="*/ 266 w 2301"/>
              <a:gd name="T45" fmla="*/ 126 h 400"/>
              <a:gd name="T46" fmla="*/ 272 w 2301"/>
              <a:gd name="T47" fmla="*/ 395 h 400"/>
              <a:gd name="T48" fmla="*/ 312 w 2301"/>
              <a:gd name="T49" fmla="*/ 250 h 400"/>
              <a:gd name="T50" fmla="*/ 313 w 2301"/>
              <a:gd name="T51" fmla="*/ 228 h 400"/>
              <a:gd name="T52" fmla="*/ 313 w 2301"/>
              <a:gd name="T53" fmla="*/ 215 h 400"/>
              <a:gd name="T54" fmla="*/ 316 w 2301"/>
              <a:gd name="T55" fmla="*/ 206 h 400"/>
              <a:gd name="T56" fmla="*/ 319 w 2301"/>
              <a:gd name="T57" fmla="*/ 197 h 400"/>
              <a:gd name="T58" fmla="*/ 327 w 2301"/>
              <a:gd name="T59" fmla="*/ 186 h 400"/>
              <a:gd name="T60" fmla="*/ 447 w 2301"/>
              <a:gd name="T61" fmla="*/ 389 h 400"/>
              <a:gd name="T62" fmla="*/ 493 w 2301"/>
              <a:gd name="T63" fmla="*/ 228 h 400"/>
              <a:gd name="T64" fmla="*/ 142 w 2301"/>
              <a:gd name="T65" fmla="*/ 38 h 400"/>
              <a:gd name="T66" fmla="*/ 1292 w 2301"/>
              <a:gd name="T67" fmla="*/ 116 h 400"/>
              <a:gd name="T68" fmla="*/ 1177 w 2301"/>
              <a:gd name="T69" fmla="*/ 126 h 400"/>
              <a:gd name="T70" fmla="*/ 1183 w 2301"/>
              <a:gd name="T71" fmla="*/ 395 h 400"/>
              <a:gd name="T72" fmla="*/ 1223 w 2301"/>
              <a:gd name="T73" fmla="*/ 250 h 400"/>
              <a:gd name="T74" fmla="*/ 1224 w 2301"/>
              <a:gd name="T75" fmla="*/ 228 h 400"/>
              <a:gd name="T76" fmla="*/ 1224 w 2301"/>
              <a:gd name="T77" fmla="*/ 215 h 400"/>
              <a:gd name="T78" fmla="*/ 1227 w 2301"/>
              <a:gd name="T79" fmla="*/ 206 h 400"/>
              <a:gd name="T80" fmla="*/ 1230 w 2301"/>
              <a:gd name="T81" fmla="*/ 197 h 400"/>
              <a:gd name="T82" fmla="*/ 1238 w 2301"/>
              <a:gd name="T83" fmla="*/ 186 h 400"/>
              <a:gd name="T84" fmla="*/ 1386 w 2301"/>
              <a:gd name="T85" fmla="*/ 179 h 400"/>
              <a:gd name="T86" fmla="*/ 1002 w 2301"/>
              <a:gd name="T87" fmla="*/ 126 h 400"/>
              <a:gd name="T88" fmla="*/ 956 w 2301"/>
              <a:gd name="T89" fmla="*/ 170 h 400"/>
              <a:gd name="T90" fmla="*/ 981 w 2301"/>
              <a:gd name="T91" fmla="*/ 400 h 400"/>
              <a:gd name="T92" fmla="*/ 981 w 2301"/>
              <a:gd name="T93" fmla="*/ 354 h 400"/>
              <a:gd name="T94" fmla="*/ 1692 w 2301"/>
              <a:gd name="T95" fmla="*/ 232 h 400"/>
              <a:gd name="T96" fmla="*/ 1646 w 2301"/>
              <a:gd name="T97" fmla="*/ 149 h 400"/>
              <a:gd name="T98" fmla="*/ 1648 w 2301"/>
              <a:gd name="T99" fmla="*/ 258 h 400"/>
              <a:gd name="T100" fmla="*/ 1536 w 2301"/>
              <a:gd name="T101" fmla="*/ 120 h 400"/>
              <a:gd name="T102" fmla="*/ 1646 w 2301"/>
              <a:gd name="T103" fmla="*/ 390 h 400"/>
              <a:gd name="T104" fmla="*/ 1692 w 2301"/>
              <a:gd name="T105" fmla="*/ 242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01" h="400">
                <a:moveTo>
                  <a:pt x="2054" y="162"/>
                </a:moveTo>
                <a:cubicBezTo>
                  <a:pt x="2054" y="126"/>
                  <a:pt x="2054" y="126"/>
                  <a:pt x="2054" y="126"/>
                </a:cubicBezTo>
                <a:cubicBezTo>
                  <a:pt x="2054" y="122"/>
                  <a:pt x="2055" y="121"/>
                  <a:pt x="2059" y="121"/>
                </a:cubicBezTo>
                <a:cubicBezTo>
                  <a:pt x="2108" y="121"/>
                  <a:pt x="2108" y="121"/>
                  <a:pt x="2108" y="121"/>
                </a:cubicBezTo>
                <a:cubicBezTo>
                  <a:pt x="2108" y="43"/>
                  <a:pt x="2108" y="43"/>
                  <a:pt x="2108" y="43"/>
                </a:cubicBezTo>
                <a:cubicBezTo>
                  <a:pt x="2108" y="39"/>
                  <a:pt x="2110" y="38"/>
                  <a:pt x="2113" y="38"/>
                </a:cubicBezTo>
                <a:cubicBezTo>
                  <a:pt x="2149" y="38"/>
                  <a:pt x="2149" y="38"/>
                  <a:pt x="2149" y="38"/>
                </a:cubicBezTo>
                <a:cubicBezTo>
                  <a:pt x="2152" y="38"/>
                  <a:pt x="2154" y="39"/>
                  <a:pt x="2154" y="43"/>
                </a:cubicBezTo>
                <a:cubicBezTo>
                  <a:pt x="2154" y="121"/>
                  <a:pt x="2154" y="121"/>
                  <a:pt x="2154" y="121"/>
                </a:cubicBezTo>
                <a:cubicBezTo>
                  <a:pt x="2257" y="121"/>
                  <a:pt x="2257" y="121"/>
                  <a:pt x="2257" y="121"/>
                </a:cubicBezTo>
                <a:cubicBezTo>
                  <a:pt x="2260" y="121"/>
                  <a:pt x="2262" y="122"/>
                  <a:pt x="2262" y="126"/>
                </a:cubicBezTo>
                <a:cubicBezTo>
                  <a:pt x="2262" y="162"/>
                  <a:pt x="2262" y="162"/>
                  <a:pt x="2262" y="162"/>
                </a:cubicBezTo>
                <a:cubicBezTo>
                  <a:pt x="2262" y="165"/>
                  <a:pt x="2260" y="167"/>
                  <a:pt x="2257" y="167"/>
                </a:cubicBezTo>
                <a:cubicBezTo>
                  <a:pt x="2154" y="167"/>
                  <a:pt x="2154" y="167"/>
                  <a:pt x="2154" y="167"/>
                </a:cubicBezTo>
                <a:cubicBezTo>
                  <a:pt x="2154" y="289"/>
                  <a:pt x="2154" y="289"/>
                  <a:pt x="2154" y="289"/>
                </a:cubicBezTo>
                <a:cubicBezTo>
                  <a:pt x="2154" y="311"/>
                  <a:pt x="2158" y="326"/>
                  <a:pt x="2166" y="336"/>
                </a:cubicBezTo>
                <a:cubicBezTo>
                  <a:pt x="2174" y="348"/>
                  <a:pt x="2186" y="353"/>
                  <a:pt x="2204" y="353"/>
                </a:cubicBezTo>
                <a:cubicBezTo>
                  <a:pt x="2221" y="353"/>
                  <a:pt x="2232" y="351"/>
                  <a:pt x="2240" y="342"/>
                </a:cubicBezTo>
                <a:cubicBezTo>
                  <a:pt x="2248" y="333"/>
                  <a:pt x="2252" y="319"/>
                  <a:pt x="2255" y="300"/>
                </a:cubicBezTo>
                <a:cubicBezTo>
                  <a:pt x="2255" y="297"/>
                  <a:pt x="2257" y="295"/>
                  <a:pt x="2261" y="295"/>
                </a:cubicBezTo>
                <a:cubicBezTo>
                  <a:pt x="2296" y="295"/>
                  <a:pt x="2296" y="295"/>
                  <a:pt x="2296" y="295"/>
                </a:cubicBezTo>
                <a:cubicBezTo>
                  <a:pt x="2298" y="295"/>
                  <a:pt x="2298" y="295"/>
                  <a:pt x="2298" y="295"/>
                </a:cubicBezTo>
                <a:cubicBezTo>
                  <a:pt x="2298" y="295"/>
                  <a:pt x="2299" y="295"/>
                  <a:pt x="2300" y="296"/>
                </a:cubicBezTo>
                <a:cubicBezTo>
                  <a:pt x="2300" y="296"/>
                  <a:pt x="2301" y="297"/>
                  <a:pt x="2301" y="297"/>
                </a:cubicBezTo>
                <a:cubicBezTo>
                  <a:pt x="2301" y="298"/>
                  <a:pt x="2301" y="299"/>
                  <a:pt x="2301" y="300"/>
                </a:cubicBezTo>
                <a:cubicBezTo>
                  <a:pt x="2301" y="327"/>
                  <a:pt x="2295" y="350"/>
                  <a:pt x="2276" y="371"/>
                </a:cubicBezTo>
                <a:cubicBezTo>
                  <a:pt x="2259" y="390"/>
                  <a:pt x="2235" y="400"/>
                  <a:pt x="2205" y="400"/>
                </a:cubicBezTo>
                <a:cubicBezTo>
                  <a:pt x="2173" y="400"/>
                  <a:pt x="2149" y="390"/>
                  <a:pt x="2133" y="371"/>
                </a:cubicBezTo>
                <a:cubicBezTo>
                  <a:pt x="2116" y="353"/>
                  <a:pt x="2108" y="325"/>
                  <a:pt x="2108" y="289"/>
                </a:cubicBezTo>
                <a:cubicBezTo>
                  <a:pt x="2108" y="167"/>
                  <a:pt x="2108" y="167"/>
                  <a:pt x="2108" y="167"/>
                </a:cubicBezTo>
                <a:cubicBezTo>
                  <a:pt x="2059" y="167"/>
                  <a:pt x="2059" y="167"/>
                  <a:pt x="2059" y="167"/>
                </a:cubicBezTo>
                <a:cubicBezTo>
                  <a:pt x="2055" y="167"/>
                  <a:pt x="2054" y="165"/>
                  <a:pt x="2054" y="162"/>
                </a:cubicBezTo>
                <a:moveTo>
                  <a:pt x="543" y="162"/>
                </a:moveTo>
                <a:cubicBezTo>
                  <a:pt x="543" y="126"/>
                  <a:pt x="543" y="126"/>
                  <a:pt x="543" y="126"/>
                </a:cubicBezTo>
                <a:cubicBezTo>
                  <a:pt x="543" y="122"/>
                  <a:pt x="545" y="121"/>
                  <a:pt x="548" y="121"/>
                </a:cubicBezTo>
                <a:cubicBezTo>
                  <a:pt x="597" y="121"/>
                  <a:pt x="597" y="121"/>
                  <a:pt x="597" y="121"/>
                </a:cubicBezTo>
                <a:cubicBezTo>
                  <a:pt x="597" y="43"/>
                  <a:pt x="597" y="43"/>
                  <a:pt x="597" y="43"/>
                </a:cubicBezTo>
                <a:cubicBezTo>
                  <a:pt x="597" y="39"/>
                  <a:pt x="599" y="38"/>
                  <a:pt x="603" y="38"/>
                </a:cubicBezTo>
                <a:cubicBezTo>
                  <a:pt x="638" y="38"/>
                  <a:pt x="638" y="38"/>
                  <a:pt x="638" y="38"/>
                </a:cubicBezTo>
                <a:cubicBezTo>
                  <a:pt x="642" y="38"/>
                  <a:pt x="643" y="39"/>
                  <a:pt x="643" y="43"/>
                </a:cubicBezTo>
                <a:cubicBezTo>
                  <a:pt x="643" y="121"/>
                  <a:pt x="643" y="121"/>
                  <a:pt x="643" y="121"/>
                </a:cubicBezTo>
                <a:cubicBezTo>
                  <a:pt x="746" y="121"/>
                  <a:pt x="746" y="121"/>
                  <a:pt x="746" y="121"/>
                </a:cubicBezTo>
                <a:cubicBezTo>
                  <a:pt x="750" y="121"/>
                  <a:pt x="751" y="122"/>
                  <a:pt x="751" y="126"/>
                </a:cubicBezTo>
                <a:cubicBezTo>
                  <a:pt x="751" y="162"/>
                  <a:pt x="751" y="162"/>
                  <a:pt x="751" y="162"/>
                </a:cubicBezTo>
                <a:cubicBezTo>
                  <a:pt x="751" y="165"/>
                  <a:pt x="750" y="167"/>
                  <a:pt x="746" y="167"/>
                </a:cubicBezTo>
                <a:cubicBezTo>
                  <a:pt x="644" y="167"/>
                  <a:pt x="644" y="167"/>
                  <a:pt x="644" y="167"/>
                </a:cubicBezTo>
                <a:cubicBezTo>
                  <a:pt x="644" y="289"/>
                  <a:pt x="644" y="289"/>
                  <a:pt x="644" y="289"/>
                </a:cubicBezTo>
                <a:cubicBezTo>
                  <a:pt x="644" y="311"/>
                  <a:pt x="648" y="326"/>
                  <a:pt x="655" y="336"/>
                </a:cubicBezTo>
                <a:cubicBezTo>
                  <a:pt x="663" y="348"/>
                  <a:pt x="675" y="353"/>
                  <a:pt x="694" y="353"/>
                </a:cubicBezTo>
                <a:cubicBezTo>
                  <a:pt x="711" y="353"/>
                  <a:pt x="721" y="351"/>
                  <a:pt x="729" y="342"/>
                </a:cubicBezTo>
                <a:cubicBezTo>
                  <a:pt x="737" y="333"/>
                  <a:pt x="741" y="319"/>
                  <a:pt x="744" y="300"/>
                </a:cubicBezTo>
                <a:cubicBezTo>
                  <a:pt x="745" y="297"/>
                  <a:pt x="746" y="295"/>
                  <a:pt x="750" y="295"/>
                </a:cubicBezTo>
                <a:cubicBezTo>
                  <a:pt x="785" y="295"/>
                  <a:pt x="785" y="295"/>
                  <a:pt x="785" y="295"/>
                </a:cubicBezTo>
                <a:cubicBezTo>
                  <a:pt x="787" y="295"/>
                  <a:pt x="787" y="295"/>
                  <a:pt x="787" y="295"/>
                </a:cubicBezTo>
                <a:cubicBezTo>
                  <a:pt x="788" y="295"/>
                  <a:pt x="788" y="295"/>
                  <a:pt x="789" y="296"/>
                </a:cubicBezTo>
                <a:cubicBezTo>
                  <a:pt x="790" y="296"/>
                  <a:pt x="790" y="297"/>
                  <a:pt x="790" y="297"/>
                </a:cubicBezTo>
                <a:cubicBezTo>
                  <a:pt x="790" y="298"/>
                  <a:pt x="790" y="299"/>
                  <a:pt x="790" y="300"/>
                </a:cubicBezTo>
                <a:cubicBezTo>
                  <a:pt x="790" y="327"/>
                  <a:pt x="784" y="350"/>
                  <a:pt x="765" y="371"/>
                </a:cubicBezTo>
                <a:cubicBezTo>
                  <a:pt x="748" y="390"/>
                  <a:pt x="725" y="400"/>
                  <a:pt x="694" y="400"/>
                </a:cubicBezTo>
                <a:cubicBezTo>
                  <a:pt x="662" y="400"/>
                  <a:pt x="639" y="390"/>
                  <a:pt x="622" y="371"/>
                </a:cubicBezTo>
                <a:cubicBezTo>
                  <a:pt x="606" y="353"/>
                  <a:pt x="597" y="325"/>
                  <a:pt x="597" y="289"/>
                </a:cubicBezTo>
                <a:cubicBezTo>
                  <a:pt x="597" y="167"/>
                  <a:pt x="597" y="167"/>
                  <a:pt x="597" y="167"/>
                </a:cubicBezTo>
                <a:cubicBezTo>
                  <a:pt x="548" y="167"/>
                  <a:pt x="548" y="167"/>
                  <a:pt x="548" y="167"/>
                </a:cubicBezTo>
                <a:cubicBezTo>
                  <a:pt x="545" y="167"/>
                  <a:pt x="543" y="165"/>
                  <a:pt x="543" y="162"/>
                </a:cubicBezTo>
                <a:moveTo>
                  <a:pt x="1997" y="297"/>
                </a:moveTo>
                <a:cubicBezTo>
                  <a:pt x="1965" y="297"/>
                  <a:pt x="1965" y="297"/>
                  <a:pt x="1965" y="297"/>
                </a:cubicBezTo>
                <a:cubicBezTo>
                  <a:pt x="1958" y="297"/>
                  <a:pt x="1956" y="301"/>
                  <a:pt x="1955" y="304"/>
                </a:cubicBezTo>
                <a:cubicBezTo>
                  <a:pt x="1950" y="319"/>
                  <a:pt x="1942" y="331"/>
                  <a:pt x="1929" y="340"/>
                </a:cubicBezTo>
                <a:cubicBezTo>
                  <a:pt x="1917" y="349"/>
                  <a:pt x="1902" y="354"/>
                  <a:pt x="1885" y="354"/>
                </a:cubicBezTo>
                <a:cubicBezTo>
                  <a:pt x="1860" y="354"/>
                  <a:pt x="1837" y="345"/>
                  <a:pt x="1822" y="327"/>
                </a:cubicBezTo>
                <a:cubicBezTo>
                  <a:pt x="1807" y="309"/>
                  <a:pt x="1799" y="286"/>
                  <a:pt x="1799" y="258"/>
                </a:cubicBezTo>
                <a:cubicBezTo>
                  <a:pt x="1799" y="230"/>
                  <a:pt x="1807" y="206"/>
                  <a:pt x="1822" y="188"/>
                </a:cubicBezTo>
                <a:cubicBezTo>
                  <a:pt x="1837" y="170"/>
                  <a:pt x="1860" y="162"/>
                  <a:pt x="1885" y="162"/>
                </a:cubicBezTo>
                <a:cubicBezTo>
                  <a:pt x="1902" y="162"/>
                  <a:pt x="1916" y="166"/>
                  <a:pt x="1928" y="175"/>
                </a:cubicBezTo>
                <a:cubicBezTo>
                  <a:pt x="1941" y="184"/>
                  <a:pt x="1949" y="197"/>
                  <a:pt x="1954" y="213"/>
                </a:cubicBezTo>
                <a:cubicBezTo>
                  <a:pt x="1955" y="215"/>
                  <a:pt x="1957" y="219"/>
                  <a:pt x="1964" y="219"/>
                </a:cubicBezTo>
                <a:cubicBezTo>
                  <a:pt x="1996" y="219"/>
                  <a:pt x="1996" y="219"/>
                  <a:pt x="1996" y="219"/>
                </a:cubicBezTo>
                <a:cubicBezTo>
                  <a:pt x="1999" y="219"/>
                  <a:pt x="2002" y="217"/>
                  <a:pt x="2002" y="213"/>
                </a:cubicBezTo>
                <a:cubicBezTo>
                  <a:pt x="2002" y="211"/>
                  <a:pt x="2002" y="209"/>
                  <a:pt x="2001" y="207"/>
                </a:cubicBezTo>
                <a:cubicBezTo>
                  <a:pt x="1994" y="179"/>
                  <a:pt x="1982" y="157"/>
                  <a:pt x="1962" y="141"/>
                </a:cubicBezTo>
                <a:cubicBezTo>
                  <a:pt x="1942" y="125"/>
                  <a:pt x="1916" y="117"/>
                  <a:pt x="1885" y="117"/>
                </a:cubicBezTo>
                <a:cubicBezTo>
                  <a:pt x="1845" y="117"/>
                  <a:pt x="1812" y="130"/>
                  <a:pt x="1788" y="157"/>
                </a:cubicBezTo>
                <a:cubicBezTo>
                  <a:pt x="1765" y="183"/>
                  <a:pt x="1753" y="217"/>
                  <a:pt x="1753" y="258"/>
                </a:cubicBezTo>
                <a:cubicBezTo>
                  <a:pt x="1753" y="299"/>
                  <a:pt x="1765" y="333"/>
                  <a:pt x="1789" y="360"/>
                </a:cubicBezTo>
                <a:cubicBezTo>
                  <a:pt x="1812" y="386"/>
                  <a:pt x="1845" y="400"/>
                  <a:pt x="1885" y="400"/>
                </a:cubicBezTo>
                <a:cubicBezTo>
                  <a:pt x="1916" y="400"/>
                  <a:pt x="1942" y="392"/>
                  <a:pt x="1962" y="376"/>
                </a:cubicBezTo>
                <a:cubicBezTo>
                  <a:pt x="1982" y="360"/>
                  <a:pt x="1995" y="337"/>
                  <a:pt x="2003" y="309"/>
                </a:cubicBezTo>
                <a:cubicBezTo>
                  <a:pt x="2003" y="307"/>
                  <a:pt x="2003" y="305"/>
                  <a:pt x="2003" y="303"/>
                </a:cubicBezTo>
                <a:cubicBezTo>
                  <a:pt x="2003" y="300"/>
                  <a:pt x="2002" y="297"/>
                  <a:pt x="1997" y="297"/>
                </a:cubicBezTo>
                <a:moveTo>
                  <a:pt x="0" y="389"/>
                </a:moveTo>
                <a:cubicBezTo>
                  <a:pt x="0" y="354"/>
                  <a:pt x="0" y="354"/>
                  <a:pt x="0" y="354"/>
                </a:cubicBezTo>
                <a:cubicBezTo>
                  <a:pt x="0" y="351"/>
                  <a:pt x="2" y="349"/>
                  <a:pt x="6" y="349"/>
                </a:cubicBezTo>
                <a:cubicBezTo>
                  <a:pt x="78" y="349"/>
                  <a:pt x="78" y="349"/>
                  <a:pt x="78" y="349"/>
                </a:cubicBezTo>
                <a:cubicBezTo>
                  <a:pt x="78" y="167"/>
                  <a:pt x="78" y="167"/>
                  <a:pt x="78" y="167"/>
                </a:cubicBezTo>
                <a:cubicBezTo>
                  <a:pt x="19" y="167"/>
                  <a:pt x="19" y="167"/>
                  <a:pt x="19" y="167"/>
                </a:cubicBezTo>
                <a:cubicBezTo>
                  <a:pt x="16" y="167"/>
                  <a:pt x="14" y="165"/>
                  <a:pt x="14" y="162"/>
                </a:cubicBezTo>
                <a:cubicBezTo>
                  <a:pt x="14" y="126"/>
                  <a:pt x="14" y="126"/>
                  <a:pt x="14" y="126"/>
                </a:cubicBezTo>
                <a:cubicBezTo>
                  <a:pt x="14" y="122"/>
                  <a:pt x="16" y="121"/>
                  <a:pt x="19" y="121"/>
                </a:cubicBezTo>
                <a:cubicBezTo>
                  <a:pt x="119" y="121"/>
                  <a:pt x="119" y="121"/>
                  <a:pt x="119" y="121"/>
                </a:cubicBezTo>
                <a:cubicBezTo>
                  <a:pt x="122" y="121"/>
                  <a:pt x="124" y="122"/>
                  <a:pt x="125" y="126"/>
                </a:cubicBezTo>
                <a:cubicBezTo>
                  <a:pt x="125" y="349"/>
                  <a:pt x="125" y="349"/>
                  <a:pt x="125" y="349"/>
                </a:cubicBezTo>
                <a:cubicBezTo>
                  <a:pt x="206" y="349"/>
                  <a:pt x="206" y="349"/>
                  <a:pt x="206" y="349"/>
                </a:cubicBezTo>
                <a:cubicBezTo>
                  <a:pt x="209" y="349"/>
                  <a:pt x="211" y="351"/>
                  <a:pt x="211" y="354"/>
                </a:cubicBezTo>
                <a:cubicBezTo>
                  <a:pt x="211" y="389"/>
                  <a:pt x="211" y="389"/>
                  <a:pt x="211" y="389"/>
                </a:cubicBezTo>
                <a:cubicBezTo>
                  <a:pt x="211" y="393"/>
                  <a:pt x="210" y="395"/>
                  <a:pt x="206" y="395"/>
                </a:cubicBezTo>
                <a:cubicBezTo>
                  <a:pt x="6" y="395"/>
                  <a:pt x="6" y="395"/>
                  <a:pt x="6" y="395"/>
                </a:cubicBezTo>
                <a:cubicBezTo>
                  <a:pt x="2" y="395"/>
                  <a:pt x="0" y="393"/>
                  <a:pt x="0" y="389"/>
                </a:cubicBezTo>
                <a:moveTo>
                  <a:pt x="493" y="227"/>
                </a:moveTo>
                <a:cubicBezTo>
                  <a:pt x="493" y="199"/>
                  <a:pt x="485" y="173"/>
                  <a:pt x="463" y="149"/>
                </a:cubicBezTo>
                <a:cubicBezTo>
                  <a:pt x="444" y="128"/>
                  <a:pt x="411" y="116"/>
                  <a:pt x="381" y="116"/>
                </a:cubicBezTo>
                <a:cubicBezTo>
                  <a:pt x="332" y="116"/>
                  <a:pt x="312" y="150"/>
                  <a:pt x="312" y="150"/>
                </a:cubicBezTo>
                <a:cubicBezTo>
                  <a:pt x="312" y="126"/>
                  <a:pt x="312" y="126"/>
                  <a:pt x="312" y="126"/>
                </a:cubicBezTo>
                <a:cubicBezTo>
                  <a:pt x="312" y="122"/>
                  <a:pt x="311" y="121"/>
                  <a:pt x="307" y="121"/>
                </a:cubicBezTo>
                <a:cubicBezTo>
                  <a:pt x="272" y="121"/>
                  <a:pt x="272" y="121"/>
                  <a:pt x="272" y="121"/>
                </a:cubicBezTo>
                <a:cubicBezTo>
                  <a:pt x="268" y="121"/>
                  <a:pt x="266" y="122"/>
                  <a:pt x="266" y="126"/>
                </a:cubicBezTo>
                <a:cubicBezTo>
                  <a:pt x="266" y="231"/>
                  <a:pt x="266" y="231"/>
                  <a:pt x="266" y="231"/>
                </a:cubicBezTo>
                <a:cubicBezTo>
                  <a:pt x="266" y="235"/>
                  <a:pt x="266" y="238"/>
                  <a:pt x="266" y="242"/>
                </a:cubicBezTo>
                <a:cubicBezTo>
                  <a:pt x="266" y="244"/>
                  <a:pt x="266" y="247"/>
                  <a:pt x="266" y="250"/>
                </a:cubicBezTo>
                <a:cubicBezTo>
                  <a:pt x="266" y="389"/>
                  <a:pt x="266" y="389"/>
                  <a:pt x="266" y="389"/>
                </a:cubicBezTo>
                <a:cubicBezTo>
                  <a:pt x="266" y="393"/>
                  <a:pt x="268" y="395"/>
                  <a:pt x="272" y="395"/>
                </a:cubicBezTo>
                <a:cubicBezTo>
                  <a:pt x="307" y="395"/>
                  <a:pt x="307" y="395"/>
                  <a:pt x="307" y="395"/>
                </a:cubicBezTo>
                <a:cubicBezTo>
                  <a:pt x="311" y="395"/>
                  <a:pt x="312" y="393"/>
                  <a:pt x="312" y="389"/>
                </a:cubicBezTo>
                <a:cubicBezTo>
                  <a:pt x="312" y="251"/>
                  <a:pt x="312" y="251"/>
                  <a:pt x="312" y="251"/>
                </a:cubicBezTo>
                <a:cubicBezTo>
                  <a:pt x="312" y="250"/>
                  <a:pt x="312" y="250"/>
                  <a:pt x="312" y="250"/>
                </a:cubicBezTo>
                <a:cubicBezTo>
                  <a:pt x="312" y="250"/>
                  <a:pt x="312" y="250"/>
                  <a:pt x="312" y="250"/>
                </a:cubicBezTo>
                <a:cubicBezTo>
                  <a:pt x="312" y="243"/>
                  <a:pt x="312" y="241"/>
                  <a:pt x="312" y="236"/>
                </a:cubicBezTo>
                <a:cubicBezTo>
                  <a:pt x="312" y="235"/>
                  <a:pt x="312" y="235"/>
                  <a:pt x="312" y="235"/>
                </a:cubicBezTo>
                <a:cubicBezTo>
                  <a:pt x="312" y="234"/>
                  <a:pt x="312" y="233"/>
                  <a:pt x="312" y="232"/>
                </a:cubicBezTo>
                <a:cubicBezTo>
                  <a:pt x="312" y="232"/>
                  <a:pt x="312" y="231"/>
                  <a:pt x="312" y="231"/>
                </a:cubicBezTo>
                <a:cubicBezTo>
                  <a:pt x="312" y="230"/>
                  <a:pt x="313" y="229"/>
                  <a:pt x="313" y="228"/>
                </a:cubicBezTo>
                <a:cubicBezTo>
                  <a:pt x="313" y="228"/>
                  <a:pt x="313" y="224"/>
                  <a:pt x="313" y="223"/>
                </a:cubicBezTo>
                <a:cubicBezTo>
                  <a:pt x="313" y="222"/>
                  <a:pt x="313" y="222"/>
                  <a:pt x="313" y="221"/>
                </a:cubicBezTo>
                <a:cubicBezTo>
                  <a:pt x="313" y="220"/>
                  <a:pt x="313" y="220"/>
                  <a:pt x="313" y="219"/>
                </a:cubicBezTo>
                <a:cubicBezTo>
                  <a:pt x="313" y="218"/>
                  <a:pt x="313" y="218"/>
                  <a:pt x="313" y="217"/>
                </a:cubicBezTo>
                <a:cubicBezTo>
                  <a:pt x="313" y="216"/>
                  <a:pt x="313" y="216"/>
                  <a:pt x="313" y="215"/>
                </a:cubicBezTo>
                <a:cubicBezTo>
                  <a:pt x="314" y="215"/>
                  <a:pt x="314" y="214"/>
                  <a:pt x="314" y="213"/>
                </a:cubicBezTo>
                <a:cubicBezTo>
                  <a:pt x="314" y="213"/>
                  <a:pt x="314" y="212"/>
                  <a:pt x="314" y="211"/>
                </a:cubicBezTo>
                <a:cubicBezTo>
                  <a:pt x="314" y="211"/>
                  <a:pt x="314" y="210"/>
                  <a:pt x="315" y="210"/>
                </a:cubicBezTo>
                <a:cubicBezTo>
                  <a:pt x="315" y="209"/>
                  <a:pt x="315" y="208"/>
                  <a:pt x="315" y="208"/>
                </a:cubicBezTo>
                <a:cubicBezTo>
                  <a:pt x="315" y="207"/>
                  <a:pt x="315" y="207"/>
                  <a:pt x="316" y="206"/>
                </a:cubicBezTo>
                <a:cubicBezTo>
                  <a:pt x="316" y="205"/>
                  <a:pt x="316" y="205"/>
                  <a:pt x="316" y="204"/>
                </a:cubicBezTo>
                <a:cubicBezTo>
                  <a:pt x="316" y="203"/>
                  <a:pt x="317" y="203"/>
                  <a:pt x="317" y="202"/>
                </a:cubicBezTo>
                <a:cubicBezTo>
                  <a:pt x="317" y="202"/>
                  <a:pt x="317" y="201"/>
                  <a:pt x="318" y="200"/>
                </a:cubicBezTo>
                <a:cubicBezTo>
                  <a:pt x="318" y="200"/>
                  <a:pt x="318" y="199"/>
                  <a:pt x="319" y="199"/>
                </a:cubicBezTo>
                <a:cubicBezTo>
                  <a:pt x="319" y="198"/>
                  <a:pt x="319" y="197"/>
                  <a:pt x="319" y="197"/>
                </a:cubicBezTo>
                <a:cubicBezTo>
                  <a:pt x="320" y="196"/>
                  <a:pt x="320" y="195"/>
                  <a:pt x="321" y="195"/>
                </a:cubicBezTo>
                <a:cubicBezTo>
                  <a:pt x="321" y="194"/>
                  <a:pt x="321" y="194"/>
                  <a:pt x="322" y="193"/>
                </a:cubicBezTo>
                <a:cubicBezTo>
                  <a:pt x="322" y="192"/>
                  <a:pt x="323" y="192"/>
                  <a:pt x="323" y="191"/>
                </a:cubicBezTo>
                <a:cubicBezTo>
                  <a:pt x="323" y="190"/>
                  <a:pt x="324" y="190"/>
                  <a:pt x="324" y="189"/>
                </a:cubicBezTo>
                <a:cubicBezTo>
                  <a:pt x="325" y="188"/>
                  <a:pt x="326" y="187"/>
                  <a:pt x="327" y="186"/>
                </a:cubicBezTo>
                <a:cubicBezTo>
                  <a:pt x="342" y="168"/>
                  <a:pt x="360" y="162"/>
                  <a:pt x="380" y="162"/>
                </a:cubicBezTo>
                <a:cubicBezTo>
                  <a:pt x="398" y="162"/>
                  <a:pt x="416" y="169"/>
                  <a:pt x="427" y="180"/>
                </a:cubicBezTo>
                <a:cubicBezTo>
                  <a:pt x="439" y="192"/>
                  <a:pt x="447" y="210"/>
                  <a:pt x="447" y="229"/>
                </a:cubicBezTo>
                <a:cubicBezTo>
                  <a:pt x="447" y="254"/>
                  <a:pt x="447" y="254"/>
                  <a:pt x="447" y="254"/>
                </a:cubicBezTo>
                <a:cubicBezTo>
                  <a:pt x="447" y="389"/>
                  <a:pt x="447" y="389"/>
                  <a:pt x="447" y="389"/>
                </a:cubicBezTo>
                <a:cubicBezTo>
                  <a:pt x="447" y="393"/>
                  <a:pt x="449" y="395"/>
                  <a:pt x="453" y="395"/>
                </a:cubicBezTo>
                <a:cubicBezTo>
                  <a:pt x="488" y="395"/>
                  <a:pt x="488" y="395"/>
                  <a:pt x="488" y="395"/>
                </a:cubicBezTo>
                <a:cubicBezTo>
                  <a:pt x="492" y="395"/>
                  <a:pt x="493" y="393"/>
                  <a:pt x="493" y="389"/>
                </a:cubicBezTo>
                <a:cubicBezTo>
                  <a:pt x="493" y="254"/>
                  <a:pt x="493" y="254"/>
                  <a:pt x="493" y="254"/>
                </a:cubicBezTo>
                <a:cubicBezTo>
                  <a:pt x="493" y="228"/>
                  <a:pt x="493" y="228"/>
                  <a:pt x="493" y="228"/>
                </a:cubicBezTo>
                <a:cubicBezTo>
                  <a:pt x="493" y="227"/>
                  <a:pt x="493" y="227"/>
                  <a:pt x="493" y="227"/>
                </a:cubicBezTo>
                <a:close/>
                <a:moveTo>
                  <a:pt x="105" y="0"/>
                </a:moveTo>
                <a:cubicBezTo>
                  <a:pt x="84" y="0"/>
                  <a:pt x="67" y="17"/>
                  <a:pt x="67" y="38"/>
                </a:cubicBezTo>
                <a:cubicBezTo>
                  <a:pt x="67" y="58"/>
                  <a:pt x="84" y="75"/>
                  <a:pt x="105" y="75"/>
                </a:cubicBezTo>
                <a:cubicBezTo>
                  <a:pt x="125" y="75"/>
                  <a:pt x="142" y="58"/>
                  <a:pt x="142" y="38"/>
                </a:cubicBezTo>
                <a:cubicBezTo>
                  <a:pt x="142" y="17"/>
                  <a:pt x="125" y="0"/>
                  <a:pt x="105" y="0"/>
                </a:cubicBezTo>
                <a:moveTo>
                  <a:pt x="1386" y="179"/>
                </a:moveTo>
                <a:cubicBezTo>
                  <a:pt x="1390" y="177"/>
                  <a:pt x="1391" y="173"/>
                  <a:pt x="1389" y="169"/>
                </a:cubicBezTo>
                <a:cubicBezTo>
                  <a:pt x="1385" y="162"/>
                  <a:pt x="1380" y="156"/>
                  <a:pt x="1374" y="149"/>
                </a:cubicBezTo>
                <a:cubicBezTo>
                  <a:pt x="1355" y="128"/>
                  <a:pt x="1322" y="116"/>
                  <a:pt x="1292" y="116"/>
                </a:cubicBezTo>
                <a:cubicBezTo>
                  <a:pt x="1243" y="116"/>
                  <a:pt x="1223" y="150"/>
                  <a:pt x="1223" y="150"/>
                </a:cubicBezTo>
                <a:cubicBezTo>
                  <a:pt x="1223" y="126"/>
                  <a:pt x="1223" y="126"/>
                  <a:pt x="1223" y="126"/>
                </a:cubicBezTo>
                <a:cubicBezTo>
                  <a:pt x="1223" y="123"/>
                  <a:pt x="1221" y="121"/>
                  <a:pt x="1218" y="121"/>
                </a:cubicBezTo>
                <a:cubicBezTo>
                  <a:pt x="1183" y="121"/>
                  <a:pt x="1183" y="121"/>
                  <a:pt x="1183" y="121"/>
                </a:cubicBezTo>
                <a:cubicBezTo>
                  <a:pt x="1179" y="121"/>
                  <a:pt x="1177" y="122"/>
                  <a:pt x="1177" y="126"/>
                </a:cubicBezTo>
                <a:cubicBezTo>
                  <a:pt x="1177" y="231"/>
                  <a:pt x="1177" y="231"/>
                  <a:pt x="1177" y="231"/>
                </a:cubicBezTo>
                <a:cubicBezTo>
                  <a:pt x="1177" y="235"/>
                  <a:pt x="1177" y="238"/>
                  <a:pt x="1177" y="242"/>
                </a:cubicBezTo>
                <a:cubicBezTo>
                  <a:pt x="1177" y="244"/>
                  <a:pt x="1177" y="247"/>
                  <a:pt x="1177" y="250"/>
                </a:cubicBezTo>
                <a:cubicBezTo>
                  <a:pt x="1177" y="389"/>
                  <a:pt x="1177" y="389"/>
                  <a:pt x="1177" y="389"/>
                </a:cubicBezTo>
                <a:cubicBezTo>
                  <a:pt x="1177" y="393"/>
                  <a:pt x="1179" y="395"/>
                  <a:pt x="1183" y="395"/>
                </a:cubicBezTo>
                <a:cubicBezTo>
                  <a:pt x="1218" y="395"/>
                  <a:pt x="1218" y="395"/>
                  <a:pt x="1218" y="395"/>
                </a:cubicBezTo>
                <a:cubicBezTo>
                  <a:pt x="1221" y="395"/>
                  <a:pt x="1223" y="392"/>
                  <a:pt x="1223" y="389"/>
                </a:cubicBezTo>
                <a:cubicBezTo>
                  <a:pt x="1223" y="251"/>
                  <a:pt x="1223" y="251"/>
                  <a:pt x="1223" y="251"/>
                </a:cubicBezTo>
                <a:cubicBezTo>
                  <a:pt x="1223" y="250"/>
                  <a:pt x="1223" y="250"/>
                  <a:pt x="1223" y="250"/>
                </a:cubicBezTo>
                <a:cubicBezTo>
                  <a:pt x="1223" y="250"/>
                  <a:pt x="1223" y="250"/>
                  <a:pt x="1223" y="250"/>
                </a:cubicBezTo>
                <a:cubicBezTo>
                  <a:pt x="1223" y="243"/>
                  <a:pt x="1223" y="241"/>
                  <a:pt x="1223" y="236"/>
                </a:cubicBezTo>
                <a:cubicBezTo>
                  <a:pt x="1223" y="236"/>
                  <a:pt x="1223" y="235"/>
                  <a:pt x="1223" y="235"/>
                </a:cubicBezTo>
                <a:cubicBezTo>
                  <a:pt x="1223" y="234"/>
                  <a:pt x="1223" y="233"/>
                  <a:pt x="1223" y="232"/>
                </a:cubicBezTo>
                <a:cubicBezTo>
                  <a:pt x="1223" y="232"/>
                  <a:pt x="1223" y="231"/>
                  <a:pt x="1223" y="231"/>
                </a:cubicBezTo>
                <a:cubicBezTo>
                  <a:pt x="1223" y="230"/>
                  <a:pt x="1223" y="229"/>
                  <a:pt x="1224" y="228"/>
                </a:cubicBezTo>
                <a:cubicBezTo>
                  <a:pt x="1224" y="228"/>
                  <a:pt x="1224" y="224"/>
                  <a:pt x="1224" y="223"/>
                </a:cubicBezTo>
                <a:cubicBezTo>
                  <a:pt x="1224" y="222"/>
                  <a:pt x="1224" y="222"/>
                  <a:pt x="1224" y="221"/>
                </a:cubicBezTo>
                <a:cubicBezTo>
                  <a:pt x="1224" y="220"/>
                  <a:pt x="1224" y="220"/>
                  <a:pt x="1224" y="219"/>
                </a:cubicBezTo>
                <a:cubicBezTo>
                  <a:pt x="1224" y="218"/>
                  <a:pt x="1224" y="218"/>
                  <a:pt x="1224" y="217"/>
                </a:cubicBezTo>
                <a:cubicBezTo>
                  <a:pt x="1224" y="216"/>
                  <a:pt x="1224" y="216"/>
                  <a:pt x="1224" y="215"/>
                </a:cubicBezTo>
                <a:cubicBezTo>
                  <a:pt x="1225" y="215"/>
                  <a:pt x="1225" y="214"/>
                  <a:pt x="1225" y="213"/>
                </a:cubicBezTo>
                <a:cubicBezTo>
                  <a:pt x="1225" y="213"/>
                  <a:pt x="1225" y="212"/>
                  <a:pt x="1225" y="211"/>
                </a:cubicBezTo>
                <a:cubicBezTo>
                  <a:pt x="1225" y="211"/>
                  <a:pt x="1225" y="210"/>
                  <a:pt x="1226" y="210"/>
                </a:cubicBezTo>
                <a:cubicBezTo>
                  <a:pt x="1226" y="209"/>
                  <a:pt x="1226" y="208"/>
                  <a:pt x="1226" y="208"/>
                </a:cubicBezTo>
                <a:cubicBezTo>
                  <a:pt x="1226" y="207"/>
                  <a:pt x="1226" y="207"/>
                  <a:pt x="1227" y="206"/>
                </a:cubicBezTo>
                <a:cubicBezTo>
                  <a:pt x="1227" y="205"/>
                  <a:pt x="1227" y="205"/>
                  <a:pt x="1227" y="204"/>
                </a:cubicBezTo>
                <a:cubicBezTo>
                  <a:pt x="1227" y="203"/>
                  <a:pt x="1228" y="203"/>
                  <a:pt x="1228" y="202"/>
                </a:cubicBezTo>
                <a:cubicBezTo>
                  <a:pt x="1228" y="202"/>
                  <a:pt x="1228" y="201"/>
                  <a:pt x="1229" y="200"/>
                </a:cubicBezTo>
                <a:cubicBezTo>
                  <a:pt x="1229" y="200"/>
                  <a:pt x="1229" y="199"/>
                  <a:pt x="1230" y="199"/>
                </a:cubicBezTo>
                <a:cubicBezTo>
                  <a:pt x="1230" y="198"/>
                  <a:pt x="1230" y="197"/>
                  <a:pt x="1230" y="197"/>
                </a:cubicBezTo>
                <a:cubicBezTo>
                  <a:pt x="1231" y="196"/>
                  <a:pt x="1231" y="195"/>
                  <a:pt x="1232" y="195"/>
                </a:cubicBezTo>
                <a:cubicBezTo>
                  <a:pt x="1232" y="194"/>
                  <a:pt x="1232" y="194"/>
                  <a:pt x="1232" y="193"/>
                </a:cubicBezTo>
                <a:cubicBezTo>
                  <a:pt x="1233" y="192"/>
                  <a:pt x="1233" y="192"/>
                  <a:pt x="1234" y="191"/>
                </a:cubicBezTo>
                <a:cubicBezTo>
                  <a:pt x="1234" y="190"/>
                  <a:pt x="1235" y="190"/>
                  <a:pt x="1235" y="189"/>
                </a:cubicBezTo>
                <a:cubicBezTo>
                  <a:pt x="1236" y="188"/>
                  <a:pt x="1237" y="187"/>
                  <a:pt x="1238" y="186"/>
                </a:cubicBezTo>
                <a:cubicBezTo>
                  <a:pt x="1253" y="168"/>
                  <a:pt x="1271" y="162"/>
                  <a:pt x="1291" y="162"/>
                </a:cubicBezTo>
                <a:cubicBezTo>
                  <a:pt x="1308" y="162"/>
                  <a:pt x="1328" y="169"/>
                  <a:pt x="1338" y="180"/>
                </a:cubicBezTo>
                <a:cubicBezTo>
                  <a:pt x="1341" y="184"/>
                  <a:pt x="1345" y="188"/>
                  <a:pt x="1348" y="192"/>
                </a:cubicBezTo>
                <a:cubicBezTo>
                  <a:pt x="1350" y="196"/>
                  <a:pt x="1354" y="197"/>
                  <a:pt x="1357" y="195"/>
                </a:cubicBezTo>
                <a:lnTo>
                  <a:pt x="1386" y="179"/>
                </a:lnTo>
                <a:close/>
                <a:moveTo>
                  <a:pt x="1106" y="268"/>
                </a:moveTo>
                <a:cubicBezTo>
                  <a:pt x="1109" y="268"/>
                  <a:pt x="1112" y="265"/>
                  <a:pt x="1112" y="262"/>
                </a:cubicBezTo>
                <a:cubicBezTo>
                  <a:pt x="1112" y="256"/>
                  <a:pt x="1112" y="249"/>
                  <a:pt x="1112" y="246"/>
                </a:cubicBezTo>
                <a:cubicBezTo>
                  <a:pt x="1107" y="184"/>
                  <a:pt x="1065" y="133"/>
                  <a:pt x="1010" y="120"/>
                </a:cubicBezTo>
                <a:cubicBezTo>
                  <a:pt x="1006" y="119"/>
                  <a:pt x="1002" y="122"/>
                  <a:pt x="1002" y="126"/>
                </a:cubicBezTo>
                <a:cubicBezTo>
                  <a:pt x="1002" y="164"/>
                  <a:pt x="1002" y="164"/>
                  <a:pt x="1002" y="164"/>
                </a:cubicBezTo>
                <a:cubicBezTo>
                  <a:pt x="1002" y="166"/>
                  <a:pt x="1004" y="169"/>
                  <a:pt x="1006" y="170"/>
                </a:cubicBezTo>
                <a:cubicBezTo>
                  <a:pt x="1032" y="179"/>
                  <a:pt x="1053" y="201"/>
                  <a:pt x="1062" y="229"/>
                </a:cubicBezTo>
                <a:cubicBezTo>
                  <a:pt x="900" y="229"/>
                  <a:pt x="900" y="229"/>
                  <a:pt x="900" y="229"/>
                </a:cubicBezTo>
                <a:cubicBezTo>
                  <a:pt x="909" y="201"/>
                  <a:pt x="930" y="179"/>
                  <a:pt x="956" y="170"/>
                </a:cubicBezTo>
                <a:cubicBezTo>
                  <a:pt x="958" y="169"/>
                  <a:pt x="960" y="166"/>
                  <a:pt x="960" y="164"/>
                </a:cubicBezTo>
                <a:cubicBezTo>
                  <a:pt x="960" y="126"/>
                  <a:pt x="960" y="126"/>
                  <a:pt x="960" y="126"/>
                </a:cubicBezTo>
                <a:cubicBezTo>
                  <a:pt x="960" y="122"/>
                  <a:pt x="956" y="119"/>
                  <a:pt x="952" y="120"/>
                </a:cubicBezTo>
                <a:cubicBezTo>
                  <a:pt x="893" y="134"/>
                  <a:pt x="850" y="191"/>
                  <a:pt x="850" y="258"/>
                </a:cubicBezTo>
                <a:cubicBezTo>
                  <a:pt x="850" y="337"/>
                  <a:pt x="908" y="400"/>
                  <a:pt x="981" y="400"/>
                </a:cubicBezTo>
                <a:cubicBezTo>
                  <a:pt x="1032" y="400"/>
                  <a:pt x="1076" y="369"/>
                  <a:pt x="1098" y="322"/>
                </a:cubicBezTo>
                <a:cubicBezTo>
                  <a:pt x="1100" y="318"/>
                  <a:pt x="1097" y="313"/>
                  <a:pt x="1092" y="313"/>
                </a:cubicBezTo>
                <a:cubicBezTo>
                  <a:pt x="1055" y="313"/>
                  <a:pt x="1055" y="313"/>
                  <a:pt x="1055" y="313"/>
                </a:cubicBezTo>
                <a:cubicBezTo>
                  <a:pt x="1053" y="313"/>
                  <a:pt x="1051" y="314"/>
                  <a:pt x="1049" y="316"/>
                </a:cubicBezTo>
                <a:cubicBezTo>
                  <a:pt x="1034" y="339"/>
                  <a:pt x="1009" y="354"/>
                  <a:pt x="981" y="354"/>
                </a:cubicBezTo>
                <a:cubicBezTo>
                  <a:pt x="936" y="354"/>
                  <a:pt x="900" y="316"/>
                  <a:pt x="896" y="268"/>
                </a:cubicBezTo>
                <a:cubicBezTo>
                  <a:pt x="1066" y="268"/>
                  <a:pt x="1066" y="268"/>
                  <a:pt x="1066" y="268"/>
                </a:cubicBezTo>
                <a:cubicBezTo>
                  <a:pt x="1066" y="268"/>
                  <a:pt x="1066" y="268"/>
                  <a:pt x="1066" y="268"/>
                </a:cubicBezTo>
                <a:lnTo>
                  <a:pt x="1106" y="268"/>
                </a:lnTo>
                <a:close/>
                <a:moveTo>
                  <a:pt x="1692" y="232"/>
                </a:moveTo>
                <a:cubicBezTo>
                  <a:pt x="1692" y="126"/>
                  <a:pt x="1692" y="126"/>
                  <a:pt x="1692" y="126"/>
                </a:cubicBezTo>
                <a:cubicBezTo>
                  <a:pt x="1692" y="123"/>
                  <a:pt x="1690" y="121"/>
                  <a:pt x="1686" y="121"/>
                </a:cubicBezTo>
                <a:cubicBezTo>
                  <a:pt x="1651" y="121"/>
                  <a:pt x="1651" y="121"/>
                  <a:pt x="1651" y="121"/>
                </a:cubicBezTo>
                <a:cubicBezTo>
                  <a:pt x="1648" y="121"/>
                  <a:pt x="1646" y="123"/>
                  <a:pt x="1646" y="126"/>
                </a:cubicBezTo>
                <a:cubicBezTo>
                  <a:pt x="1646" y="149"/>
                  <a:pt x="1646" y="149"/>
                  <a:pt x="1646" y="149"/>
                </a:cubicBezTo>
                <a:cubicBezTo>
                  <a:pt x="1628" y="133"/>
                  <a:pt x="1607" y="121"/>
                  <a:pt x="1583" y="116"/>
                </a:cubicBezTo>
                <a:cubicBezTo>
                  <a:pt x="1580" y="115"/>
                  <a:pt x="1578" y="117"/>
                  <a:pt x="1578" y="120"/>
                </a:cubicBezTo>
                <a:cubicBezTo>
                  <a:pt x="1578" y="161"/>
                  <a:pt x="1578" y="161"/>
                  <a:pt x="1578" y="161"/>
                </a:cubicBezTo>
                <a:cubicBezTo>
                  <a:pt x="1578" y="163"/>
                  <a:pt x="1579" y="165"/>
                  <a:pt x="1581" y="165"/>
                </a:cubicBezTo>
                <a:cubicBezTo>
                  <a:pt x="1619" y="176"/>
                  <a:pt x="1648" y="213"/>
                  <a:pt x="1648" y="258"/>
                </a:cubicBezTo>
                <a:cubicBezTo>
                  <a:pt x="1648" y="311"/>
                  <a:pt x="1608" y="354"/>
                  <a:pt x="1558" y="354"/>
                </a:cubicBezTo>
                <a:cubicBezTo>
                  <a:pt x="1509" y="354"/>
                  <a:pt x="1469" y="311"/>
                  <a:pt x="1469" y="258"/>
                </a:cubicBezTo>
                <a:cubicBezTo>
                  <a:pt x="1469" y="214"/>
                  <a:pt x="1496" y="178"/>
                  <a:pt x="1533" y="166"/>
                </a:cubicBezTo>
                <a:cubicBezTo>
                  <a:pt x="1535" y="165"/>
                  <a:pt x="1536" y="164"/>
                  <a:pt x="1536" y="162"/>
                </a:cubicBezTo>
                <a:cubicBezTo>
                  <a:pt x="1536" y="120"/>
                  <a:pt x="1536" y="120"/>
                  <a:pt x="1536" y="120"/>
                </a:cubicBezTo>
                <a:cubicBezTo>
                  <a:pt x="1536" y="117"/>
                  <a:pt x="1534" y="115"/>
                  <a:pt x="1531" y="116"/>
                </a:cubicBezTo>
                <a:cubicBezTo>
                  <a:pt x="1469" y="128"/>
                  <a:pt x="1422" y="187"/>
                  <a:pt x="1422" y="257"/>
                </a:cubicBezTo>
                <a:cubicBezTo>
                  <a:pt x="1422" y="336"/>
                  <a:pt x="1482" y="400"/>
                  <a:pt x="1557" y="400"/>
                </a:cubicBezTo>
                <a:cubicBezTo>
                  <a:pt x="1591" y="400"/>
                  <a:pt x="1622" y="386"/>
                  <a:pt x="1646" y="364"/>
                </a:cubicBezTo>
                <a:cubicBezTo>
                  <a:pt x="1646" y="390"/>
                  <a:pt x="1646" y="390"/>
                  <a:pt x="1646" y="390"/>
                </a:cubicBezTo>
                <a:cubicBezTo>
                  <a:pt x="1646" y="393"/>
                  <a:pt x="1648" y="395"/>
                  <a:pt x="1651" y="395"/>
                </a:cubicBezTo>
                <a:cubicBezTo>
                  <a:pt x="1686" y="395"/>
                  <a:pt x="1686" y="395"/>
                  <a:pt x="1686" y="395"/>
                </a:cubicBezTo>
                <a:cubicBezTo>
                  <a:pt x="1690" y="395"/>
                  <a:pt x="1692" y="393"/>
                  <a:pt x="1692" y="390"/>
                </a:cubicBezTo>
                <a:cubicBezTo>
                  <a:pt x="1692" y="250"/>
                  <a:pt x="1692" y="250"/>
                  <a:pt x="1692" y="250"/>
                </a:cubicBezTo>
                <a:cubicBezTo>
                  <a:pt x="1692" y="247"/>
                  <a:pt x="1692" y="245"/>
                  <a:pt x="1692" y="242"/>
                </a:cubicBezTo>
                <a:cubicBezTo>
                  <a:pt x="1692" y="239"/>
                  <a:pt x="1692" y="235"/>
                  <a:pt x="1692" y="232"/>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095776388"/>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Closing Slide 2">
    <p:bg>
      <p:bgPr>
        <a:solidFill>
          <a:schemeClr val="bg1"/>
        </a:solidFill>
        <a:effectLst/>
      </p:bgPr>
    </p:bg>
    <p:spTree>
      <p:nvGrpSpPr>
        <p:cNvPr id="1" name=""/>
        <p:cNvGrpSpPr/>
        <p:nvPr/>
      </p:nvGrpSpPr>
      <p:grpSpPr>
        <a:xfrm>
          <a:off x="0" y="0"/>
          <a:ext cx="0" cy="0"/>
          <a:chOff x="0" y="0"/>
          <a:chExt cx="0" cy="0"/>
        </a:xfrm>
      </p:grpSpPr>
      <p:sp>
        <p:nvSpPr>
          <p:cNvPr id="17" name="Freeform 5">
            <a:extLst>
              <a:ext uri="{FF2B5EF4-FFF2-40B4-BE49-F238E27FC236}">
                <a16:creationId xmlns:a16="http://schemas.microsoft.com/office/drawing/2014/main" id="{BA983841-2E67-4BBE-85F6-5824A21EE170}"/>
              </a:ext>
            </a:extLst>
          </p:cNvPr>
          <p:cNvSpPr>
            <a:spLocks noChangeAspect="1" noEditPoints="1"/>
          </p:cNvSpPr>
          <p:nvPr/>
        </p:nvSpPr>
        <p:spPr bwMode="auto">
          <a:xfrm>
            <a:off x="2841600" y="2861916"/>
            <a:ext cx="6508800" cy="1134169"/>
          </a:xfrm>
          <a:custGeom>
            <a:avLst/>
            <a:gdLst>
              <a:gd name="T0" fmla="*/ 2108 w 2301"/>
              <a:gd name="T1" fmla="*/ 43 h 400"/>
              <a:gd name="T2" fmla="*/ 2257 w 2301"/>
              <a:gd name="T3" fmla="*/ 121 h 400"/>
              <a:gd name="T4" fmla="*/ 2154 w 2301"/>
              <a:gd name="T5" fmla="*/ 289 h 400"/>
              <a:gd name="T6" fmla="*/ 2261 w 2301"/>
              <a:gd name="T7" fmla="*/ 295 h 400"/>
              <a:gd name="T8" fmla="*/ 2301 w 2301"/>
              <a:gd name="T9" fmla="*/ 300 h 400"/>
              <a:gd name="T10" fmla="*/ 2108 w 2301"/>
              <a:gd name="T11" fmla="*/ 167 h 400"/>
              <a:gd name="T12" fmla="*/ 548 w 2301"/>
              <a:gd name="T13" fmla="*/ 121 h 400"/>
              <a:gd name="T14" fmla="*/ 643 w 2301"/>
              <a:gd name="T15" fmla="*/ 43 h 400"/>
              <a:gd name="T16" fmla="*/ 746 w 2301"/>
              <a:gd name="T17" fmla="*/ 167 h 400"/>
              <a:gd name="T18" fmla="*/ 729 w 2301"/>
              <a:gd name="T19" fmla="*/ 342 h 400"/>
              <a:gd name="T20" fmla="*/ 789 w 2301"/>
              <a:gd name="T21" fmla="*/ 296 h 400"/>
              <a:gd name="T22" fmla="*/ 622 w 2301"/>
              <a:gd name="T23" fmla="*/ 371 h 400"/>
              <a:gd name="T24" fmla="*/ 1997 w 2301"/>
              <a:gd name="T25" fmla="*/ 297 h 400"/>
              <a:gd name="T26" fmla="*/ 1822 w 2301"/>
              <a:gd name="T27" fmla="*/ 327 h 400"/>
              <a:gd name="T28" fmla="*/ 1954 w 2301"/>
              <a:gd name="T29" fmla="*/ 213 h 400"/>
              <a:gd name="T30" fmla="*/ 1962 w 2301"/>
              <a:gd name="T31" fmla="*/ 141 h 400"/>
              <a:gd name="T32" fmla="*/ 1885 w 2301"/>
              <a:gd name="T33" fmla="*/ 400 h 400"/>
              <a:gd name="T34" fmla="*/ 0 w 2301"/>
              <a:gd name="T35" fmla="*/ 389 h 400"/>
              <a:gd name="T36" fmla="*/ 19 w 2301"/>
              <a:gd name="T37" fmla="*/ 167 h 400"/>
              <a:gd name="T38" fmla="*/ 125 w 2301"/>
              <a:gd name="T39" fmla="*/ 126 h 400"/>
              <a:gd name="T40" fmla="*/ 206 w 2301"/>
              <a:gd name="T41" fmla="*/ 395 h 400"/>
              <a:gd name="T42" fmla="*/ 381 w 2301"/>
              <a:gd name="T43" fmla="*/ 116 h 400"/>
              <a:gd name="T44" fmla="*/ 266 w 2301"/>
              <a:gd name="T45" fmla="*/ 126 h 400"/>
              <a:gd name="T46" fmla="*/ 272 w 2301"/>
              <a:gd name="T47" fmla="*/ 395 h 400"/>
              <a:gd name="T48" fmla="*/ 312 w 2301"/>
              <a:gd name="T49" fmla="*/ 250 h 400"/>
              <a:gd name="T50" fmla="*/ 313 w 2301"/>
              <a:gd name="T51" fmla="*/ 228 h 400"/>
              <a:gd name="T52" fmla="*/ 313 w 2301"/>
              <a:gd name="T53" fmla="*/ 215 h 400"/>
              <a:gd name="T54" fmla="*/ 316 w 2301"/>
              <a:gd name="T55" fmla="*/ 206 h 400"/>
              <a:gd name="T56" fmla="*/ 319 w 2301"/>
              <a:gd name="T57" fmla="*/ 197 h 400"/>
              <a:gd name="T58" fmla="*/ 327 w 2301"/>
              <a:gd name="T59" fmla="*/ 186 h 400"/>
              <a:gd name="T60" fmla="*/ 447 w 2301"/>
              <a:gd name="T61" fmla="*/ 389 h 400"/>
              <a:gd name="T62" fmla="*/ 493 w 2301"/>
              <a:gd name="T63" fmla="*/ 228 h 400"/>
              <a:gd name="T64" fmla="*/ 142 w 2301"/>
              <a:gd name="T65" fmla="*/ 38 h 400"/>
              <a:gd name="T66" fmla="*/ 1292 w 2301"/>
              <a:gd name="T67" fmla="*/ 116 h 400"/>
              <a:gd name="T68" fmla="*/ 1177 w 2301"/>
              <a:gd name="T69" fmla="*/ 126 h 400"/>
              <a:gd name="T70" fmla="*/ 1183 w 2301"/>
              <a:gd name="T71" fmla="*/ 395 h 400"/>
              <a:gd name="T72" fmla="*/ 1223 w 2301"/>
              <a:gd name="T73" fmla="*/ 250 h 400"/>
              <a:gd name="T74" fmla="*/ 1224 w 2301"/>
              <a:gd name="T75" fmla="*/ 228 h 400"/>
              <a:gd name="T76" fmla="*/ 1224 w 2301"/>
              <a:gd name="T77" fmla="*/ 215 h 400"/>
              <a:gd name="T78" fmla="*/ 1227 w 2301"/>
              <a:gd name="T79" fmla="*/ 206 h 400"/>
              <a:gd name="T80" fmla="*/ 1230 w 2301"/>
              <a:gd name="T81" fmla="*/ 197 h 400"/>
              <a:gd name="T82" fmla="*/ 1238 w 2301"/>
              <a:gd name="T83" fmla="*/ 186 h 400"/>
              <a:gd name="T84" fmla="*/ 1386 w 2301"/>
              <a:gd name="T85" fmla="*/ 179 h 400"/>
              <a:gd name="T86" fmla="*/ 1002 w 2301"/>
              <a:gd name="T87" fmla="*/ 126 h 400"/>
              <a:gd name="T88" fmla="*/ 956 w 2301"/>
              <a:gd name="T89" fmla="*/ 170 h 400"/>
              <a:gd name="T90" fmla="*/ 981 w 2301"/>
              <a:gd name="T91" fmla="*/ 400 h 400"/>
              <a:gd name="T92" fmla="*/ 981 w 2301"/>
              <a:gd name="T93" fmla="*/ 354 h 400"/>
              <a:gd name="T94" fmla="*/ 1692 w 2301"/>
              <a:gd name="T95" fmla="*/ 232 h 400"/>
              <a:gd name="T96" fmla="*/ 1646 w 2301"/>
              <a:gd name="T97" fmla="*/ 149 h 400"/>
              <a:gd name="T98" fmla="*/ 1648 w 2301"/>
              <a:gd name="T99" fmla="*/ 258 h 400"/>
              <a:gd name="T100" fmla="*/ 1536 w 2301"/>
              <a:gd name="T101" fmla="*/ 120 h 400"/>
              <a:gd name="T102" fmla="*/ 1646 w 2301"/>
              <a:gd name="T103" fmla="*/ 390 h 400"/>
              <a:gd name="T104" fmla="*/ 1692 w 2301"/>
              <a:gd name="T105" fmla="*/ 242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01" h="400">
                <a:moveTo>
                  <a:pt x="2054" y="162"/>
                </a:moveTo>
                <a:cubicBezTo>
                  <a:pt x="2054" y="126"/>
                  <a:pt x="2054" y="126"/>
                  <a:pt x="2054" y="126"/>
                </a:cubicBezTo>
                <a:cubicBezTo>
                  <a:pt x="2054" y="122"/>
                  <a:pt x="2055" y="121"/>
                  <a:pt x="2059" y="121"/>
                </a:cubicBezTo>
                <a:cubicBezTo>
                  <a:pt x="2108" y="121"/>
                  <a:pt x="2108" y="121"/>
                  <a:pt x="2108" y="121"/>
                </a:cubicBezTo>
                <a:cubicBezTo>
                  <a:pt x="2108" y="43"/>
                  <a:pt x="2108" y="43"/>
                  <a:pt x="2108" y="43"/>
                </a:cubicBezTo>
                <a:cubicBezTo>
                  <a:pt x="2108" y="39"/>
                  <a:pt x="2110" y="38"/>
                  <a:pt x="2113" y="38"/>
                </a:cubicBezTo>
                <a:cubicBezTo>
                  <a:pt x="2149" y="38"/>
                  <a:pt x="2149" y="38"/>
                  <a:pt x="2149" y="38"/>
                </a:cubicBezTo>
                <a:cubicBezTo>
                  <a:pt x="2152" y="38"/>
                  <a:pt x="2154" y="39"/>
                  <a:pt x="2154" y="43"/>
                </a:cubicBezTo>
                <a:cubicBezTo>
                  <a:pt x="2154" y="121"/>
                  <a:pt x="2154" y="121"/>
                  <a:pt x="2154" y="121"/>
                </a:cubicBezTo>
                <a:cubicBezTo>
                  <a:pt x="2257" y="121"/>
                  <a:pt x="2257" y="121"/>
                  <a:pt x="2257" y="121"/>
                </a:cubicBezTo>
                <a:cubicBezTo>
                  <a:pt x="2260" y="121"/>
                  <a:pt x="2262" y="122"/>
                  <a:pt x="2262" y="126"/>
                </a:cubicBezTo>
                <a:cubicBezTo>
                  <a:pt x="2262" y="162"/>
                  <a:pt x="2262" y="162"/>
                  <a:pt x="2262" y="162"/>
                </a:cubicBezTo>
                <a:cubicBezTo>
                  <a:pt x="2262" y="165"/>
                  <a:pt x="2260" y="167"/>
                  <a:pt x="2257" y="167"/>
                </a:cubicBezTo>
                <a:cubicBezTo>
                  <a:pt x="2154" y="167"/>
                  <a:pt x="2154" y="167"/>
                  <a:pt x="2154" y="167"/>
                </a:cubicBezTo>
                <a:cubicBezTo>
                  <a:pt x="2154" y="289"/>
                  <a:pt x="2154" y="289"/>
                  <a:pt x="2154" y="289"/>
                </a:cubicBezTo>
                <a:cubicBezTo>
                  <a:pt x="2154" y="311"/>
                  <a:pt x="2158" y="326"/>
                  <a:pt x="2166" y="336"/>
                </a:cubicBezTo>
                <a:cubicBezTo>
                  <a:pt x="2174" y="348"/>
                  <a:pt x="2186" y="353"/>
                  <a:pt x="2204" y="353"/>
                </a:cubicBezTo>
                <a:cubicBezTo>
                  <a:pt x="2221" y="353"/>
                  <a:pt x="2232" y="351"/>
                  <a:pt x="2240" y="342"/>
                </a:cubicBezTo>
                <a:cubicBezTo>
                  <a:pt x="2248" y="333"/>
                  <a:pt x="2252" y="319"/>
                  <a:pt x="2255" y="300"/>
                </a:cubicBezTo>
                <a:cubicBezTo>
                  <a:pt x="2255" y="297"/>
                  <a:pt x="2257" y="295"/>
                  <a:pt x="2261" y="295"/>
                </a:cubicBezTo>
                <a:cubicBezTo>
                  <a:pt x="2296" y="295"/>
                  <a:pt x="2296" y="295"/>
                  <a:pt x="2296" y="295"/>
                </a:cubicBezTo>
                <a:cubicBezTo>
                  <a:pt x="2298" y="295"/>
                  <a:pt x="2298" y="295"/>
                  <a:pt x="2298" y="295"/>
                </a:cubicBezTo>
                <a:cubicBezTo>
                  <a:pt x="2298" y="295"/>
                  <a:pt x="2299" y="295"/>
                  <a:pt x="2300" y="296"/>
                </a:cubicBezTo>
                <a:cubicBezTo>
                  <a:pt x="2300" y="296"/>
                  <a:pt x="2301" y="297"/>
                  <a:pt x="2301" y="297"/>
                </a:cubicBezTo>
                <a:cubicBezTo>
                  <a:pt x="2301" y="298"/>
                  <a:pt x="2301" y="299"/>
                  <a:pt x="2301" y="300"/>
                </a:cubicBezTo>
                <a:cubicBezTo>
                  <a:pt x="2301" y="327"/>
                  <a:pt x="2295" y="350"/>
                  <a:pt x="2276" y="371"/>
                </a:cubicBezTo>
                <a:cubicBezTo>
                  <a:pt x="2259" y="390"/>
                  <a:pt x="2235" y="400"/>
                  <a:pt x="2205" y="400"/>
                </a:cubicBezTo>
                <a:cubicBezTo>
                  <a:pt x="2173" y="400"/>
                  <a:pt x="2149" y="390"/>
                  <a:pt x="2133" y="371"/>
                </a:cubicBezTo>
                <a:cubicBezTo>
                  <a:pt x="2116" y="353"/>
                  <a:pt x="2108" y="325"/>
                  <a:pt x="2108" y="289"/>
                </a:cubicBezTo>
                <a:cubicBezTo>
                  <a:pt x="2108" y="167"/>
                  <a:pt x="2108" y="167"/>
                  <a:pt x="2108" y="167"/>
                </a:cubicBezTo>
                <a:cubicBezTo>
                  <a:pt x="2059" y="167"/>
                  <a:pt x="2059" y="167"/>
                  <a:pt x="2059" y="167"/>
                </a:cubicBezTo>
                <a:cubicBezTo>
                  <a:pt x="2055" y="167"/>
                  <a:pt x="2054" y="165"/>
                  <a:pt x="2054" y="162"/>
                </a:cubicBezTo>
                <a:moveTo>
                  <a:pt x="543" y="162"/>
                </a:moveTo>
                <a:cubicBezTo>
                  <a:pt x="543" y="126"/>
                  <a:pt x="543" y="126"/>
                  <a:pt x="543" y="126"/>
                </a:cubicBezTo>
                <a:cubicBezTo>
                  <a:pt x="543" y="122"/>
                  <a:pt x="545" y="121"/>
                  <a:pt x="548" y="121"/>
                </a:cubicBezTo>
                <a:cubicBezTo>
                  <a:pt x="597" y="121"/>
                  <a:pt x="597" y="121"/>
                  <a:pt x="597" y="121"/>
                </a:cubicBezTo>
                <a:cubicBezTo>
                  <a:pt x="597" y="43"/>
                  <a:pt x="597" y="43"/>
                  <a:pt x="597" y="43"/>
                </a:cubicBezTo>
                <a:cubicBezTo>
                  <a:pt x="597" y="39"/>
                  <a:pt x="599" y="38"/>
                  <a:pt x="603" y="38"/>
                </a:cubicBezTo>
                <a:cubicBezTo>
                  <a:pt x="638" y="38"/>
                  <a:pt x="638" y="38"/>
                  <a:pt x="638" y="38"/>
                </a:cubicBezTo>
                <a:cubicBezTo>
                  <a:pt x="642" y="38"/>
                  <a:pt x="643" y="39"/>
                  <a:pt x="643" y="43"/>
                </a:cubicBezTo>
                <a:cubicBezTo>
                  <a:pt x="643" y="121"/>
                  <a:pt x="643" y="121"/>
                  <a:pt x="643" y="121"/>
                </a:cubicBezTo>
                <a:cubicBezTo>
                  <a:pt x="746" y="121"/>
                  <a:pt x="746" y="121"/>
                  <a:pt x="746" y="121"/>
                </a:cubicBezTo>
                <a:cubicBezTo>
                  <a:pt x="750" y="121"/>
                  <a:pt x="751" y="122"/>
                  <a:pt x="751" y="126"/>
                </a:cubicBezTo>
                <a:cubicBezTo>
                  <a:pt x="751" y="162"/>
                  <a:pt x="751" y="162"/>
                  <a:pt x="751" y="162"/>
                </a:cubicBezTo>
                <a:cubicBezTo>
                  <a:pt x="751" y="165"/>
                  <a:pt x="750" y="167"/>
                  <a:pt x="746" y="167"/>
                </a:cubicBezTo>
                <a:cubicBezTo>
                  <a:pt x="644" y="167"/>
                  <a:pt x="644" y="167"/>
                  <a:pt x="644" y="167"/>
                </a:cubicBezTo>
                <a:cubicBezTo>
                  <a:pt x="644" y="289"/>
                  <a:pt x="644" y="289"/>
                  <a:pt x="644" y="289"/>
                </a:cubicBezTo>
                <a:cubicBezTo>
                  <a:pt x="644" y="311"/>
                  <a:pt x="648" y="326"/>
                  <a:pt x="655" y="336"/>
                </a:cubicBezTo>
                <a:cubicBezTo>
                  <a:pt x="663" y="348"/>
                  <a:pt x="675" y="353"/>
                  <a:pt x="694" y="353"/>
                </a:cubicBezTo>
                <a:cubicBezTo>
                  <a:pt x="711" y="353"/>
                  <a:pt x="721" y="351"/>
                  <a:pt x="729" y="342"/>
                </a:cubicBezTo>
                <a:cubicBezTo>
                  <a:pt x="737" y="333"/>
                  <a:pt x="741" y="319"/>
                  <a:pt x="744" y="300"/>
                </a:cubicBezTo>
                <a:cubicBezTo>
                  <a:pt x="745" y="297"/>
                  <a:pt x="746" y="295"/>
                  <a:pt x="750" y="295"/>
                </a:cubicBezTo>
                <a:cubicBezTo>
                  <a:pt x="785" y="295"/>
                  <a:pt x="785" y="295"/>
                  <a:pt x="785" y="295"/>
                </a:cubicBezTo>
                <a:cubicBezTo>
                  <a:pt x="787" y="295"/>
                  <a:pt x="787" y="295"/>
                  <a:pt x="787" y="295"/>
                </a:cubicBezTo>
                <a:cubicBezTo>
                  <a:pt x="788" y="295"/>
                  <a:pt x="788" y="295"/>
                  <a:pt x="789" y="296"/>
                </a:cubicBezTo>
                <a:cubicBezTo>
                  <a:pt x="790" y="296"/>
                  <a:pt x="790" y="297"/>
                  <a:pt x="790" y="297"/>
                </a:cubicBezTo>
                <a:cubicBezTo>
                  <a:pt x="790" y="298"/>
                  <a:pt x="790" y="299"/>
                  <a:pt x="790" y="300"/>
                </a:cubicBezTo>
                <a:cubicBezTo>
                  <a:pt x="790" y="327"/>
                  <a:pt x="784" y="350"/>
                  <a:pt x="765" y="371"/>
                </a:cubicBezTo>
                <a:cubicBezTo>
                  <a:pt x="748" y="390"/>
                  <a:pt x="725" y="400"/>
                  <a:pt x="694" y="400"/>
                </a:cubicBezTo>
                <a:cubicBezTo>
                  <a:pt x="662" y="400"/>
                  <a:pt x="639" y="390"/>
                  <a:pt x="622" y="371"/>
                </a:cubicBezTo>
                <a:cubicBezTo>
                  <a:pt x="606" y="353"/>
                  <a:pt x="597" y="325"/>
                  <a:pt x="597" y="289"/>
                </a:cubicBezTo>
                <a:cubicBezTo>
                  <a:pt x="597" y="167"/>
                  <a:pt x="597" y="167"/>
                  <a:pt x="597" y="167"/>
                </a:cubicBezTo>
                <a:cubicBezTo>
                  <a:pt x="548" y="167"/>
                  <a:pt x="548" y="167"/>
                  <a:pt x="548" y="167"/>
                </a:cubicBezTo>
                <a:cubicBezTo>
                  <a:pt x="545" y="167"/>
                  <a:pt x="543" y="165"/>
                  <a:pt x="543" y="162"/>
                </a:cubicBezTo>
                <a:moveTo>
                  <a:pt x="1997" y="297"/>
                </a:moveTo>
                <a:cubicBezTo>
                  <a:pt x="1965" y="297"/>
                  <a:pt x="1965" y="297"/>
                  <a:pt x="1965" y="297"/>
                </a:cubicBezTo>
                <a:cubicBezTo>
                  <a:pt x="1958" y="297"/>
                  <a:pt x="1956" y="301"/>
                  <a:pt x="1955" y="304"/>
                </a:cubicBezTo>
                <a:cubicBezTo>
                  <a:pt x="1950" y="319"/>
                  <a:pt x="1942" y="331"/>
                  <a:pt x="1929" y="340"/>
                </a:cubicBezTo>
                <a:cubicBezTo>
                  <a:pt x="1917" y="349"/>
                  <a:pt x="1902" y="354"/>
                  <a:pt x="1885" y="354"/>
                </a:cubicBezTo>
                <a:cubicBezTo>
                  <a:pt x="1860" y="354"/>
                  <a:pt x="1837" y="345"/>
                  <a:pt x="1822" y="327"/>
                </a:cubicBezTo>
                <a:cubicBezTo>
                  <a:pt x="1807" y="309"/>
                  <a:pt x="1799" y="286"/>
                  <a:pt x="1799" y="258"/>
                </a:cubicBezTo>
                <a:cubicBezTo>
                  <a:pt x="1799" y="230"/>
                  <a:pt x="1807" y="206"/>
                  <a:pt x="1822" y="188"/>
                </a:cubicBezTo>
                <a:cubicBezTo>
                  <a:pt x="1837" y="170"/>
                  <a:pt x="1860" y="162"/>
                  <a:pt x="1885" y="162"/>
                </a:cubicBezTo>
                <a:cubicBezTo>
                  <a:pt x="1902" y="162"/>
                  <a:pt x="1916" y="166"/>
                  <a:pt x="1928" y="175"/>
                </a:cubicBezTo>
                <a:cubicBezTo>
                  <a:pt x="1941" y="184"/>
                  <a:pt x="1949" y="197"/>
                  <a:pt x="1954" y="213"/>
                </a:cubicBezTo>
                <a:cubicBezTo>
                  <a:pt x="1955" y="215"/>
                  <a:pt x="1957" y="219"/>
                  <a:pt x="1964" y="219"/>
                </a:cubicBezTo>
                <a:cubicBezTo>
                  <a:pt x="1996" y="219"/>
                  <a:pt x="1996" y="219"/>
                  <a:pt x="1996" y="219"/>
                </a:cubicBezTo>
                <a:cubicBezTo>
                  <a:pt x="1999" y="219"/>
                  <a:pt x="2002" y="217"/>
                  <a:pt x="2002" y="213"/>
                </a:cubicBezTo>
                <a:cubicBezTo>
                  <a:pt x="2002" y="211"/>
                  <a:pt x="2002" y="209"/>
                  <a:pt x="2001" y="207"/>
                </a:cubicBezTo>
                <a:cubicBezTo>
                  <a:pt x="1994" y="179"/>
                  <a:pt x="1982" y="157"/>
                  <a:pt x="1962" y="141"/>
                </a:cubicBezTo>
                <a:cubicBezTo>
                  <a:pt x="1942" y="125"/>
                  <a:pt x="1916" y="117"/>
                  <a:pt x="1885" y="117"/>
                </a:cubicBezTo>
                <a:cubicBezTo>
                  <a:pt x="1845" y="117"/>
                  <a:pt x="1812" y="130"/>
                  <a:pt x="1788" y="157"/>
                </a:cubicBezTo>
                <a:cubicBezTo>
                  <a:pt x="1765" y="183"/>
                  <a:pt x="1753" y="217"/>
                  <a:pt x="1753" y="258"/>
                </a:cubicBezTo>
                <a:cubicBezTo>
                  <a:pt x="1753" y="299"/>
                  <a:pt x="1765" y="333"/>
                  <a:pt x="1789" y="360"/>
                </a:cubicBezTo>
                <a:cubicBezTo>
                  <a:pt x="1812" y="386"/>
                  <a:pt x="1845" y="400"/>
                  <a:pt x="1885" y="400"/>
                </a:cubicBezTo>
                <a:cubicBezTo>
                  <a:pt x="1916" y="400"/>
                  <a:pt x="1942" y="392"/>
                  <a:pt x="1962" y="376"/>
                </a:cubicBezTo>
                <a:cubicBezTo>
                  <a:pt x="1982" y="360"/>
                  <a:pt x="1995" y="337"/>
                  <a:pt x="2003" y="309"/>
                </a:cubicBezTo>
                <a:cubicBezTo>
                  <a:pt x="2003" y="307"/>
                  <a:pt x="2003" y="305"/>
                  <a:pt x="2003" y="303"/>
                </a:cubicBezTo>
                <a:cubicBezTo>
                  <a:pt x="2003" y="300"/>
                  <a:pt x="2002" y="297"/>
                  <a:pt x="1997" y="297"/>
                </a:cubicBezTo>
                <a:moveTo>
                  <a:pt x="0" y="389"/>
                </a:moveTo>
                <a:cubicBezTo>
                  <a:pt x="0" y="354"/>
                  <a:pt x="0" y="354"/>
                  <a:pt x="0" y="354"/>
                </a:cubicBezTo>
                <a:cubicBezTo>
                  <a:pt x="0" y="351"/>
                  <a:pt x="2" y="349"/>
                  <a:pt x="6" y="349"/>
                </a:cubicBezTo>
                <a:cubicBezTo>
                  <a:pt x="78" y="349"/>
                  <a:pt x="78" y="349"/>
                  <a:pt x="78" y="349"/>
                </a:cubicBezTo>
                <a:cubicBezTo>
                  <a:pt x="78" y="167"/>
                  <a:pt x="78" y="167"/>
                  <a:pt x="78" y="167"/>
                </a:cubicBezTo>
                <a:cubicBezTo>
                  <a:pt x="19" y="167"/>
                  <a:pt x="19" y="167"/>
                  <a:pt x="19" y="167"/>
                </a:cubicBezTo>
                <a:cubicBezTo>
                  <a:pt x="16" y="167"/>
                  <a:pt x="14" y="165"/>
                  <a:pt x="14" y="162"/>
                </a:cubicBezTo>
                <a:cubicBezTo>
                  <a:pt x="14" y="126"/>
                  <a:pt x="14" y="126"/>
                  <a:pt x="14" y="126"/>
                </a:cubicBezTo>
                <a:cubicBezTo>
                  <a:pt x="14" y="122"/>
                  <a:pt x="16" y="121"/>
                  <a:pt x="19" y="121"/>
                </a:cubicBezTo>
                <a:cubicBezTo>
                  <a:pt x="119" y="121"/>
                  <a:pt x="119" y="121"/>
                  <a:pt x="119" y="121"/>
                </a:cubicBezTo>
                <a:cubicBezTo>
                  <a:pt x="122" y="121"/>
                  <a:pt x="124" y="122"/>
                  <a:pt x="125" y="126"/>
                </a:cubicBezTo>
                <a:cubicBezTo>
                  <a:pt x="125" y="349"/>
                  <a:pt x="125" y="349"/>
                  <a:pt x="125" y="349"/>
                </a:cubicBezTo>
                <a:cubicBezTo>
                  <a:pt x="206" y="349"/>
                  <a:pt x="206" y="349"/>
                  <a:pt x="206" y="349"/>
                </a:cubicBezTo>
                <a:cubicBezTo>
                  <a:pt x="209" y="349"/>
                  <a:pt x="211" y="351"/>
                  <a:pt x="211" y="354"/>
                </a:cubicBezTo>
                <a:cubicBezTo>
                  <a:pt x="211" y="389"/>
                  <a:pt x="211" y="389"/>
                  <a:pt x="211" y="389"/>
                </a:cubicBezTo>
                <a:cubicBezTo>
                  <a:pt x="211" y="393"/>
                  <a:pt x="210" y="395"/>
                  <a:pt x="206" y="395"/>
                </a:cubicBezTo>
                <a:cubicBezTo>
                  <a:pt x="6" y="395"/>
                  <a:pt x="6" y="395"/>
                  <a:pt x="6" y="395"/>
                </a:cubicBezTo>
                <a:cubicBezTo>
                  <a:pt x="2" y="395"/>
                  <a:pt x="0" y="393"/>
                  <a:pt x="0" y="389"/>
                </a:cubicBezTo>
                <a:moveTo>
                  <a:pt x="493" y="227"/>
                </a:moveTo>
                <a:cubicBezTo>
                  <a:pt x="493" y="199"/>
                  <a:pt x="485" y="173"/>
                  <a:pt x="463" y="149"/>
                </a:cubicBezTo>
                <a:cubicBezTo>
                  <a:pt x="444" y="128"/>
                  <a:pt x="411" y="116"/>
                  <a:pt x="381" y="116"/>
                </a:cubicBezTo>
                <a:cubicBezTo>
                  <a:pt x="332" y="116"/>
                  <a:pt x="312" y="150"/>
                  <a:pt x="312" y="150"/>
                </a:cubicBezTo>
                <a:cubicBezTo>
                  <a:pt x="312" y="126"/>
                  <a:pt x="312" y="126"/>
                  <a:pt x="312" y="126"/>
                </a:cubicBezTo>
                <a:cubicBezTo>
                  <a:pt x="312" y="122"/>
                  <a:pt x="311" y="121"/>
                  <a:pt x="307" y="121"/>
                </a:cubicBezTo>
                <a:cubicBezTo>
                  <a:pt x="272" y="121"/>
                  <a:pt x="272" y="121"/>
                  <a:pt x="272" y="121"/>
                </a:cubicBezTo>
                <a:cubicBezTo>
                  <a:pt x="268" y="121"/>
                  <a:pt x="266" y="122"/>
                  <a:pt x="266" y="126"/>
                </a:cubicBezTo>
                <a:cubicBezTo>
                  <a:pt x="266" y="231"/>
                  <a:pt x="266" y="231"/>
                  <a:pt x="266" y="231"/>
                </a:cubicBezTo>
                <a:cubicBezTo>
                  <a:pt x="266" y="235"/>
                  <a:pt x="266" y="238"/>
                  <a:pt x="266" y="242"/>
                </a:cubicBezTo>
                <a:cubicBezTo>
                  <a:pt x="266" y="244"/>
                  <a:pt x="266" y="247"/>
                  <a:pt x="266" y="250"/>
                </a:cubicBezTo>
                <a:cubicBezTo>
                  <a:pt x="266" y="389"/>
                  <a:pt x="266" y="389"/>
                  <a:pt x="266" y="389"/>
                </a:cubicBezTo>
                <a:cubicBezTo>
                  <a:pt x="266" y="393"/>
                  <a:pt x="268" y="395"/>
                  <a:pt x="272" y="395"/>
                </a:cubicBezTo>
                <a:cubicBezTo>
                  <a:pt x="307" y="395"/>
                  <a:pt x="307" y="395"/>
                  <a:pt x="307" y="395"/>
                </a:cubicBezTo>
                <a:cubicBezTo>
                  <a:pt x="311" y="395"/>
                  <a:pt x="312" y="393"/>
                  <a:pt x="312" y="389"/>
                </a:cubicBezTo>
                <a:cubicBezTo>
                  <a:pt x="312" y="251"/>
                  <a:pt x="312" y="251"/>
                  <a:pt x="312" y="251"/>
                </a:cubicBezTo>
                <a:cubicBezTo>
                  <a:pt x="312" y="250"/>
                  <a:pt x="312" y="250"/>
                  <a:pt x="312" y="250"/>
                </a:cubicBezTo>
                <a:cubicBezTo>
                  <a:pt x="312" y="250"/>
                  <a:pt x="312" y="250"/>
                  <a:pt x="312" y="250"/>
                </a:cubicBezTo>
                <a:cubicBezTo>
                  <a:pt x="312" y="243"/>
                  <a:pt x="312" y="241"/>
                  <a:pt x="312" y="236"/>
                </a:cubicBezTo>
                <a:cubicBezTo>
                  <a:pt x="312" y="235"/>
                  <a:pt x="312" y="235"/>
                  <a:pt x="312" y="235"/>
                </a:cubicBezTo>
                <a:cubicBezTo>
                  <a:pt x="312" y="234"/>
                  <a:pt x="312" y="233"/>
                  <a:pt x="312" y="232"/>
                </a:cubicBezTo>
                <a:cubicBezTo>
                  <a:pt x="312" y="232"/>
                  <a:pt x="312" y="231"/>
                  <a:pt x="312" y="231"/>
                </a:cubicBezTo>
                <a:cubicBezTo>
                  <a:pt x="312" y="230"/>
                  <a:pt x="313" y="229"/>
                  <a:pt x="313" y="228"/>
                </a:cubicBezTo>
                <a:cubicBezTo>
                  <a:pt x="313" y="228"/>
                  <a:pt x="313" y="224"/>
                  <a:pt x="313" y="223"/>
                </a:cubicBezTo>
                <a:cubicBezTo>
                  <a:pt x="313" y="222"/>
                  <a:pt x="313" y="222"/>
                  <a:pt x="313" y="221"/>
                </a:cubicBezTo>
                <a:cubicBezTo>
                  <a:pt x="313" y="220"/>
                  <a:pt x="313" y="220"/>
                  <a:pt x="313" y="219"/>
                </a:cubicBezTo>
                <a:cubicBezTo>
                  <a:pt x="313" y="218"/>
                  <a:pt x="313" y="218"/>
                  <a:pt x="313" y="217"/>
                </a:cubicBezTo>
                <a:cubicBezTo>
                  <a:pt x="313" y="216"/>
                  <a:pt x="313" y="216"/>
                  <a:pt x="313" y="215"/>
                </a:cubicBezTo>
                <a:cubicBezTo>
                  <a:pt x="314" y="215"/>
                  <a:pt x="314" y="214"/>
                  <a:pt x="314" y="213"/>
                </a:cubicBezTo>
                <a:cubicBezTo>
                  <a:pt x="314" y="213"/>
                  <a:pt x="314" y="212"/>
                  <a:pt x="314" y="211"/>
                </a:cubicBezTo>
                <a:cubicBezTo>
                  <a:pt x="314" y="211"/>
                  <a:pt x="314" y="210"/>
                  <a:pt x="315" y="210"/>
                </a:cubicBezTo>
                <a:cubicBezTo>
                  <a:pt x="315" y="209"/>
                  <a:pt x="315" y="208"/>
                  <a:pt x="315" y="208"/>
                </a:cubicBezTo>
                <a:cubicBezTo>
                  <a:pt x="315" y="207"/>
                  <a:pt x="315" y="207"/>
                  <a:pt x="316" y="206"/>
                </a:cubicBezTo>
                <a:cubicBezTo>
                  <a:pt x="316" y="205"/>
                  <a:pt x="316" y="205"/>
                  <a:pt x="316" y="204"/>
                </a:cubicBezTo>
                <a:cubicBezTo>
                  <a:pt x="316" y="203"/>
                  <a:pt x="317" y="203"/>
                  <a:pt x="317" y="202"/>
                </a:cubicBezTo>
                <a:cubicBezTo>
                  <a:pt x="317" y="202"/>
                  <a:pt x="317" y="201"/>
                  <a:pt x="318" y="200"/>
                </a:cubicBezTo>
                <a:cubicBezTo>
                  <a:pt x="318" y="200"/>
                  <a:pt x="318" y="199"/>
                  <a:pt x="319" y="199"/>
                </a:cubicBezTo>
                <a:cubicBezTo>
                  <a:pt x="319" y="198"/>
                  <a:pt x="319" y="197"/>
                  <a:pt x="319" y="197"/>
                </a:cubicBezTo>
                <a:cubicBezTo>
                  <a:pt x="320" y="196"/>
                  <a:pt x="320" y="195"/>
                  <a:pt x="321" y="195"/>
                </a:cubicBezTo>
                <a:cubicBezTo>
                  <a:pt x="321" y="194"/>
                  <a:pt x="321" y="194"/>
                  <a:pt x="322" y="193"/>
                </a:cubicBezTo>
                <a:cubicBezTo>
                  <a:pt x="322" y="192"/>
                  <a:pt x="323" y="192"/>
                  <a:pt x="323" y="191"/>
                </a:cubicBezTo>
                <a:cubicBezTo>
                  <a:pt x="323" y="190"/>
                  <a:pt x="324" y="190"/>
                  <a:pt x="324" y="189"/>
                </a:cubicBezTo>
                <a:cubicBezTo>
                  <a:pt x="325" y="188"/>
                  <a:pt x="326" y="187"/>
                  <a:pt x="327" y="186"/>
                </a:cubicBezTo>
                <a:cubicBezTo>
                  <a:pt x="342" y="168"/>
                  <a:pt x="360" y="162"/>
                  <a:pt x="380" y="162"/>
                </a:cubicBezTo>
                <a:cubicBezTo>
                  <a:pt x="398" y="162"/>
                  <a:pt x="416" y="169"/>
                  <a:pt x="427" y="180"/>
                </a:cubicBezTo>
                <a:cubicBezTo>
                  <a:pt x="439" y="192"/>
                  <a:pt x="447" y="210"/>
                  <a:pt x="447" y="229"/>
                </a:cubicBezTo>
                <a:cubicBezTo>
                  <a:pt x="447" y="254"/>
                  <a:pt x="447" y="254"/>
                  <a:pt x="447" y="254"/>
                </a:cubicBezTo>
                <a:cubicBezTo>
                  <a:pt x="447" y="389"/>
                  <a:pt x="447" y="389"/>
                  <a:pt x="447" y="389"/>
                </a:cubicBezTo>
                <a:cubicBezTo>
                  <a:pt x="447" y="393"/>
                  <a:pt x="449" y="395"/>
                  <a:pt x="453" y="395"/>
                </a:cubicBezTo>
                <a:cubicBezTo>
                  <a:pt x="488" y="395"/>
                  <a:pt x="488" y="395"/>
                  <a:pt x="488" y="395"/>
                </a:cubicBezTo>
                <a:cubicBezTo>
                  <a:pt x="492" y="395"/>
                  <a:pt x="493" y="393"/>
                  <a:pt x="493" y="389"/>
                </a:cubicBezTo>
                <a:cubicBezTo>
                  <a:pt x="493" y="254"/>
                  <a:pt x="493" y="254"/>
                  <a:pt x="493" y="254"/>
                </a:cubicBezTo>
                <a:cubicBezTo>
                  <a:pt x="493" y="228"/>
                  <a:pt x="493" y="228"/>
                  <a:pt x="493" y="228"/>
                </a:cubicBezTo>
                <a:cubicBezTo>
                  <a:pt x="493" y="227"/>
                  <a:pt x="493" y="227"/>
                  <a:pt x="493" y="227"/>
                </a:cubicBezTo>
                <a:close/>
                <a:moveTo>
                  <a:pt x="105" y="0"/>
                </a:moveTo>
                <a:cubicBezTo>
                  <a:pt x="84" y="0"/>
                  <a:pt x="67" y="17"/>
                  <a:pt x="67" y="38"/>
                </a:cubicBezTo>
                <a:cubicBezTo>
                  <a:pt x="67" y="58"/>
                  <a:pt x="84" y="75"/>
                  <a:pt x="105" y="75"/>
                </a:cubicBezTo>
                <a:cubicBezTo>
                  <a:pt x="125" y="75"/>
                  <a:pt x="142" y="58"/>
                  <a:pt x="142" y="38"/>
                </a:cubicBezTo>
                <a:cubicBezTo>
                  <a:pt x="142" y="17"/>
                  <a:pt x="125" y="0"/>
                  <a:pt x="105" y="0"/>
                </a:cubicBezTo>
                <a:moveTo>
                  <a:pt x="1386" y="179"/>
                </a:moveTo>
                <a:cubicBezTo>
                  <a:pt x="1390" y="177"/>
                  <a:pt x="1391" y="173"/>
                  <a:pt x="1389" y="169"/>
                </a:cubicBezTo>
                <a:cubicBezTo>
                  <a:pt x="1385" y="162"/>
                  <a:pt x="1380" y="156"/>
                  <a:pt x="1374" y="149"/>
                </a:cubicBezTo>
                <a:cubicBezTo>
                  <a:pt x="1355" y="128"/>
                  <a:pt x="1322" y="116"/>
                  <a:pt x="1292" y="116"/>
                </a:cubicBezTo>
                <a:cubicBezTo>
                  <a:pt x="1243" y="116"/>
                  <a:pt x="1223" y="150"/>
                  <a:pt x="1223" y="150"/>
                </a:cubicBezTo>
                <a:cubicBezTo>
                  <a:pt x="1223" y="126"/>
                  <a:pt x="1223" y="126"/>
                  <a:pt x="1223" y="126"/>
                </a:cubicBezTo>
                <a:cubicBezTo>
                  <a:pt x="1223" y="123"/>
                  <a:pt x="1221" y="121"/>
                  <a:pt x="1218" y="121"/>
                </a:cubicBezTo>
                <a:cubicBezTo>
                  <a:pt x="1183" y="121"/>
                  <a:pt x="1183" y="121"/>
                  <a:pt x="1183" y="121"/>
                </a:cubicBezTo>
                <a:cubicBezTo>
                  <a:pt x="1179" y="121"/>
                  <a:pt x="1177" y="122"/>
                  <a:pt x="1177" y="126"/>
                </a:cubicBezTo>
                <a:cubicBezTo>
                  <a:pt x="1177" y="231"/>
                  <a:pt x="1177" y="231"/>
                  <a:pt x="1177" y="231"/>
                </a:cubicBezTo>
                <a:cubicBezTo>
                  <a:pt x="1177" y="235"/>
                  <a:pt x="1177" y="238"/>
                  <a:pt x="1177" y="242"/>
                </a:cubicBezTo>
                <a:cubicBezTo>
                  <a:pt x="1177" y="244"/>
                  <a:pt x="1177" y="247"/>
                  <a:pt x="1177" y="250"/>
                </a:cubicBezTo>
                <a:cubicBezTo>
                  <a:pt x="1177" y="389"/>
                  <a:pt x="1177" y="389"/>
                  <a:pt x="1177" y="389"/>
                </a:cubicBezTo>
                <a:cubicBezTo>
                  <a:pt x="1177" y="393"/>
                  <a:pt x="1179" y="395"/>
                  <a:pt x="1183" y="395"/>
                </a:cubicBezTo>
                <a:cubicBezTo>
                  <a:pt x="1218" y="395"/>
                  <a:pt x="1218" y="395"/>
                  <a:pt x="1218" y="395"/>
                </a:cubicBezTo>
                <a:cubicBezTo>
                  <a:pt x="1221" y="395"/>
                  <a:pt x="1223" y="392"/>
                  <a:pt x="1223" y="389"/>
                </a:cubicBezTo>
                <a:cubicBezTo>
                  <a:pt x="1223" y="251"/>
                  <a:pt x="1223" y="251"/>
                  <a:pt x="1223" y="251"/>
                </a:cubicBezTo>
                <a:cubicBezTo>
                  <a:pt x="1223" y="250"/>
                  <a:pt x="1223" y="250"/>
                  <a:pt x="1223" y="250"/>
                </a:cubicBezTo>
                <a:cubicBezTo>
                  <a:pt x="1223" y="250"/>
                  <a:pt x="1223" y="250"/>
                  <a:pt x="1223" y="250"/>
                </a:cubicBezTo>
                <a:cubicBezTo>
                  <a:pt x="1223" y="243"/>
                  <a:pt x="1223" y="241"/>
                  <a:pt x="1223" y="236"/>
                </a:cubicBezTo>
                <a:cubicBezTo>
                  <a:pt x="1223" y="236"/>
                  <a:pt x="1223" y="235"/>
                  <a:pt x="1223" y="235"/>
                </a:cubicBezTo>
                <a:cubicBezTo>
                  <a:pt x="1223" y="234"/>
                  <a:pt x="1223" y="233"/>
                  <a:pt x="1223" y="232"/>
                </a:cubicBezTo>
                <a:cubicBezTo>
                  <a:pt x="1223" y="232"/>
                  <a:pt x="1223" y="231"/>
                  <a:pt x="1223" y="231"/>
                </a:cubicBezTo>
                <a:cubicBezTo>
                  <a:pt x="1223" y="230"/>
                  <a:pt x="1223" y="229"/>
                  <a:pt x="1224" y="228"/>
                </a:cubicBezTo>
                <a:cubicBezTo>
                  <a:pt x="1224" y="228"/>
                  <a:pt x="1224" y="224"/>
                  <a:pt x="1224" y="223"/>
                </a:cubicBezTo>
                <a:cubicBezTo>
                  <a:pt x="1224" y="222"/>
                  <a:pt x="1224" y="222"/>
                  <a:pt x="1224" y="221"/>
                </a:cubicBezTo>
                <a:cubicBezTo>
                  <a:pt x="1224" y="220"/>
                  <a:pt x="1224" y="220"/>
                  <a:pt x="1224" y="219"/>
                </a:cubicBezTo>
                <a:cubicBezTo>
                  <a:pt x="1224" y="218"/>
                  <a:pt x="1224" y="218"/>
                  <a:pt x="1224" y="217"/>
                </a:cubicBezTo>
                <a:cubicBezTo>
                  <a:pt x="1224" y="216"/>
                  <a:pt x="1224" y="216"/>
                  <a:pt x="1224" y="215"/>
                </a:cubicBezTo>
                <a:cubicBezTo>
                  <a:pt x="1225" y="215"/>
                  <a:pt x="1225" y="214"/>
                  <a:pt x="1225" y="213"/>
                </a:cubicBezTo>
                <a:cubicBezTo>
                  <a:pt x="1225" y="213"/>
                  <a:pt x="1225" y="212"/>
                  <a:pt x="1225" y="211"/>
                </a:cubicBezTo>
                <a:cubicBezTo>
                  <a:pt x="1225" y="211"/>
                  <a:pt x="1225" y="210"/>
                  <a:pt x="1226" y="210"/>
                </a:cubicBezTo>
                <a:cubicBezTo>
                  <a:pt x="1226" y="209"/>
                  <a:pt x="1226" y="208"/>
                  <a:pt x="1226" y="208"/>
                </a:cubicBezTo>
                <a:cubicBezTo>
                  <a:pt x="1226" y="207"/>
                  <a:pt x="1226" y="207"/>
                  <a:pt x="1227" y="206"/>
                </a:cubicBezTo>
                <a:cubicBezTo>
                  <a:pt x="1227" y="205"/>
                  <a:pt x="1227" y="205"/>
                  <a:pt x="1227" y="204"/>
                </a:cubicBezTo>
                <a:cubicBezTo>
                  <a:pt x="1227" y="203"/>
                  <a:pt x="1228" y="203"/>
                  <a:pt x="1228" y="202"/>
                </a:cubicBezTo>
                <a:cubicBezTo>
                  <a:pt x="1228" y="202"/>
                  <a:pt x="1228" y="201"/>
                  <a:pt x="1229" y="200"/>
                </a:cubicBezTo>
                <a:cubicBezTo>
                  <a:pt x="1229" y="200"/>
                  <a:pt x="1229" y="199"/>
                  <a:pt x="1230" y="199"/>
                </a:cubicBezTo>
                <a:cubicBezTo>
                  <a:pt x="1230" y="198"/>
                  <a:pt x="1230" y="197"/>
                  <a:pt x="1230" y="197"/>
                </a:cubicBezTo>
                <a:cubicBezTo>
                  <a:pt x="1231" y="196"/>
                  <a:pt x="1231" y="195"/>
                  <a:pt x="1232" y="195"/>
                </a:cubicBezTo>
                <a:cubicBezTo>
                  <a:pt x="1232" y="194"/>
                  <a:pt x="1232" y="194"/>
                  <a:pt x="1232" y="193"/>
                </a:cubicBezTo>
                <a:cubicBezTo>
                  <a:pt x="1233" y="192"/>
                  <a:pt x="1233" y="192"/>
                  <a:pt x="1234" y="191"/>
                </a:cubicBezTo>
                <a:cubicBezTo>
                  <a:pt x="1234" y="190"/>
                  <a:pt x="1235" y="190"/>
                  <a:pt x="1235" y="189"/>
                </a:cubicBezTo>
                <a:cubicBezTo>
                  <a:pt x="1236" y="188"/>
                  <a:pt x="1237" y="187"/>
                  <a:pt x="1238" y="186"/>
                </a:cubicBezTo>
                <a:cubicBezTo>
                  <a:pt x="1253" y="168"/>
                  <a:pt x="1271" y="162"/>
                  <a:pt x="1291" y="162"/>
                </a:cubicBezTo>
                <a:cubicBezTo>
                  <a:pt x="1308" y="162"/>
                  <a:pt x="1328" y="169"/>
                  <a:pt x="1338" y="180"/>
                </a:cubicBezTo>
                <a:cubicBezTo>
                  <a:pt x="1341" y="184"/>
                  <a:pt x="1345" y="188"/>
                  <a:pt x="1348" y="192"/>
                </a:cubicBezTo>
                <a:cubicBezTo>
                  <a:pt x="1350" y="196"/>
                  <a:pt x="1354" y="197"/>
                  <a:pt x="1357" y="195"/>
                </a:cubicBezTo>
                <a:lnTo>
                  <a:pt x="1386" y="179"/>
                </a:lnTo>
                <a:close/>
                <a:moveTo>
                  <a:pt x="1106" y="268"/>
                </a:moveTo>
                <a:cubicBezTo>
                  <a:pt x="1109" y="268"/>
                  <a:pt x="1112" y="265"/>
                  <a:pt x="1112" y="262"/>
                </a:cubicBezTo>
                <a:cubicBezTo>
                  <a:pt x="1112" y="256"/>
                  <a:pt x="1112" y="249"/>
                  <a:pt x="1112" y="246"/>
                </a:cubicBezTo>
                <a:cubicBezTo>
                  <a:pt x="1107" y="184"/>
                  <a:pt x="1065" y="133"/>
                  <a:pt x="1010" y="120"/>
                </a:cubicBezTo>
                <a:cubicBezTo>
                  <a:pt x="1006" y="119"/>
                  <a:pt x="1002" y="122"/>
                  <a:pt x="1002" y="126"/>
                </a:cubicBezTo>
                <a:cubicBezTo>
                  <a:pt x="1002" y="164"/>
                  <a:pt x="1002" y="164"/>
                  <a:pt x="1002" y="164"/>
                </a:cubicBezTo>
                <a:cubicBezTo>
                  <a:pt x="1002" y="166"/>
                  <a:pt x="1004" y="169"/>
                  <a:pt x="1006" y="170"/>
                </a:cubicBezTo>
                <a:cubicBezTo>
                  <a:pt x="1032" y="179"/>
                  <a:pt x="1053" y="201"/>
                  <a:pt x="1062" y="229"/>
                </a:cubicBezTo>
                <a:cubicBezTo>
                  <a:pt x="900" y="229"/>
                  <a:pt x="900" y="229"/>
                  <a:pt x="900" y="229"/>
                </a:cubicBezTo>
                <a:cubicBezTo>
                  <a:pt x="909" y="201"/>
                  <a:pt x="930" y="179"/>
                  <a:pt x="956" y="170"/>
                </a:cubicBezTo>
                <a:cubicBezTo>
                  <a:pt x="958" y="169"/>
                  <a:pt x="960" y="166"/>
                  <a:pt x="960" y="164"/>
                </a:cubicBezTo>
                <a:cubicBezTo>
                  <a:pt x="960" y="126"/>
                  <a:pt x="960" y="126"/>
                  <a:pt x="960" y="126"/>
                </a:cubicBezTo>
                <a:cubicBezTo>
                  <a:pt x="960" y="122"/>
                  <a:pt x="956" y="119"/>
                  <a:pt x="952" y="120"/>
                </a:cubicBezTo>
                <a:cubicBezTo>
                  <a:pt x="893" y="134"/>
                  <a:pt x="850" y="191"/>
                  <a:pt x="850" y="258"/>
                </a:cubicBezTo>
                <a:cubicBezTo>
                  <a:pt x="850" y="337"/>
                  <a:pt x="908" y="400"/>
                  <a:pt x="981" y="400"/>
                </a:cubicBezTo>
                <a:cubicBezTo>
                  <a:pt x="1032" y="400"/>
                  <a:pt x="1076" y="369"/>
                  <a:pt x="1098" y="322"/>
                </a:cubicBezTo>
                <a:cubicBezTo>
                  <a:pt x="1100" y="318"/>
                  <a:pt x="1097" y="313"/>
                  <a:pt x="1092" y="313"/>
                </a:cubicBezTo>
                <a:cubicBezTo>
                  <a:pt x="1055" y="313"/>
                  <a:pt x="1055" y="313"/>
                  <a:pt x="1055" y="313"/>
                </a:cubicBezTo>
                <a:cubicBezTo>
                  <a:pt x="1053" y="313"/>
                  <a:pt x="1051" y="314"/>
                  <a:pt x="1049" y="316"/>
                </a:cubicBezTo>
                <a:cubicBezTo>
                  <a:pt x="1034" y="339"/>
                  <a:pt x="1009" y="354"/>
                  <a:pt x="981" y="354"/>
                </a:cubicBezTo>
                <a:cubicBezTo>
                  <a:pt x="936" y="354"/>
                  <a:pt x="900" y="316"/>
                  <a:pt x="896" y="268"/>
                </a:cubicBezTo>
                <a:cubicBezTo>
                  <a:pt x="1066" y="268"/>
                  <a:pt x="1066" y="268"/>
                  <a:pt x="1066" y="268"/>
                </a:cubicBezTo>
                <a:cubicBezTo>
                  <a:pt x="1066" y="268"/>
                  <a:pt x="1066" y="268"/>
                  <a:pt x="1066" y="268"/>
                </a:cubicBezTo>
                <a:lnTo>
                  <a:pt x="1106" y="268"/>
                </a:lnTo>
                <a:close/>
                <a:moveTo>
                  <a:pt x="1692" y="232"/>
                </a:moveTo>
                <a:cubicBezTo>
                  <a:pt x="1692" y="126"/>
                  <a:pt x="1692" y="126"/>
                  <a:pt x="1692" y="126"/>
                </a:cubicBezTo>
                <a:cubicBezTo>
                  <a:pt x="1692" y="123"/>
                  <a:pt x="1690" y="121"/>
                  <a:pt x="1686" y="121"/>
                </a:cubicBezTo>
                <a:cubicBezTo>
                  <a:pt x="1651" y="121"/>
                  <a:pt x="1651" y="121"/>
                  <a:pt x="1651" y="121"/>
                </a:cubicBezTo>
                <a:cubicBezTo>
                  <a:pt x="1648" y="121"/>
                  <a:pt x="1646" y="123"/>
                  <a:pt x="1646" y="126"/>
                </a:cubicBezTo>
                <a:cubicBezTo>
                  <a:pt x="1646" y="149"/>
                  <a:pt x="1646" y="149"/>
                  <a:pt x="1646" y="149"/>
                </a:cubicBezTo>
                <a:cubicBezTo>
                  <a:pt x="1628" y="133"/>
                  <a:pt x="1607" y="121"/>
                  <a:pt x="1583" y="116"/>
                </a:cubicBezTo>
                <a:cubicBezTo>
                  <a:pt x="1580" y="115"/>
                  <a:pt x="1578" y="117"/>
                  <a:pt x="1578" y="120"/>
                </a:cubicBezTo>
                <a:cubicBezTo>
                  <a:pt x="1578" y="161"/>
                  <a:pt x="1578" y="161"/>
                  <a:pt x="1578" y="161"/>
                </a:cubicBezTo>
                <a:cubicBezTo>
                  <a:pt x="1578" y="163"/>
                  <a:pt x="1579" y="165"/>
                  <a:pt x="1581" y="165"/>
                </a:cubicBezTo>
                <a:cubicBezTo>
                  <a:pt x="1619" y="176"/>
                  <a:pt x="1648" y="213"/>
                  <a:pt x="1648" y="258"/>
                </a:cubicBezTo>
                <a:cubicBezTo>
                  <a:pt x="1648" y="311"/>
                  <a:pt x="1608" y="354"/>
                  <a:pt x="1558" y="354"/>
                </a:cubicBezTo>
                <a:cubicBezTo>
                  <a:pt x="1509" y="354"/>
                  <a:pt x="1469" y="311"/>
                  <a:pt x="1469" y="258"/>
                </a:cubicBezTo>
                <a:cubicBezTo>
                  <a:pt x="1469" y="214"/>
                  <a:pt x="1496" y="178"/>
                  <a:pt x="1533" y="166"/>
                </a:cubicBezTo>
                <a:cubicBezTo>
                  <a:pt x="1535" y="165"/>
                  <a:pt x="1536" y="164"/>
                  <a:pt x="1536" y="162"/>
                </a:cubicBezTo>
                <a:cubicBezTo>
                  <a:pt x="1536" y="120"/>
                  <a:pt x="1536" y="120"/>
                  <a:pt x="1536" y="120"/>
                </a:cubicBezTo>
                <a:cubicBezTo>
                  <a:pt x="1536" y="117"/>
                  <a:pt x="1534" y="115"/>
                  <a:pt x="1531" y="116"/>
                </a:cubicBezTo>
                <a:cubicBezTo>
                  <a:pt x="1469" y="128"/>
                  <a:pt x="1422" y="187"/>
                  <a:pt x="1422" y="257"/>
                </a:cubicBezTo>
                <a:cubicBezTo>
                  <a:pt x="1422" y="336"/>
                  <a:pt x="1482" y="400"/>
                  <a:pt x="1557" y="400"/>
                </a:cubicBezTo>
                <a:cubicBezTo>
                  <a:pt x="1591" y="400"/>
                  <a:pt x="1622" y="386"/>
                  <a:pt x="1646" y="364"/>
                </a:cubicBezTo>
                <a:cubicBezTo>
                  <a:pt x="1646" y="390"/>
                  <a:pt x="1646" y="390"/>
                  <a:pt x="1646" y="390"/>
                </a:cubicBezTo>
                <a:cubicBezTo>
                  <a:pt x="1646" y="393"/>
                  <a:pt x="1648" y="395"/>
                  <a:pt x="1651" y="395"/>
                </a:cubicBezTo>
                <a:cubicBezTo>
                  <a:pt x="1686" y="395"/>
                  <a:pt x="1686" y="395"/>
                  <a:pt x="1686" y="395"/>
                </a:cubicBezTo>
                <a:cubicBezTo>
                  <a:pt x="1690" y="395"/>
                  <a:pt x="1692" y="393"/>
                  <a:pt x="1692" y="390"/>
                </a:cubicBezTo>
                <a:cubicBezTo>
                  <a:pt x="1692" y="250"/>
                  <a:pt x="1692" y="250"/>
                  <a:pt x="1692" y="250"/>
                </a:cubicBezTo>
                <a:cubicBezTo>
                  <a:pt x="1692" y="247"/>
                  <a:pt x="1692" y="245"/>
                  <a:pt x="1692" y="242"/>
                </a:cubicBezTo>
                <a:cubicBezTo>
                  <a:pt x="1692" y="239"/>
                  <a:pt x="1692" y="235"/>
                  <a:pt x="1692" y="232"/>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444940829"/>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ection Header Light Grey">
    <p:bg>
      <p:bgPr>
        <a:solidFill>
          <a:schemeClr val="accent2"/>
        </a:solid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lvl1pPr>
              <a:defRPr>
                <a:solidFill>
                  <a:schemeClr val="tx2"/>
                </a:solidFill>
              </a:defRPr>
            </a:lvl1pPr>
          </a:lstStyle>
          <a:p>
            <a:r>
              <a:rPr lang="en-US"/>
              <a:t>Footer (Insert &gt; Header &amp; Footer to edit)</a:t>
            </a:r>
          </a:p>
        </p:txBody>
      </p:sp>
      <p:sp>
        <p:nvSpPr>
          <p:cNvPr id="6" name="Slide Number Placeholder 5"/>
          <p:cNvSpPr>
            <a:spLocks noGrp="1"/>
          </p:cNvSpPr>
          <p:nvPr>
            <p:ph type="sldNum" sz="quarter" idx="12"/>
          </p:nvPr>
        </p:nvSpPr>
        <p:spPr/>
        <p:txBody>
          <a:bodyPr/>
          <a:lstStyle>
            <a:lvl1pPr>
              <a:defRPr>
                <a:solidFill>
                  <a:schemeClr val="tx2"/>
                </a:solidFill>
              </a:defRPr>
            </a:lvl1pPr>
          </a:lstStyle>
          <a:p>
            <a:fld id="{32B354EE-31EA-4FC2-9496-7B6202183237}" type="slidenum">
              <a:rPr lang="en-US" smtClean="0"/>
              <a:pPr/>
              <a:t>‹#›</a:t>
            </a:fld>
            <a:endParaRPr lang="en-US"/>
          </a:p>
        </p:txBody>
      </p:sp>
      <p:sp>
        <p:nvSpPr>
          <p:cNvPr id="7" name="Title 6">
            <a:extLst>
              <a:ext uri="{FF2B5EF4-FFF2-40B4-BE49-F238E27FC236}">
                <a16:creationId xmlns:a16="http://schemas.microsoft.com/office/drawing/2014/main" id="{EE9D7C87-D037-4797-9A6A-B999C6F026D8}"/>
              </a:ext>
            </a:extLst>
          </p:cNvPr>
          <p:cNvSpPr>
            <a:spLocks noGrp="1"/>
          </p:cNvSpPr>
          <p:nvPr>
            <p:ph type="title"/>
          </p:nvPr>
        </p:nvSpPr>
        <p:spPr>
          <a:xfrm>
            <a:off x="410878" y="1521184"/>
            <a:ext cx="11368018" cy="3815631"/>
          </a:xfrm>
        </p:spPr>
        <p:txBody>
          <a:bodyPr anchor="ctr"/>
          <a:lstStyle>
            <a:lvl1pPr algn="ctr">
              <a:defRPr sz="6800">
                <a:solidFill>
                  <a:schemeClr val="tx2"/>
                </a:solidFill>
              </a:defRPr>
            </a:lvl1pPr>
          </a:lstStyle>
          <a:p>
            <a:r>
              <a:rPr lang="en-US"/>
              <a:t>Click to edit Master title style</a:t>
            </a:r>
          </a:p>
        </p:txBody>
      </p:sp>
    </p:spTree>
    <p:extLst>
      <p:ext uri="{BB962C8B-B14F-4D97-AF65-F5344CB8AC3E}">
        <p14:creationId xmlns:p14="http://schemas.microsoft.com/office/powerpoint/2010/main" val="3131991438"/>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Header Image">
    <p:bg>
      <p:bgPr>
        <a:solidFill>
          <a:schemeClr val="bg1">
            <a:lumMod val="85000"/>
          </a:schemeClr>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13104" y="1521184"/>
            <a:ext cx="6176628" cy="3817442"/>
          </a:xfrm>
        </p:spPr>
        <p:txBody>
          <a:bodyPr anchor="ctr"/>
          <a:lstStyle>
            <a:lvl1pPr marL="0" indent="0">
              <a:buNone/>
              <a:defRPr sz="2400" b="1">
                <a:solidFill>
                  <a:schemeClr val="bg1"/>
                </a:solidFill>
              </a:defRPr>
            </a:lvl1pPr>
            <a:lvl2pPr marL="456963" indent="0">
              <a:buNone/>
              <a:defRPr sz="1999">
                <a:solidFill>
                  <a:schemeClr val="tx1">
                    <a:tint val="75000"/>
                  </a:schemeClr>
                </a:solidFill>
              </a:defRPr>
            </a:lvl2pPr>
            <a:lvl3pPr marL="913923" indent="0">
              <a:buNone/>
              <a:defRPr sz="1799">
                <a:solidFill>
                  <a:schemeClr val="tx1">
                    <a:tint val="75000"/>
                  </a:schemeClr>
                </a:solidFill>
              </a:defRPr>
            </a:lvl3pPr>
            <a:lvl4pPr marL="1370889" indent="0">
              <a:buNone/>
              <a:defRPr sz="1599">
                <a:solidFill>
                  <a:schemeClr val="tx1">
                    <a:tint val="75000"/>
                  </a:schemeClr>
                </a:solidFill>
              </a:defRPr>
            </a:lvl4pPr>
            <a:lvl5pPr marL="1827852" indent="0">
              <a:buNone/>
              <a:defRPr sz="1599">
                <a:solidFill>
                  <a:schemeClr val="tx1">
                    <a:tint val="75000"/>
                  </a:schemeClr>
                </a:solidFill>
              </a:defRPr>
            </a:lvl5pPr>
            <a:lvl6pPr marL="2284812" indent="0">
              <a:buNone/>
              <a:defRPr sz="1599">
                <a:solidFill>
                  <a:schemeClr val="tx1">
                    <a:tint val="75000"/>
                  </a:schemeClr>
                </a:solidFill>
              </a:defRPr>
            </a:lvl6pPr>
            <a:lvl7pPr marL="2741775" indent="0">
              <a:buNone/>
              <a:defRPr sz="1599">
                <a:solidFill>
                  <a:schemeClr val="tx1">
                    <a:tint val="75000"/>
                  </a:schemeClr>
                </a:solidFill>
              </a:defRPr>
            </a:lvl7pPr>
            <a:lvl8pPr marL="3198740" indent="0">
              <a:buNone/>
              <a:defRPr sz="1599">
                <a:solidFill>
                  <a:schemeClr val="tx1">
                    <a:tint val="75000"/>
                  </a:schemeClr>
                </a:solidFill>
              </a:defRPr>
            </a:lvl8pPr>
            <a:lvl9pPr marL="3655703" indent="0">
              <a:buNone/>
              <a:defRPr sz="1599">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Footer (Insert &gt; Header &amp; Footer to edit)</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32B354EE-31EA-4FC2-9496-7B6202183237}" type="slidenum">
              <a:rPr lang="en-US" smtClean="0"/>
              <a:pPr/>
              <a:t>‹#›</a:t>
            </a:fld>
            <a:endParaRPr lang="en-US"/>
          </a:p>
        </p:txBody>
      </p:sp>
      <p:sp>
        <p:nvSpPr>
          <p:cNvPr id="19" name="Title 18">
            <a:extLst>
              <a:ext uri="{FF2B5EF4-FFF2-40B4-BE49-F238E27FC236}">
                <a16:creationId xmlns:a16="http://schemas.microsoft.com/office/drawing/2014/main" id="{B47DF7D0-E13C-497A-8A71-C5A8B4D7F67C}"/>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835430341"/>
      </p:ext>
    </p:extLst>
  </p:cSld>
  <p:clrMapOvr>
    <a:masterClrMapping/>
  </p:clrMapOvr>
  <p:transition>
    <p:fade/>
  </p:transition>
  <p:extLst>
    <p:ext uri="{DCECCB84-F9BA-43D5-87BE-67443E8EF086}">
      <p15:sldGuideLst xmlns:p15="http://schemas.microsoft.com/office/powerpoint/2012/main">
        <p15:guide id="1" pos="4151">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10878" y="512498"/>
            <a:ext cx="11368018" cy="776038"/>
          </a:xfrm>
        </p:spPr>
        <p:txBody>
          <a:bodyPr/>
          <a:lstStyle/>
          <a:p>
            <a:r>
              <a:rPr lang="en-US"/>
              <a:t>Click to edit Master title style</a:t>
            </a:r>
          </a:p>
        </p:txBody>
      </p:sp>
      <p:sp>
        <p:nvSpPr>
          <p:cNvPr id="3" name="Content Placeholder 2"/>
          <p:cNvSpPr>
            <a:spLocks noGrp="1"/>
          </p:cNvSpPr>
          <p:nvPr>
            <p:ph idx="1"/>
          </p:nvPr>
        </p:nvSpPr>
        <p:spPr>
          <a:xfrm>
            <a:off x="410880" y="1521182"/>
            <a:ext cx="6178854" cy="4517348"/>
          </a:xfrm>
        </p:spPr>
        <p:txBody>
          <a:bodyPr/>
          <a:lstStyle>
            <a:lvl1pPr>
              <a:defRPr sz="18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a:t>Footer (Insert &gt; Header &amp; Footer to edit)</a:t>
            </a:r>
          </a:p>
        </p:txBody>
      </p:sp>
      <p:sp>
        <p:nvSpPr>
          <p:cNvPr id="6" name="Slide Number Placeholder 5"/>
          <p:cNvSpPr>
            <a:spLocks noGrp="1"/>
          </p:cNvSpPr>
          <p:nvPr>
            <p:ph type="sldNum" sz="quarter" idx="12"/>
          </p:nvPr>
        </p:nvSpPr>
        <p:spPr/>
        <p:txBody>
          <a:bodyPr/>
          <a:lstStyle/>
          <a:p>
            <a:fld id="{32B354EE-31EA-4FC2-9496-7B6202183237}" type="slidenum">
              <a:rPr lang="en-US" smtClean="0"/>
              <a:t>‹#›</a:t>
            </a:fld>
            <a:endParaRPr lang="en-US"/>
          </a:p>
        </p:txBody>
      </p:sp>
    </p:spTree>
    <p:extLst>
      <p:ext uri="{BB962C8B-B14F-4D97-AF65-F5344CB8AC3E}">
        <p14:creationId xmlns:p14="http://schemas.microsoft.com/office/powerpoint/2010/main" val="928391452"/>
      </p:ext>
    </p:extLst>
  </p:cSld>
  <p:clrMapOvr>
    <a:masterClrMapping/>
  </p:clrMapOvr>
  <p:transition>
    <p:fade/>
  </p:transition>
  <p:extLst>
    <p:ext uri="{DCECCB84-F9BA-43D5-87BE-67443E8EF086}">
      <p15:sldGuideLst xmlns:p15="http://schemas.microsoft.com/office/powerpoint/2012/main">
        <p15:guide id="1" pos="4151">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Content Dark">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10878" y="512498"/>
            <a:ext cx="11368018" cy="776038"/>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a:xfrm>
            <a:off x="410880" y="1521182"/>
            <a:ext cx="6178854" cy="4517348"/>
          </a:xfrm>
        </p:spPr>
        <p:txBody>
          <a:bodyPr/>
          <a:lstStyle>
            <a:lvl1pPr>
              <a:defRPr sz="1800">
                <a:solidFill>
                  <a:schemeClr val="bg1"/>
                </a:solidFill>
              </a:defRPr>
            </a:lvl1pPr>
            <a:lvl2pPr>
              <a:defRPr sz="1800">
                <a:solidFill>
                  <a:schemeClr val="bg1"/>
                </a:solidFill>
              </a:defRPr>
            </a:lvl2pPr>
            <a:lvl3pPr>
              <a:defRPr sz="1800">
                <a:solidFill>
                  <a:schemeClr val="accent3"/>
                </a:solidFill>
              </a:defRPr>
            </a:lvl3pPr>
            <a:lvl4pPr>
              <a:defRPr sz="1800">
                <a:solidFill>
                  <a:schemeClr val="bg1"/>
                </a:solidFill>
              </a:defRPr>
            </a:lvl4pPr>
            <a:lvl5pP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Footer (Insert &gt; Header &amp; Footer to edit)</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32B354EE-31EA-4FC2-9496-7B6202183237}" type="slidenum">
              <a:rPr lang="en-US" smtClean="0"/>
              <a:pPr/>
              <a:t>‹#›</a:t>
            </a:fld>
            <a:endParaRPr lang="en-US"/>
          </a:p>
        </p:txBody>
      </p:sp>
    </p:spTree>
    <p:extLst>
      <p:ext uri="{BB962C8B-B14F-4D97-AF65-F5344CB8AC3E}">
        <p14:creationId xmlns:p14="http://schemas.microsoft.com/office/powerpoint/2010/main" val="1103818335"/>
      </p:ext>
    </p:extLst>
  </p:cSld>
  <p:clrMapOvr>
    <a:masterClrMapping/>
  </p:clrMapOvr>
  <p:transition>
    <p:fade/>
  </p:transition>
  <p:extLst>
    <p:ext uri="{DCECCB84-F9BA-43D5-87BE-67443E8EF086}">
      <p15:sldGuideLst xmlns:p15="http://schemas.microsoft.com/office/powerpoint/2012/main">
        <p15:guide id="1" pos="4151">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10878" y="1521183"/>
            <a:ext cx="5292112" cy="45173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86789" y="1521183"/>
            <a:ext cx="5292112" cy="45173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r>
              <a:rPr lang="en-US"/>
              <a:t>Footer (Insert &gt; Header &amp; Footer to edit)</a:t>
            </a:r>
          </a:p>
        </p:txBody>
      </p:sp>
      <p:sp>
        <p:nvSpPr>
          <p:cNvPr id="7" name="Slide Number Placeholder 6"/>
          <p:cNvSpPr>
            <a:spLocks noGrp="1"/>
          </p:cNvSpPr>
          <p:nvPr>
            <p:ph type="sldNum" sz="quarter" idx="12"/>
          </p:nvPr>
        </p:nvSpPr>
        <p:spPr/>
        <p:txBody>
          <a:bodyPr/>
          <a:lstStyle/>
          <a:p>
            <a:fld id="{32B354EE-31EA-4FC2-9496-7B6202183237}" type="slidenum">
              <a:rPr lang="en-US" smtClean="0"/>
              <a:t>‹#›</a:t>
            </a:fld>
            <a:endParaRPr lang="en-US"/>
          </a:p>
        </p:txBody>
      </p:sp>
      <p:sp>
        <p:nvSpPr>
          <p:cNvPr id="8" name="Title 7">
            <a:extLst>
              <a:ext uri="{FF2B5EF4-FFF2-40B4-BE49-F238E27FC236}">
                <a16:creationId xmlns:a16="http://schemas.microsoft.com/office/drawing/2014/main" id="{2BEC790B-BB37-46AF-9CC2-582F081B640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47786567"/>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ext and 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623EE699-16B4-4E6C-852E-7A2C3D133E42}"/>
              </a:ext>
            </a:extLst>
          </p:cNvPr>
          <p:cNvSpPr>
            <a:spLocks noGrp="1"/>
          </p:cNvSpPr>
          <p:nvPr>
            <p:ph type="pic" sz="quarter" idx="13"/>
          </p:nvPr>
        </p:nvSpPr>
        <p:spPr>
          <a:xfrm>
            <a:off x="6096906" y="2"/>
            <a:ext cx="6095094" cy="6858000"/>
          </a:xfrm>
          <a:solidFill>
            <a:schemeClr val="bg1">
              <a:lumMod val="85000"/>
            </a:schemeClr>
          </a:solidFill>
        </p:spPr>
        <p:txBody>
          <a:bodyPr/>
          <a:lstStyle/>
          <a:p>
            <a:r>
              <a:rPr lang="en-US"/>
              <a:t>Drag picture to placeholder or click icon to add</a:t>
            </a:r>
            <a:endParaRPr lang="en-GB"/>
          </a:p>
        </p:txBody>
      </p:sp>
      <p:sp>
        <p:nvSpPr>
          <p:cNvPr id="2" name="Title 1"/>
          <p:cNvSpPr>
            <a:spLocks noGrp="1"/>
          </p:cNvSpPr>
          <p:nvPr>
            <p:ph type="title"/>
          </p:nvPr>
        </p:nvSpPr>
        <p:spPr>
          <a:xfrm>
            <a:off x="410878" y="512498"/>
            <a:ext cx="5292112" cy="776038"/>
          </a:xfrm>
        </p:spPr>
        <p:txBody>
          <a:bodyPr/>
          <a:lstStyle/>
          <a:p>
            <a:r>
              <a:rPr lang="en-US"/>
              <a:t>Click to edit Master title style</a:t>
            </a:r>
          </a:p>
        </p:txBody>
      </p:sp>
      <p:sp>
        <p:nvSpPr>
          <p:cNvPr id="3" name="Content Placeholder 2"/>
          <p:cNvSpPr>
            <a:spLocks noGrp="1"/>
          </p:cNvSpPr>
          <p:nvPr>
            <p:ph sz="half" idx="1"/>
          </p:nvPr>
        </p:nvSpPr>
        <p:spPr>
          <a:xfrm>
            <a:off x="410878" y="1521183"/>
            <a:ext cx="5292112" cy="45173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r>
              <a:rPr lang="en-US"/>
              <a:t>Footer (Insert &gt; Header &amp; Footer to edit)</a:t>
            </a:r>
          </a:p>
        </p:txBody>
      </p:sp>
      <p:sp>
        <p:nvSpPr>
          <p:cNvPr id="7" name="Slide Number Placeholder 6"/>
          <p:cNvSpPr>
            <a:spLocks noGrp="1"/>
          </p:cNvSpPr>
          <p:nvPr>
            <p:ph type="sldNum" sz="quarter" idx="12"/>
          </p:nvPr>
        </p:nvSpPr>
        <p:spPr/>
        <p:txBody>
          <a:bodyPr/>
          <a:lstStyle/>
          <a:p>
            <a:fld id="{32B354EE-31EA-4FC2-9496-7B6202183237}" type="slidenum">
              <a:rPr lang="en-US" smtClean="0"/>
              <a:t>‹#›</a:t>
            </a:fld>
            <a:endParaRPr lang="en-US"/>
          </a:p>
        </p:txBody>
      </p:sp>
    </p:spTree>
    <p:extLst>
      <p:ext uri="{BB962C8B-B14F-4D97-AF65-F5344CB8AC3E}">
        <p14:creationId xmlns:p14="http://schemas.microsoft.com/office/powerpoint/2010/main" val="49330538"/>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ext and Image Lef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623EE699-16B4-4E6C-852E-7A2C3D133E42}"/>
              </a:ext>
            </a:extLst>
          </p:cNvPr>
          <p:cNvSpPr>
            <a:spLocks noGrp="1"/>
          </p:cNvSpPr>
          <p:nvPr>
            <p:ph type="pic" sz="quarter" idx="13"/>
          </p:nvPr>
        </p:nvSpPr>
        <p:spPr>
          <a:xfrm>
            <a:off x="2" y="-1"/>
            <a:ext cx="6095094" cy="6858000"/>
          </a:xfrm>
          <a:solidFill>
            <a:schemeClr val="bg1">
              <a:lumMod val="85000"/>
            </a:schemeClr>
          </a:solidFill>
        </p:spPr>
        <p:txBody>
          <a:bodyPr/>
          <a:lstStyle/>
          <a:p>
            <a:r>
              <a:rPr lang="en-US"/>
              <a:t>Drag picture to placeholder or click icon to add</a:t>
            </a:r>
            <a:endParaRPr lang="en-GB"/>
          </a:p>
        </p:txBody>
      </p:sp>
      <p:sp>
        <p:nvSpPr>
          <p:cNvPr id="2" name="Title 1"/>
          <p:cNvSpPr>
            <a:spLocks noGrp="1"/>
          </p:cNvSpPr>
          <p:nvPr>
            <p:ph type="title"/>
          </p:nvPr>
        </p:nvSpPr>
        <p:spPr>
          <a:xfrm>
            <a:off x="6504203" y="512498"/>
            <a:ext cx="5274693" cy="776038"/>
          </a:xfrm>
        </p:spPr>
        <p:txBody>
          <a:bodyPr/>
          <a:lstStyle/>
          <a:p>
            <a:r>
              <a:rPr lang="en-US"/>
              <a:t>Click to edit Master title style</a:t>
            </a:r>
          </a:p>
        </p:txBody>
      </p:sp>
      <p:sp>
        <p:nvSpPr>
          <p:cNvPr id="3" name="Content Placeholder 2"/>
          <p:cNvSpPr>
            <a:spLocks noGrp="1"/>
          </p:cNvSpPr>
          <p:nvPr>
            <p:ph sz="half" idx="1"/>
          </p:nvPr>
        </p:nvSpPr>
        <p:spPr>
          <a:xfrm>
            <a:off x="6504203" y="1521183"/>
            <a:ext cx="5274693" cy="45173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r>
              <a:rPr lang="en-US"/>
              <a:t>Footer (Insert &gt; Header &amp; Footer to edit)</a:t>
            </a:r>
          </a:p>
        </p:txBody>
      </p:sp>
      <p:sp>
        <p:nvSpPr>
          <p:cNvPr id="7" name="Slide Number Placeholder 6"/>
          <p:cNvSpPr>
            <a:spLocks noGrp="1"/>
          </p:cNvSpPr>
          <p:nvPr>
            <p:ph type="sldNum" sz="quarter" idx="12"/>
          </p:nvPr>
        </p:nvSpPr>
        <p:spPr/>
        <p:txBody>
          <a:bodyPr/>
          <a:lstStyle/>
          <a:p>
            <a:fld id="{32B354EE-31EA-4FC2-9496-7B6202183237}" type="slidenum">
              <a:rPr lang="en-US" smtClean="0"/>
              <a:t>‹#›</a:t>
            </a:fld>
            <a:endParaRPr lang="en-US"/>
          </a:p>
        </p:txBody>
      </p:sp>
    </p:spTree>
    <p:extLst>
      <p:ext uri="{BB962C8B-B14F-4D97-AF65-F5344CB8AC3E}">
        <p14:creationId xmlns:p14="http://schemas.microsoft.com/office/powerpoint/2010/main" val="2308479791"/>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ext, Key Info and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623EE699-16B4-4E6C-852E-7A2C3D133E42}"/>
              </a:ext>
            </a:extLst>
          </p:cNvPr>
          <p:cNvSpPr>
            <a:spLocks noGrp="1"/>
          </p:cNvSpPr>
          <p:nvPr>
            <p:ph type="pic" sz="quarter" idx="13"/>
          </p:nvPr>
        </p:nvSpPr>
        <p:spPr>
          <a:xfrm>
            <a:off x="6096906" y="3429905"/>
            <a:ext cx="6095094" cy="3428095"/>
          </a:xfrm>
          <a:solidFill>
            <a:schemeClr val="bg1">
              <a:lumMod val="85000"/>
            </a:schemeClr>
          </a:solidFill>
        </p:spPr>
        <p:txBody>
          <a:bodyPr/>
          <a:lstStyle/>
          <a:p>
            <a:r>
              <a:rPr lang="en-US"/>
              <a:t>Drag picture to placeholder or click icon to add</a:t>
            </a:r>
            <a:endParaRPr lang="en-GB"/>
          </a:p>
        </p:txBody>
      </p:sp>
      <p:sp>
        <p:nvSpPr>
          <p:cNvPr id="2" name="Title 1"/>
          <p:cNvSpPr>
            <a:spLocks noGrp="1"/>
          </p:cNvSpPr>
          <p:nvPr>
            <p:ph type="title"/>
          </p:nvPr>
        </p:nvSpPr>
        <p:spPr>
          <a:xfrm>
            <a:off x="410878" y="512498"/>
            <a:ext cx="5292112" cy="776038"/>
          </a:xfrm>
        </p:spPr>
        <p:txBody>
          <a:bodyPr/>
          <a:lstStyle/>
          <a:p>
            <a:r>
              <a:rPr lang="en-US"/>
              <a:t>Click to edit Master title style</a:t>
            </a:r>
          </a:p>
        </p:txBody>
      </p:sp>
      <p:sp>
        <p:nvSpPr>
          <p:cNvPr id="3" name="Content Placeholder 2"/>
          <p:cNvSpPr>
            <a:spLocks noGrp="1"/>
          </p:cNvSpPr>
          <p:nvPr>
            <p:ph sz="half" idx="1"/>
          </p:nvPr>
        </p:nvSpPr>
        <p:spPr>
          <a:xfrm>
            <a:off x="410878" y="1521183"/>
            <a:ext cx="5292112" cy="45173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r>
              <a:rPr lang="en-US"/>
              <a:t>Footer (Insert &gt; Header &amp; Footer to edit)</a:t>
            </a:r>
          </a:p>
        </p:txBody>
      </p:sp>
      <p:sp>
        <p:nvSpPr>
          <p:cNvPr id="7" name="Slide Number Placeholder 6"/>
          <p:cNvSpPr>
            <a:spLocks noGrp="1"/>
          </p:cNvSpPr>
          <p:nvPr>
            <p:ph type="sldNum" sz="quarter" idx="12"/>
          </p:nvPr>
        </p:nvSpPr>
        <p:spPr/>
        <p:txBody>
          <a:bodyPr/>
          <a:lstStyle/>
          <a:p>
            <a:fld id="{32B354EE-31EA-4FC2-9496-7B6202183237}" type="slidenum">
              <a:rPr lang="en-US" smtClean="0"/>
              <a:t>‹#›</a:t>
            </a:fld>
            <a:endParaRPr lang="en-US"/>
          </a:p>
        </p:txBody>
      </p:sp>
      <p:sp>
        <p:nvSpPr>
          <p:cNvPr id="5" name="Text Placeholder 4">
            <a:extLst>
              <a:ext uri="{FF2B5EF4-FFF2-40B4-BE49-F238E27FC236}">
                <a16:creationId xmlns:a16="http://schemas.microsoft.com/office/drawing/2014/main" id="{F57219E9-6258-4F28-A57E-2D2A7A1479EF}"/>
              </a:ext>
            </a:extLst>
          </p:cNvPr>
          <p:cNvSpPr>
            <a:spLocks noGrp="1"/>
          </p:cNvSpPr>
          <p:nvPr>
            <p:ph type="body" sz="quarter" idx="14"/>
          </p:nvPr>
        </p:nvSpPr>
        <p:spPr>
          <a:xfrm>
            <a:off x="6096906" y="2"/>
            <a:ext cx="6095094" cy="3429905"/>
          </a:xfrm>
          <a:gradFill>
            <a:gsLst>
              <a:gs pos="50000">
                <a:srgbClr val="00E487"/>
              </a:gs>
              <a:gs pos="100000">
                <a:srgbClr val="1ECBD0"/>
              </a:gs>
            </a:gsLst>
            <a:lin ang="18900000" scaled="0"/>
          </a:gradFill>
        </p:spPr>
        <p:txBody>
          <a:bodyPr lIns="360000" tIns="360000" rIns="360000" bIns="360000" anchor="ctr"/>
          <a:lstStyle>
            <a:lvl1pPr algn="ctr">
              <a:defRPr sz="3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123354385"/>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ext and Large Image">
    <p:bg>
      <p:bgPr>
        <a:solidFill>
          <a:schemeClr val="tx2"/>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C1E61418-E972-40CA-AF1C-5059724D8739}"/>
              </a:ext>
            </a:extLst>
          </p:cNvPr>
          <p:cNvSpPr>
            <a:spLocks noGrp="1"/>
          </p:cNvSpPr>
          <p:nvPr>
            <p:ph type="pic" sz="quarter" idx="14"/>
          </p:nvPr>
        </p:nvSpPr>
        <p:spPr>
          <a:xfrm>
            <a:off x="3649841" y="2"/>
            <a:ext cx="8542159" cy="6858000"/>
          </a:xfrm>
          <a:solidFill>
            <a:schemeClr val="bg1">
              <a:lumMod val="85000"/>
            </a:schemeClr>
          </a:solidFill>
        </p:spPr>
        <p:txBody>
          <a:bodyPr/>
          <a:lstStyle/>
          <a:p>
            <a:r>
              <a:rPr lang="en-US"/>
              <a:t>Drag picture to placeholder or click icon to add</a:t>
            </a:r>
            <a:endParaRPr lang="en-GB"/>
          </a:p>
        </p:txBody>
      </p:sp>
      <p:sp>
        <p:nvSpPr>
          <p:cNvPr id="2" name="Title 1">
            <a:extLst>
              <a:ext uri="{FF2B5EF4-FFF2-40B4-BE49-F238E27FC236}">
                <a16:creationId xmlns:a16="http://schemas.microsoft.com/office/drawing/2014/main" id="{D2238646-6FE3-4B78-8959-D99C1035ACDC}"/>
              </a:ext>
            </a:extLst>
          </p:cNvPr>
          <p:cNvSpPr>
            <a:spLocks noGrp="1"/>
          </p:cNvSpPr>
          <p:nvPr>
            <p:ph type="title"/>
          </p:nvPr>
        </p:nvSpPr>
        <p:spPr>
          <a:xfrm>
            <a:off x="413104" y="512498"/>
            <a:ext cx="2998167" cy="776038"/>
          </a:xfrm>
        </p:spPr>
        <p:txBody>
          <a:bodyPr/>
          <a:lstStyle>
            <a:lvl1pPr>
              <a:defRPr>
                <a:solidFill>
                  <a:schemeClr val="bg1"/>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265266B1-3B43-413F-B581-A2BA7F232AAD}"/>
              </a:ext>
            </a:extLst>
          </p:cNvPr>
          <p:cNvSpPr>
            <a:spLocks noGrp="1"/>
          </p:cNvSpPr>
          <p:nvPr>
            <p:ph type="ftr" sz="quarter" idx="11"/>
          </p:nvPr>
        </p:nvSpPr>
        <p:spPr/>
        <p:txBody>
          <a:bodyPr/>
          <a:lstStyle>
            <a:lvl1pPr>
              <a:defRPr>
                <a:solidFill>
                  <a:schemeClr val="bg1"/>
                </a:solidFill>
              </a:defRPr>
            </a:lvl1pPr>
          </a:lstStyle>
          <a:p>
            <a:r>
              <a:rPr lang="en-US"/>
              <a:t>Footer (Insert &gt; Header &amp; Footer to edit)</a:t>
            </a:r>
          </a:p>
        </p:txBody>
      </p:sp>
      <p:sp>
        <p:nvSpPr>
          <p:cNvPr id="5" name="Slide Number Placeholder 4">
            <a:extLst>
              <a:ext uri="{FF2B5EF4-FFF2-40B4-BE49-F238E27FC236}">
                <a16:creationId xmlns:a16="http://schemas.microsoft.com/office/drawing/2014/main" id="{114087E5-4709-465C-88EF-C43AFDD767F1}"/>
              </a:ext>
            </a:extLst>
          </p:cNvPr>
          <p:cNvSpPr>
            <a:spLocks noGrp="1"/>
          </p:cNvSpPr>
          <p:nvPr>
            <p:ph type="sldNum" sz="quarter" idx="12"/>
          </p:nvPr>
        </p:nvSpPr>
        <p:spPr/>
        <p:txBody>
          <a:bodyPr/>
          <a:lstStyle>
            <a:lvl1pPr>
              <a:defRPr>
                <a:solidFill>
                  <a:schemeClr val="bg1"/>
                </a:solidFill>
              </a:defRPr>
            </a:lvl1pPr>
          </a:lstStyle>
          <a:p>
            <a:fld id="{32B354EE-31EA-4FC2-9496-7B6202183237}" type="slidenum">
              <a:rPr lang="en-US" smtClean="0"/>
              <a:pPr/>
              <a:t>‹#›</a:t>
            </a:fld>
            <a:endParaRPr lang="en-US"/>
          </a:p>
        </p:txBody>
      </p:sp>
      <p:sp>
        <p:nvSpPr>
          <p:cNvPr id="7" name="Text Placeholder 6">
            <a:extLst>
              <a:ext uri="{FF2B5EF4-FFF2-40B4-BE49-F238E27FC236}">
                <a16:creationId xmlns:a16="http://schemas.microsoft.com/office/drawing/2014/main" id="{D7F08074-975D-439A-8214-343997E50101}"/>
              </a:ext>
            </a:extLst>
          </p:cNvPr>
          <p:cNvSpPr>
            <a:spLocks noGrp="1"/>
          </p:cNvSpPr>
          <p:nvPr>
            <p:ph type="body" sz="quarter" idx="13"/>
          </p:nvPr>
        </p:nvSpPr>
        <p:spPr>
          <a:xfrm>
            <a:off x="413104" y="1521183"/>
            <a:ext cx="2998558" cy="4517348"/>
          </a:xfrm>
        </p:spPr>
        <p:txBody>
          <a:bodyPr/>
          <a:lstStyle>
            <a:lvl1pPr>
              <a:defRPr>
                <a:solidFill>
                  <a:schemeClr val="bg1"/>
                </a:solidFill>
              </a:defRPr>
            </a:lvl1pPr>
            <a:lvl2pPr>
              <a:defRPr>
                <a:solidFill>
                  <a:schemeClr val="bg1"/>
                </a:solidFill>
              </a:defRPr>
            </a:lvl2pPr>
            <a:lvl3pPr>
              <a:defRPr>
                <a:solidFill>
                  <a:schemeClr val="accent3"/>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2575747"/>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type="twoObj" preserve="1">
  <p:cSld name="Two Content Dark Righ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D86AC41-762B-4924-A899-F81343A12E1E}"/>
              </a:ext>
            </a:extLst>
          </p:cNvPr>
          <p:cNvSpPr/>
          <p:nvPr userDrawn="1"/>
        </p:nvSpPr>
        <p:spPr>
          <a:xfrm>
            <a:off x="6096000" y="2"/>
            <a:ext cx="6096000" cy="6858000"/>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53"/>
          </a:p>
        </p:txBody>
      </p:sp>
      <p:sp>
        <p:nvSpPr>
          <p:cNvPr id="2" name="Title 1"/>
          <p:cNvSpPr>
            <a:spLocks noGrp="1"/>
          </p:cNvSpPr>
          <p:nvPr>
            <p:ph type="title"/>
          </p:nvPr>
        </p:nvSpPr>
        <p:spPr>
          <a:xfrm>
            <a:off x="410878" y="512498"/>
            <a:ext cx="5292112" cy="776038"/>
          </a:xfrm>
        </p:spPr>
        <p:txBody>
          <a:bodyPr/>
          <a:lstStyle/>
          <a:p>
            <a:r>
              <a:rPr lang="en-US"/>
              <a:t>Click to edit Master title style</a:t>
            </a:r>
          </a:p>
        </p:txBody>
      </p:sp>
      <p:sp>
        <p:nvSpPr>
          <p:cNvPr id="3" name="Content Placeholder 2"/>
          <p:cNvSpPr>
            <a:spLocks noGrp="1"/>
          </p:cNvSpPr>
          <p:nvPr>
            <p:ph sz="half" idx="1"/>
          </p:nvPr>
        </p:nvSpPr>
        <p:spPr>
          <a:xfrm>
            <a:off x="410878" y="1521183"/>
            <a:ext cx="5292112" cy="45173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86789" y="1521183"/>
            <a:ext cx="5292112" cy="4517348"/>
          </a:xfrm>
        </p:spPr>
        <p:txBody>
          <a:bodyPr/>
          <a:lstStyle>
            <a:lvl1pPr>
              <a:defRPr>
                <a:solidFill>
                  <a:schemeClr val="bg1"/>
                </a:solidFill>
              </a:defRPr>
            </a:lvl1pPr>
            <a:lvl2pPr>
              <a:defRPr>
                <a:solidFill>
                  <a:schemeClr val="bg1"/>
                </a:solidFill>
              </a:defRPr>
            </a:lvl2pPr>
            <a:lvl3pPr>
              <a:defRPr>
                <a:solidFill>
                  <a:schemeClr val="accent3"/>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r>
              <a:rPr lang="en-US"/>
              <a:t>Footer (Insert &gt; Header &amp; Footer to edit)</a:t>
            </a:r>
          </a:p>
        </p:txBody>
      </p:sp>
      <p:sp>
        <p:nvSpPr>
          <p:cNvPr id="7" name="Slide Number Placeholder 6"/>
          <p:cNvSpPr>
            <a:spLocks noGrp="1"/>
          </p:cNvSpPr>
          <p:nvPr>
            <p:ph type="sldNum" sz="quarter" idx="12"/>
          </p:nvPr>
        </p:nvSpPr>
        <p:spPr/>
        <p:txBody>
          <a:bodyPr/>
          <a:lstStyle/>
          <a:p>
            <a:fld id="{32B354EE-31EA-4FC2-9496-7B6202183237}" type="slidenum">
              <a:rPr lang="en-US" smtClean="0"/>
              <a:t>‹#›</a:t>
            </a:fld>
            <a:endParaRPr lang="en-US"/>
          </a:p>
        </p:txBody>
      </p:sp>
      <p:grpSp>
        <p:nvGrpSpPr>
          <p:cNvPr id="9" name="Group 4">
            <a:extLst>
              <a:ext uri="{FF2B5EF4-FFF2-40B4-BE49-F238E27FC236}">
                <a16:creationId xmlns:a16="http://schemas.microsoft.com/office/drawing/2014/main" id="{2C549275-EEE9-45E1-A90E-88FF42434544}"/>
              </a:ext>
            </a:extLst>
          </p:cNvPr>
          <p:cNvGrpSpPr>
            <a:grpSpLocks noChangeAspect="1"/>
          </p:cNvGrpSpPr>
          <p:nvPr userDrawn="1"/>
        </p:nvGrpSpPr>
        <p:grpSpPr bwMode="auto">
          <a:xfrm>
            <a:off x="10597543" y="6332830"/>
            <a:ext cx="1181358" cy="288000"/>
            <a:chOff x="2071" y="1578"/>
            <a:chExt cx="2587" cy="631"/>
          </a:xfrm>
          <a:gradFill>
            <a:gsLst>
              <a:gs pos="50000">
                <a:srgbClr val="00E487"/>
              </a:gs>
              <a:gs pos="100000">
                <a:srgbClr val="1ECBD0"/>
              </a:gs>
            </a:gsLst>
            <a:lin ang="18900000" scaled="0"/>
          </a:gradFill>
        </p:grpSpPr>
        <p:sp>
          <p:nvSpPr>
            <p:cNvPr id="10" name="Freeform 5">
              <a:extLst>
                <a:ext uri="{FF2B5EF4-FFF2-40B4-BE49-F238E27FC236}">
                  <a16:creationId xmlns:a16="http://schemas.microsoft.com/office/drawing/2014/main" id="{BE67306C-D83D-439A-A42D-709340354A80}"/>
                </a:ext>
              </a:extLst>
            </p:cNvPr>
            <p:cNvSpPr>
              <a:spLocks/>
            </p:cNvSpPr>
            <p:nvPr userDrawn="1"/>
          </p:nvSpPr>
          <p:spPr bwMode="auto">
            <a:xfrm>
              <a:off x="2765" y="1728"/>
              <a:ext cx="244" cy="318"/>
            </a:xfrm>
            <a:custGeom>
              <a:avLst/>
              <a:gdLst>
                <a:gd name="T0" fmla="*/ 12 w 129"/>
                <a:gd name="T1" fmla="*/ 0 h 168"/>
                <a:gd name="T2" fmla="*/ 8 w 129"/>
                <a:gd name="T3" fmla="*/ 4 h 168"/>
                <a:gd name="T4" fmla="*/ 8 w 129"/>
                <a:gd name="T5" fmla="*/ 25 h 168"/>
                <a:gd name="T6" fmla="*/ 12 w 129"/>
                <a:gd name="T7" fmla="*/ 29 h 168"/>
                <a:gd name="T8" fmla="*/ 48 w 129"/>
                <a:gd name="T9" fmla="*/ 29 h 168"/>
                <a:gd name="T10" fmla="*/ 48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2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2" y="0"/>
                  </a:moveTo>
                  <a:cubicBezTo>
                    <a:pt x="9" y="0"/>
                    <a:pt x="8" y="1"/>
                    <a:pt x="8" y="4"/>
                  </a:cubicBezTo>
                  <a:cubicBezTo>
                    <a:pt x="8" y="25"/>
                    <a:pt x="8" y="25"/>
                    <a:pt x="8" y="25"/>
                  </a:cubicBezTo>
                  <a:cubicBezTo>
                    <a:pt x="8" y="27"/>
                    <a:pt x="9" y="29"/>
                    <a:pt x="12" y="29"/>
                  </a:cubicBezTo>
                  <a:cubicBezTo>
                    <a:pt x="48" y="29"/>
                    <a:pt x="48" y="29"/>
                    <a:pt x="48" y="29"/>
                  </a:cubicBezTo>
                  <a:cubicBezTo>
                    <a:pt x="48" y="140"/>
                    <a:pt x="48" y="140"/>
                    <a:pt x="48"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8" y="140"/>
                    <a:pt x="125" y="140"/>
                  </a:cubicBezTo>
                  <a:cubicBezTo>
                    <a:pt x="76" y="140"/>
                    <a:pt x="76" y="140"/>
                    <a:pt x="76" y="140"/>
                  </a:cubicBezTo>
                  <a:cubicBezTo>
                    <a:pt x="76" y="4"/>
                    <a:pt x="76" y="4"/>
                    <a:pt x="76" y="4"/>
                  </a:cubicBezTo>
                  <a:cubicBezTo>
                    <a:pt x="76" y="1"/>
                    <a:pt x="75" y="0"/>
                    <a:pt x="72" y="0"/>
                  </a:cubicBez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a:p>
          </p:txBody>
        </p:sp>
        <p:sp>
          <p:nvSpPr>
            <p:cNvPr id="11" name="Freeform 6">
              <a:extLst>
                <a:ext uri="{FF2B5EF4-FFF2-40B4-BE49-F238E27FC236}">
                  <a16:creationId xmlns:a16="http://schemas.microsoft.com/office/drawing/2014/main" id="{ED1EA00B-9688-4B43-BBAC-EB28102F2578}"/>
                </a:ext>
              </a:extLst>
            </p:cNvPr>
            <p:cNvSpPr>
              <a:spLocks/>
            </p:cNvSpPr>
            <p:nvPr userDrawn="1"/>
          </p:nvSpPr>
          <p:spPr bwMode="auto">
            <a:xfrm>
              <a:off x="3798" y="1728"/>
              <a:ext cx="244" cy="318"/>
            </a:xfrm>
            <a:custGeom>
              <a:avLst/>
              <a:gdLst>
                <a:gd name="T0" fmla="*/ 11 w 129"/>
                <a:gd name="T1" fmla="*/ 0 h 168"/>
                <a:gd name="T2" fmla="*/ 8 w 129"/>
                <a:gd name="T3" fmla="*/ 4 h 168"/>
                <a:gd name="T4" fmla="*/ 8 w 129"/>
                <a:gd name="T5" fmla="*/ 25 h 168"/>
                <a:gd name="T6" fmla="*/ 11 w 129"/>
                <a:gd name="T7" fmla="*/ 29 h 168"/>
                <a:gd name="T8" fmla="*/ 47 w 129"/>
                <a:gd name="T9" fmla="*/ 29 h 168"/>
                <a:gd name="T10" fmla="*/ 47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1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1" y="0"/>
                  </a:moveTo>
                  <a:cubicBezTo>
                    <a:pt x="9" y="0"/>
                    <a:pt x="8" y="1"/>
                    <a:pt x="8" y="4"/>
                  </a:cubicBezTo>
                  <a:cubicBezTo>
                    <a:pt x="8" y="25"/>
                    <a:pt x="8" y="25"/>
                    <a:pt x="8" y="25"/>
                  </a:cubicBezTo>
                  <a:cubicBezTo>
                    <a:pt x="8" y="27"/>
                    <a:pt x="9" y="29"/>
                    <a:pt x="11" y="29"/>
                  </a:cubicBezTo>
                  <a:cubicBezTo>
                    <a:pt x="47" y="29"/>
                    <a:pt x="47" y="29"/>
                    <a:pt x="47" y="29"/>
                  </a:cubicBezTo>
                  <a:cubicBezTo>
                    <a:pt x="47" y="140"/>
                    <a:pt x="47" y="140"/>
                    <a:pt x="47"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7" y="140"/>
                    <a:pt x="125" y="140"/>
                  </a:cubicBezTo>
                  <a:cubicBezTo>
                    <a:pt x="76" y="140"/>
                    <a:pt x="76" y="140"/>
                    <a:pt x="76" y="140"/>
                  </a:cubicBezTo>
                  <a:cubicBezTo>
                    <a:pt x="76" y="4"/>
                    <a:pt x="76" y="4"/>
                    <a:pt x="76" y="4"/>
                  </a:cubicBezTo>
                  <a:cubicBezTo>
                    <a:pt x="75" y="1"/>
                    <a:pt x="74" y="0"/>
                    <a:pt x="72" y="0"/>
                  </a:cubicBez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a:p>
          </p:txBody>
        </p:sp>
        <p:sp>
          <p:nvSpPr>
            <p:cNvPr id="12" name="Freeform 7">
              <a:extLst>
                <a:ext uri="{FF2B5EF4-FFF2-40B4-BE49-F238E27FC236}">
                  <a16:creationId xmlns:a16="http://schemas.microsoft.com/office/drawing/2014/main" id="{49986679-F59A-47E3-9B50-AFB7A565C77F}"/>
                </a:ext>
              </a:extLst>
            </p:cNvPr>
            <p:cNvSpPr>
              <a:spLocks/>
            </p:cNvSpPr>
            <p:nvPr userDrawn="1"/>
          </p:nvSpPr>
          <p:spPr bwMode="auto">
            <a:xfrm>
              <a:off x="4361" y="1728"/>
              <a:ext cx="297" cy="464"/>
            </a:xfrm>
            <a:custGeom>
              <a:avLst/>
              <a:gdLst>
                <a:gd name="T0" fmla="*/ 132 w 157"/>
                <a:gd name="T1" fmla="*/ 0 h 245"/>
                <a:gd name="T2" fmla="*/ 127 w 157"/>
                <a:gd name="T3" fmla="*/ 3 h 245"/>
                <a:gd name="T4" fmla="*/ 127 w 157"/>
                <a:gd name="T5" fmla="*/ 3 h 245"/>
                <a:gd name="T6" fmla="*/ 79 w 157"/>
                <a:gd name="T7" fmla="*/ 128 h 245"/>
                <a:gd name="T8" fmla="*/ 30 w 157"/>
                <a:gd name="T9" fmla="*/ 4 h 245"/>
                <a:gd name="T10" fmla="*/ 25 w 157"/>
                <a:gd name="T11" fmla="*/ 0 h 245"/>
                <a:gd name="T12" fmla="*/ 4 w 157"/>
                <a:gd name="T13" fmla="*/ 0 h 245"/>
                <a:gd name="T14" fmla="*/ 0 w 157"/>
                <a:gd name="T15" fmla="*/ 3 h 245"/>
                <a:gd name="T16" fmla="*/ 1 w 157"/>
                <a:gd name="T17" fmla="*/ 6 h 245"/>
                <a:gd name="T18" fmla="*/ 1 w 157"/>
                <a:gd name="T19" fmla="*/ 6 h 245"/>
                <a:gd name="T20" fmla="*/ 1 w 157"/>
                <a:gd name="T21" fmla="*/ 6 h 245"/>
                <a:gd name="T22" fmla="*/ 64 w 157"/>
                <a:gd name="T23" fmla="*/ 168 h 245"/>
                <a:gd name="T24" fmla="*/ 59 w 157"/>
                <a:gd name="T25" fmla="*/ 182 h 245"/>
                <a:gd name="T26" fmla="*/ 48 w 157"/>
                <a:gd name="T27" fmla="*/ 205 h 245"/>
                <a:gd name="T28" fmla="*/ 38 w 157"/>
                <a:gd name="T29" fmla="*/ 215 h 245"/>
                <a:gd name="T30" fmla="*/ 30 w 157"/>
                <a:gd name="T31" fmla="*/ 217 h 245"/>
                <a:gd name="T32" fmla="*/ 26 w 157"/>
                <a:gd name="T33" fmla="*/ 216 h 245"/>
                <a:gd name="T34" fmla="*/ 14 w 157"/>
                <a:gd name="T35" fmla="*/ 213 h 245"/>
                <a:gd name="T36" fmla="*/ 7 w 157"/>
                <a:gd name="T37" fmla="*/ 210 h 245"/>
                <a:gd name="T38" fmla="*/ 3 w 157"/>
                <a:gd name="T39" fmla="*/ 215 h 245"/>
                <a:gd name="T40" fmla="*/ 3 w 157"/>
                <a:gd name="T41" fmla="*/ 233 h 245"/>
                <a:gd name="T42" fmla="*/ 3 w 157"/>
                <a:gd name="T43" fmla="*/ 233 h 245"/>
                <a:gd name="T44" fmla="*/ 7 w 157"/>
                <a:gd name="T45" fmla="*/ 240 h 245"/>
                <a:gd name="T46" fmla="*/ 32 w 157"/>
                <a:gd name="T47" fmla="*/ 245 h 245"/>
                <a:gd name="T48" fmla="*/ 54 w 157"/>
                <a:gd name="T49" fmla="*/ 238 h 245"/>
                <a:gd name="T50" fmla="*/ 73 w 157"/>
                <a:gd name="T51" fmla="*/ 220 h 245"/>
                <a:gd name="T52" fmla="*/ 79 w 157"/>
                <a:gd name="T53" fmla="*/ 208 h 245"/>
                <a:gd name="T54" fmla="*/ 156 w 157"/>
                <a:gd name="T55" fmla="*/ 6 h 245"/>
                <a:gd name="T56" fmla="*/ 157 w 157"/>
                <a:gd name="T57" fmla="*/ 3 h 245"/>
                <a:gd name="T58" fmla="*/ 153 w 157"/>
                <a:gd name="T59" fmla="*/ 0 h 245"/>
                <a:gd name="T60" fmla="*/ 132 w 157"/>
                <a:gd name="T6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7" h="245">
                  <a:moveTo>
                    <a:pt x="132" y="0"/>
                  </a:moveTo>
                  <a:cubicBezTo>
                    <a:pt x="129" y="0"/>
                    <a:pt x="128" y="1"/>
                    <a:pt x="127" y="3"/>
                  </a:cubicBezTo>
                  <a:cubicBezTo>
                    <a:pt x="127" y="3"/>
                    <a:pt x="127" y="3"/>
                    <a:pt x="127" y="3"/>
                  </a:cubicBezTo>
                  <a:cubicBezTo>
                    <a:pt x="79" y="128"/>
                    <a:pt x="79" y="128"/>
                    <a:pt x="79" y="128"/>
                  </a:cubicBezTo>
                  <a:cubicBezTo>
                    <a:pt x="30" y="4"/>
                    <a:pt x="30" y="4"/>
                    <a:pt x="30" y="4"/>
                  </a:cubicBezTo>
                  <a:cubicBezTo>
                    <a:pt x="29" y="1"/>
                    <a:pt x="28" y="0"/>
                    <a:pt x="25" y="0"/>
                  </a:cubicBezTo>
                  <a:cubicBezTo>
                    <a:pt x="4" y="0"/>
                    <a:pt x="4" y="0"/>
                    <a:pt x="4" y="0"/>
                  </a:cubicBezTo>
                  <a:cubicBezTo>
                    <a:pt x="2" y="0"/>
                    <a:pt x="0" y="1"/>
                    <a:pt x="0" y="3"/>
                  </a:cubicBezTo>
                  <a:cubicBezTo>
                    <a:pt x="0" y="4"/>
                    <a:pt x="1" y="5"/>
                    <a:pt x="1" y="6"/>
                  </a:cubicBezTo>
                  <a:cubicBezTo>
                    <a:pt x="1" y="6"/>
                    <a:pt x="1" y="6"/>
                    <a:pt x="1" y="6"/>
                  </a:cubicBezTo>
                  <a:cubicBezTo>
                    <a:pt x="1" y="6"/>
                    <a:pt x="1" y="6"/>
                    <a:pt x="1" y="6"/>
                  </a:cubicBezTo>
                  <a:cubicBezTo>
                    <a:pt x="64" y="168"/>
                    <a:pt x="64" y="168"/>
                    <a:pt x="64" y="168"/>
                  </a:cubicBezTo>
                  <a:cubicBezTo>
                    <a:pt x="59" y="182"/>
                    <a:pt x="59" y="182"/>
                    <a:pt x="59" y="182"/>
                  </a:cubicBezTo>
                  <a:cubicBezTo>
                    <a:pt x="57" y="187"/>
                    <a:pt x="53" y="199"/>
                    <a:pt x="48" y="205"/>
                  </a:cubicBezTo>
                  <a:cubicBezTo>
                    <a:pt x="44" y="211"/>
                    <a:pt x="42" y="213"/>
                    <a:pt x="38" y="215"/>
                  </a:cubicBezTo>
                  <a:cubicBezTo>
                    <a:pt x="35" y="216"/>
                    <a:pt x="33" y="217"/>
                    <a:pt x="30" y="217"/>
                  </a:cubicBezTo>
                  <a:cubicBezTo>
                    <a:pt x="28" y="217"/>
                    <a:pt x="27" y="217"/>
                    <a:pt x="26" y="216"/>
                  </a:cubicBezTo>
                  <a:cubicBezTo>
                    <a:pt x="22" y="216"/>
                    <a:pt x="18" y="214"/>
                    <a:pt x="14" y="213"/>
                  </a:cubicBezTo>
                  <a:cubicBezTo>
                    <a:pt x="11" y="212"/>
                    <a:pt x="9" y="210"/>
                    <a:pt x="7" y="210"/>
                  </a:cubicBezTo>
                  <a:cubicBezTo>
                    <a:pt x="5" y="210"/>
                    <a:pt x="3" y="212"/>
                    <a:pt x="3" y="215"/>
                  </a:cubicBezTo>
                  <a:cubicBezTo>
                    <a:pt x="3" y="233"/>
                    <a:pt x="3" y="233"/>
                    <a:pt x="3" y="233"/>
                  </a:cubicBezTo>
                  <a:cubicBezTo>
                    <a:pt x="3" y="233"/>
                    <a:pt x="3" y="233"/>
                    <a:pt x="3" y="233"/>
                  </a:cubicBezTo>
                  <a:cubicBezTo>
                    <a:pt x="3" y="236"/>
                    <a:pt x="4" y="238"/>
                    <a:pt x="7" y="240"/>
                  </a:cubicBezTo>
                  <a:cubicBezTo>
                    <a:pt x="15" y="243"/>
                    <a:pt x="21" y="245"/>
                    <a:pt x="32" y="245"/>
                  </a:cubicBezTo>
                  <a:cubicBezTo>
                    <a:pt x="41" y="244"/>
                    <a:pt x="47" y="242"/>
                    <a:pt x="54" y="238"/>
                  </a:cubicBezTo>
                  <a:cubicBezTo>
                    <a:pt x="61" y="233"/>
                    <a:pt x="67" y="227"/>
                    <a:pt x="73" y="220"/>
                  </a:cubicBezTo>
                  <a:cubicBezTo>
                    <a:pt x="75" y="216"/>
                    <a:pt x="77" y="212"/>
                    <a:pt x="79" y="208"/>
                  </a:cubicBezTo>
                  <a:cubicBezTo>
                    <a:pt x="83" y="200"/>
                    <a:pt x="144" y="40"/>
                    <a:pt x="156" y="6"/>
                  </a:cubicBezTo>
                  <a:cubicBezTo>
                    <a:pt x="157" y="5"/>
                    <a:pt x="157" y="4"/>
                    <a:pt x="157" y="3"/>
                  </a:cubicBezTo>
                  <a:cubicBezTo>
                    <a:pt x="157" y="1"/>
                    <a:pt x="155" y="0"/>
                    <a:pt x="153" y="0"/>
                  </a:cubicBezTo>
                  <a:lnTo>
                    <a:pt x="1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a:p>
          </p:txBody>
        </p:sp>
        <p:sp>
          <p:nvSpPr>
            <p:cNvPr id="13" name="Freeform 8">
              <a:extLst>
                <a:ext uri="{FF2B5EF4-FFF2-40B4-BE49-F238E27FC236}">
                  <a16:creationId xmlns:a16="http://schemas.microsoft.com/office/drawing/2014/main" id="{8F1B8FF5-9CE5-4766-B576-EBC2CC80ADAE}"/>
                </a:ext>
              </a:extLst>
            </p:cNvPr>
            <p:cNvSpPr>
              <a:spLocks/>
            </p:cNvSpPr>
            <p:nvPr userDrawn="1"/>
          </p:nvSpPr>
          <p:spPr bwMode="auto">
            <a:xfrm>
              <a:off x="3457" y="1726"/>
              <a:ext cx="263" cy="322"/>
            </a:xfrm>
            <a:custGeom>
              <a:avLst/>
              <a:gdLst>
                <a:gd name="T0" fmla="*/ 28 w 139"/>
                <a:gd name="T1" fmla="*/ 21 h 170"/>
                <a:gd name="T2" fmla="*/ 28 w 139"/>
                <a:gd name="T3" fmla="*/ 6 h 170"/>
                <a:gd name="T4" fmla="*/ 25 w 139"/>
                <a:gd name="T5" fmla="*/ 3 h 170"/>
                <a:gd name="T6" fmla="*/ 4 w 139"/>
                <a:gd name="T7" fmla="*/ 3 h 170"/>
                <a:gd name="T8" fmla="*/ 0 w 139"/>
                <a:gd name="T9" fmla="*/ 6 h 170"/>
                <a:gd name="T10" fmla="*/ 0 w 139"/>
                <a:gd name="T11" fmla="*/ 167 h 170"/>
                <a:gd name="T12" fmla="*/ 4 w 139"/>
                <a:gd name="T13" fmla="*/ 170 h 170"/>
                <a:gd name="T14" fmla="*/ 25 w 139"/>
                <a:gd name="T15" fmla="*/ 170 h 170"/>
                <a:gd name="T16" fmla="*/ 28 w 139"/>
                <a:gd name="T17" fmla="*/ 167 h 170"/>
                <a:gd name="T18" fmla="*/ 28 w 139"/>
                <a:gd name="T19" fmla="*/ 68 h 170"/>
                <a:gd name="T20" fmla="*/ 70 w 139"/>
                <a:gd name="T21" fmla="*/ 28 h 170"/>
                <a:gd name="T22" fmla="*/ 111 w 139"/>
                <a:gd name="T23" fmla="*/ 68 h 170"/>
                <a:gd name="T24" fmla="*/ 111 w 139"/>
                <a:gd name="T25" fmla="*/ 167 h 170"/>
                <a:gd name="T26" fmla="*/ 111 w 139"/>
                <a:gd name="T27" fmla="*/ 167 h 170"/>
                <a:gd name="T28" fmla="*/ 114 w 139"/>
                <a:gd name="T29" fmla="*/ 170 h 170"/>
                <a:gd name="T30" fmla="*/ 136 w 139"/>
                <a:gd name="T31" fmla="*/ 170 h 170"/>
                <a:gd name="T32" fmla="*/ 139 w 139"/>
                <a:gd name="T33" fmla="*/ 167 h 170"/>
                <a:gd name="T34" fmla="*/ 139 w 139"/>
                <a:gd name="T35" fmla="*/ 68 h 170"/>
                <a:gd name="T36" fmla="*/ 139 w 139"/>
                <a:gd name="T37" fmla="*/ 68 h 170"/>
                <a:gd name="T38" fmla="*/ 139 w 139"/>
                <a:gd name="T39" fmla="*/ 68 h 170"/>
                <a:gd name="T40" fmla="*/ 120 w 139"/>
                <a:gd name="T41" fmla="*/ 20 h 170"/>
                <a:gd name="T42" fmla="*/ 70 w 139"/>
                <a:gd name="T43" fmla="*/ 0 h 170"/>
                <a:gd name="T44" fmla="*/ 28 w 139"/>
                <a:gd name="T45" fmla="*/ 2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170">
                  <a:moveTo>
                    <a:pt x="28" y="21"/>
                  </a:moveTo>
                  <a:cubicBezTo>
                    <a:pt x="28" y="6"/>
                    <a:pt x="28" y="6"/>
                    <a:pt x="28" y="6"/>
                  </a:cubicBezTo>
                  <a:cubicBezTo>
                    <a:pt x="28" y="4"/>
                    <a:pt x="27" y="3"/>
                    <a:pt x="25" y="3"/>
                  </a:cubicBezTo>
                  <a:cubicBezTo>
                    <a:pt x="4" y="3"/>
                    <a:pt x="4" y="3"/>
                    <a:pt x="4" y="3"/>
                  </a:cubicBezTo>
                  <a:cubicBezTo>
                    <a:pt x="1" y="3"/>
                    <a:pt x="0" y="4"/>
                    <a:pt x="0" y="6"/>
                  </a:cubicBezTo>
                  <a:cubicBezTo>
                    <a:pt x="0" y="167"/>
                    <a:pt x="0" y="167"/>
                    <a:pt x="0" y="167"/>
                  </a:cubicBezTo>
                  <a:cubicBezTo>
                    <a:pt x="0" y="169"/>
                    <a:pt x="1" y="170"/>
                    <a:pt x="4" y="170"/>
                  </a:cubicBezTo>
                  <a:cubicBezTo>
                    <a:pt x="25" y="170"/>
                    <a:pt x="25" y="170"/>
                    <a:pt x="25" y="170"/>
                  </a:cubicBezTo>
                  <a:cubicBezTo>
                    <a:pt x="27" y="170"/>
                    <a:pt x="28" y="169"/>
                    <a:pt x="28" y="167"/>
                  </a:cubicBezTo>
                  <a:cubicBezTo>
                    <a:pt x="28" y="68"/>
                    <a:pt x="28" y="68"/>
                    <a:pt x="28" y="68"/>
                  </a:cubicBezTo>
                  <a:cubicBezTo>
                    <a:pt x="28" y="49"/>
                    <a:pt x="42" y="28"/>
                    <a:pt x="70" y="28"/>
                  </a:cubicBezTo>
                  <a:cubicBezTo>
                    <a:pt x="97" y="28"/>
                    <a:pt x="111" y="49"/>
                    <a:pt x="111" y="68"/>
                  </a:cubicBezTo>
                  <a:cubicBezTo>
                    <a:pt x="111" y="167"/>
                    <a:pt x="111" y="167"/>
                    <a:pt x="111" y="167"/>
                  </a:cubicBezTo>
                  <a:cubicBezTo>
                    <a:pt x="111" y="167"/>
                    <a:pt x="111" y="167"/>
                    <a:pt x="111" y="167"/>
                  </a:cubicBezTo>
                  <a:cubicBezTo>
                    <a:pt x="111" y="169"/>
                    <a:pt x="112" y="170"/>
                    <a:pt x="114" y="170"/>
                  </a:cubicBezTo>
                  <a:cubicBezTo>
                    <a:pt x="136" y="170"/>
                    <a:pt x="136" y="170"/>
                    <a:pt x="136" y="170"/>
                  </a:cubicBezTo>
                  <a:cubicBezTo>
                    <a:pt x="138" y="170"/>
                    <a:pt x="139" y="169"/>
                    <a:pt x="139" y="167"/>
                  </a:cubicBezTo>
                  <a:cubicBezTo>
                    <a:pt x="139" y="68"/>
                    <a:pt x="139" y="68"/>
                    <a:pt x="139" y="68"/>
                  </a:cubicBezTo>
                  <a:cubicBezTo>
                    <a:pt x="139" y="68"/>
                    <a:pt x="139" y="68"/>
                    <a:pt x="139" y="68"/>
                  </a:cubicBezTo>
                  <a:cubicBezTo>
                    <a:pt x="139" y="68"/>
                    <a:pt x="139" y="68"/>
                    <a:pt x="139" y="68"/>
                  </a:cubicBezTo>
                  <a:cubicBezTo>
                    <a:pt x="139" y="51"/>
                    <a:pt x="133" y="35"/>
                    <a:pt x="120" y="20"/>
                  </a:cubicBezTo>
                  <a:cubicBezTo>
                    <a:pt x="109" y="7"/>
                    <a:pt x="88" y="0"/>
                    <a:pt x="70" y="0"/>
                  </a:cubicBezTo>
                  <a:cubicBezTo>
                    <a:pt x="41" y="0"/>
                    <a:pt x="28" y="21"/>
                    <a:pt x="28"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a:p>
          </p:txBody>
        </p:sp>
        <p:sp>
          <p:nvSpPr>
            <p:cNvPr id="14" name="Freeform 9">
              <a:extLst>
                <a:ext uri="{FF2B5EF4-FFF2-40B4-BE49-F238E27FC236}">
                  <a16:creationId xmlns:a16="http://schemas.microsoft.com/office/drawing/2014/main" id="{754C77E2-9DA6-4CF5-A591-E325C546323C}"/>
                </a:ext>
              </a:extLst>
            </p:cNvPr>
            <p:cNvSpPr>
              <a:spLocks/>
            </p:cNvSpPr>
            <p:nvPr userDrawn="1"/>
          </p:nvSpPr>
          <p:spPr bwMode="auto">
            <a:xfrm>
              <a:off x="2264" y="1724"/>
              <a:ext cx="246" cy="328"/>
            </a:xfrm>
            <a:custGeom>
              <a:avLst/>
              <a:gdLst>
                <a:gd name="T0" fmla="*/ 4 w 130"/>
                <a:gd name="T1" fmla="*/ 48 h 173"/>
                <a:gd name="T2" fmla="*/ 56 w 130"/>
                <a:gd name="T3" fmla="*/ 97 h 173"/>
                <a:gd name="T4" fmla="*/ 57 w 130"/>
                <a:gd name="T5" fmla="*/ 98 h 173"/>
                <a:gd name="T6" fmla="*/ 101 w 130"/>
                <a:gd name="T7" fmla="*/ 124 h 173"/>
                <a:gd name="T8" fmla="*/ 66 w 130"/>
                <a:gd name="T9" fmla="*/ 146 h 173"/>
                <a:gd name="T10" fmla="*/ 30 w 130"/>
                <a:gd name="T11" fmla="*/ 118 h 173"/>
                <a:gd name="T12" fmla="*/ 26 w 130"/>
                <a:gd name="T13" fmla="*/ 114 h 173"/>
                <a:gd name="T14" fmla="*/ 5 w 130"/>
                <a:gd name="T15" fmla="*/ 114 h 173"/>
                <a:gd name="T16" fmla="*/ 0 w 130"/>
                <a:gd name="T17" fmla="*/ 118 h 173"/>
                <a:gd name="T18" fmla="*/ 65 w 130"/>
                <a:gd name="T19" fmla="*/ 173 h 173"/>
                <a:gd name="T20" fmla="*/ 130 w 130"/>
                <a:gd name="T21" fmla="*/ 120 h 173"/>
                <a:gd name="T22" fmla="*/ 72 w 130"/>
                <a:gd name="T23" fmla="*/ 74 h 173"/>
                <a:gd name="T24" fmla="*/ 32 w 130"/>
                <a:gd name="T25" fmla="*/ 48 h 173"/>
                <a:gd name="T26" fmla="*/ 63 w 130"/>
                <a:gd name="T27" fmla="*/ 27 h 173"/>
                <a:gd name="T28" fmla="*/ 97 w 130"/>
                <a:gd name="T29" fmla="*/ 49 h 173"/>
                <a:gd name="T30" fmla="*/ 102 w 130"/>
                <a:gd name="T31" fmla="*/ 53 h 173"/>
                <a:gd name="T32" fmla="*/ 120 w 130"/>
                <a:gd name="T33" fmla="*/ 53 h 173"/>
                <a:gd name="T34" fmla="*/ 125 w 130"/>
                <a:gd name="T35" fmla="*/ 48 h 173"/>
                <a:gd name="T36" fmla="*/ 63 w 130"/>
                <a:gd name="T37" fmla="*/ 0 h 173"/>
                <a:gd name="T38" fmla="*/ 4 w 130"/>
                <a:gd name="T39" fmla="*/ 4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173">
                  <a:moveTo>
                    <a:pt x="4" y="48"/>
                  </a:moveTo>
                  <a:cubicBezTo>
                    <a:pt x="4" y="77"/>
                    <a:pt x="19" y="91"/>
                    <a:pt x="56" y="97"/>
                  </a:cubicBezTo>
                  <a:cubicBezTo>
                    <a:pt x="57" y="98"/>
                    <a:pt x="57" y="98"/>
                    <a:pt x="57" y="98"/>
                  </a:cubicBezTo>
                  <a:cubicBezTo>
                    <a:pt x="83" y="102"/>
                    <a:pt x="101" y="105"/>
                    <a:pt x="101" y="124"/>
                  </a:cubicBezTo>
                  <a:cubicBezTo>
                    <a:pt x="101" y="139"/>
                    <a:pt x="83" y="146"/>
                    <a:pt x="66" y="146"/>
                  </a:cubicBezTo>
                  <a:cubicBezTo>
                    <a:pt x="46" y="146"/>
                    <a:pt x="33" y="136"/>
                    <a:pt x="30" y="118"/>
                  </a:cubicBezTo>
                  <a:cubicBezTo>
                    <a:pt x="30" y="116"/>
                    <a:pt x="29" y="114"/>
                    <a:pt x="26" y="114"/>
                  </a:cubicBezTo>
                  <a:cubicBezTo>
                    <a:pt x="5" y="114"/>
                    <a:pt x="5" y="114"/>
                    <a:pt x="5" y="114"/>
                  </a:cubicBezTo>
                  <a:cubicBezTo>
                    <a:pt x="2" y="114"/>
                    <a:pt x="0" y="116"/>
                    <a:pt x="0" y="118"/>
                  </a:cubicBezTo>
                  <a:cubicBezTo>
                    <a:pt x="0" y="150"/>
                    <a:pt x="27" y="173"/>
                    <a:pt x="65" y="173"/>
                  </a:cubicBezTo>
                  <a:cubicBezTo>
                    <a:pt x="104" y="173"/>
                    <a:pt x="130" y="151"/>
                    <a:pt x="130" y="120"/>
                  </a:cubicBezTo>
                  <a:cubicBezTo>
                    <a:pt x="130" y="86"/>
                    <a:pt x="100" y="79"/>
                    <a:pt x="72" y="74"/>
                  </a:cubicBezTo>
                  <a:cubicBezTo>
                    <a:pt x="37" y="68"/>
                    <a:pt x="32" y="58"/>
                    <a:pt x="32" y="48"/>
                  </a:cubicBezTo>
                  <a:cubicBezTo>
                    <a:pt x="32" y="32"/>
                    <a:pt x="49" y="27"/>
                    <a:pt x="63" y="27"/>
                  </a:cubicBezTo>
                  <a:cubicBezTo>
                    <a:pt x="82" y="27"/>
                    <a:pt x="94" y="34"/>
                    <a:pt x="97" y="49"/>
                  </a:cubicBezTo>
                  <a:cubicBezTo>
                    <a:pt x="98" y="51"/>
                    <a:pt x="98" y="53"/>
                    <a:pt x="102" y="53"/>
                  </a:cubicBezTo>
                  <a:cubicBezTo>
                    <a:pt x="120" y="53"/>
                    <a:pt x="120" y="53"/>
                    <a:pt x="120" y="53"/>
                  </a:cubicBezTo>
                  <a:cubicBezTo>
                    <a:pt x="123" y="53"/>
                    <a:pt x="125" y="51"/>
                    <a:pt x="125" y="48"/>
                  </a:cubicBezTo>
                  <a:cubicBezTo>
                    <a:pt x="125" y="19"/>
                    <a:pt x="100" y="0"/>
                    <a:pt x="63" y="0"/>
                  </a:cubicBezTo>
                  <a:cubicBezTo>
                    <a:pt x="22" y="0"/>
                    <a:pt x="4" y="25"/>
                    <a:pt x="4" y="4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a:p>
          </p:txBody>
        </p:sp>
        <p:sp>
          <p:nvSpPr>
            <p:cNvPr id="15" name="Freeform 10">
              <a:extLst>
                <a:ext uri="{FF2B5EF4-FFF2-40B4-BE49-F238E27FC236}">
                  <a16:creationId xmlns:a16="http://schemas.microsoft.com/office/drawing/2014/main" id="{3F66E709-BE0A-4F12-9432-E758B38B5A77}"/>
                </a:ext>
              </a:extLst>
            </p:cNvPr>
            <p:cNvSpPr>
              <a:spLocks/>
            </p:cNvSpPr>
            <p:nvPr userDrawn="1"/>
          </p:nvSpPr>
          <p:spPr bwMode="auto">
            <a:xfrm>
              <a:off x="3062" y="1722"/>
              <a:ext cx="312" cy="474"/>
            </a:xfrm>
            <a:custGeom>
              <a:avLst/>
              <a:gdLst>
                <a:gd name="T0" fmla="*/ 67 w 165"/>
                <a:gd name="T1" fmla="*/ 0 h 250"/>
                <a:gd name="T2" fmla="*/ 0 w 165"/>
                <a:gd name="T3" fmla="*/ 86 h 250"/>
                <a:gd name="T4" fmla="*/ 82 w 165"/>
                <a:gd name="T5" fmla="*/ 174 h 250"/>
                <a:gd name="T6" fmla="*/ 137 w 165"/>
                <a:gd name="T7" fmla="*/ 152 h 250"/>
                <a:gd name="T8" fmla="*/ 137 w 165"/>
                <a:gd name="T9" fmla="*/ 173 h 250"/>
                <a:gd name="T10" fmla="*/ 89 w 165"/>
                <a:gd name="T11" fmla="*/ 222 h 250"/>
                <a:gd name="T12" fmla="*/ 48 w 165"/>
                <a:gd name="T13" fmla="*/ 194 h 250"/>
                <a:gd name="T14" fmla="*/ 43 w 165"/>
                <a:gd name="T15" fmla="*/ 190 h 250"/>
                <a:gd name="T16" fmla="*/ 24 w 165"/>
                <a:gd name="T17" fmla="*/ 190 h 250"/>
                <a:gd name="T18" fmla="*/ 19 w 165"/>
                <a:gd name="T19" fmla="*/ 195 h 250"/>
                <a:gd name="T20" fmla="*/ 89 w 165"/>
                <a:gd name="T21" fmla="*/ 250 h 250"/>
                <a:gd name="T22" fmla="*/ 165 w 165"/>
                <a:gd name="T23" fmla="*/ 174 h 250"/>
                <a:gd name="T24" fmla="*/ 165 w 165"/>
                <a:gd name="T25" fmla="*/ 7 h 250"/>
                <a:gd name="T26" fmla="*/ 162 w 165"/>
                <a:gd name="T27" fmla="*/ 4 h 250"/>
                <a:gd name="T28" fmla="*/ 140 w 165"/>
                <a:gd name="T29" fmla="*/ 4 h 250"/>
                <a:gd name="T30" fmla="*/ 137 w 165"/>
                <a:gd name="T31" fmla="*/ 7 h 250"/>
                <a:gd name="T32" fmla="*/ 137 w 165"/>
                <a:gd name="T33" fmla="*/ 21 h 250"/>
                <a:gd name="T34" fmla="*/ 99 w 165"/>
                <a:gd name="T35" fmla="*/ 0 h 250"/>
                <a:gd name="T36" fmla="*/ 96 w 165"/>
                <a:gd name="T37" fmla="*/ 3 h 250"/>
                <a:gd name="T38" fmla="*/ 96 w 165"/>
                <a:gd name="T39" fmla="*/ 28 h 250"/>
                <a:gd name="T40" fmla="*/ 97 w 165"/>
                <a:gd name="T41" fmla="*/ 31 h 250"/>
                <a:gd name="T42" fmla="*/ 138 w 165"/>
                <a:gd name="T43" fmla="*/ 87 h 250"/>
                <a:gd name="T44" fmla="*/ 83 w 165"/>
                <a:gd name="T45" fmla="*/ 146 h 250"/>
                <a:gd name="T46" fmla="*/ 29 w 165"/>
                <a:gd name="T47" fmla="*/ 87 h 250"/>
                <a:gd name="T48" fmla="*/ 68 w 165"/>
                <a:gd name="T49" fmla="*/ 31 h 250"/>
                <a:gd name="T50" fmla="*/ 70 w 165"/>
                <a:gd name="T51" fmla="*/ 29 h 250"/>
                <a:gd name="T52" fmla="*/ 70 w 165"/>
                <a:gd name="T53" fmla="*/ 3 h 250"/>
                <a:gd name="T54" fmla="*/ 67 w 165"/>
                <a:gd name="T55" fmla="*/ 0 h 250"/>
                <a:gd name="T56" fmla="*/ 67 w 165"/>
                <a:gd name="T57"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5" h="250">
                  <a:moveTo>
                    <a:pt x="67" y="0"/>
                  </a:moveTo>
                  <a:cubicBezTo>
                    <a:pt x="29" y="8"/>
                    <a:pt x="0" y="44"/>
                    <a:pt x="0" y="86"/>
                  </a:cubicBezTo>
                  <a:cubicBezTo>
                    <a:pt x="0" y="135"/>
                    <a:pt x="37" y="174"/>
                    <a:pt x="82" y="174"/>
                  </a:cubicBezTo>
                  <a:cubicBezTo>
                    <a:pt x="103" y="174"/>
                    <a:pt x="122" y="166"/>
                    <a:pt x="137" y="152"/>
                  </a:cubicBezTo>
                  <a:cubicBezTo>
                    <a:pt x="137" y="173"/>
                    <a:pt x="137" y="173"/>
                    <a:pt x="137" y="173"/>
                  </a:cubicBezTo>
                  <a:cubicBezTo>
                    <a:pt x="137" y="205"/>
                    <a:pt x="120" y="222"/>
                    <a:pt x="89" y="222"/>
                  </a:cubicBezTo>
                  <a:cubicBezTo>
                    <a:pt x="66" y="222"/>
                    <a:pt x="52" y="213"/>
                    <a:pt x="48" y="194"/>
                  </a:cubicBezTo>
                  <a:cubicBezTo>
                    <a:pt x="47" y="192"/>
                    <a:pt x="46" y="190"/>
                    <a:pt x="43" y="190"/>
                  </a:cubicBezTo>
                  <a:cubicBezTo>
                    <a:pt x="24" y="190"/>
                    <a:pt x="24" y="190"/>
                    <a:pt x="24" y="190"/>
                  </a:cubicBezTo>
                  <a:cubicBezTo>
                    <a:pt x="21" y="190"/>
                    <a:pt x="19" y="192"/>
                    <a:pt x="19" y="195"/>
                  </a:cubicBezTo>
                  <a:cubicBezTo>
                    <a:pt x="22" y="228"/>
                    <a:pt x="51" y="250"/>
                    <a:pt x="89" y="250"/>
                  </a:cubicBezTo>
                  <a:cubicBezTo>
                    <a:pt x="135" y="250"/>
                    <a:pt x="165" y="219"/>
                    <a:pt x="165" y="174"/>
                  </a:cubicBezTo>
                  <a:cubicBezTo>
                    <a:pt x="165" y="7"/>
                    <a:pt x="165" y="7"/>
                    <a:pt x="165" y="7"/>
                  </a:cubicBezTo>
                  <a:cubicBezTo>
                    <a:pt x="165" y="5"/>
                    <a:pt x="164" y="4"/>
                    <a:pt x="162" y="4"/>
                  </a:cubicBezTo>
                  <a:cubicBezTo>
                    <a:pt x="140" y="4"/>
                    <a:pt x="140" y="4"/>
                    <a:pt x="140" y="4"/>
                  </a:cubicBezTo>
                  <a:cubicBezTo>
                    <a:pt x="138" y="4"/>
                    <a:pt x="137" y="5"/>
                    <a:pt x="137" y="7"/>
                  </a:cubicBezTo>
                  <a:cubicBezTo>
                    <a:pt x="137" y="21"/>
                    <a:pt x="137" y="21"/>
                    <a:pt x="137" y="21"/>
                  </a:cubicBezTo>
                  <a:cubicBezTo>
                    <a:pt x="126" y="11"/>
                    <a:pt x="113" y="4"/>
                    <a:pt x="99" y="0"/>
                  </a:cubicBezTo>
                  <a:cubicBezTo>
                    <a:pt x="97" y="0"/>
                    <a:pt x="96" y="1"/>
                    <a:pt x="96" y="3"/>
                  </a:cubicBezTo>
                  <a:cubicBezTo>
                    <a:pt x="96" y="28"/>
                    <a:pt x="96" y="28"/>
                    <a:pt x="96" y="28"/>
                  </a:cubicBezTo>
                  <a:cubicBezTo>
                    <a:pt x="96" y="29"/>
                    <a:pt x="96" y="30"/>
                    <a:pt x="97" y="31"/>
                  </a:cubicBezTo>
                  <a:cubicBezTo>
                    <a:pt x="121" y="37"/>
                    <a:pt x="138" y="60"/>
                    <a:pt x="138" y="87"/>
                  </a:cubicBezTo>
                  <a:cubicBezTo>
                    <a:pt x="138" y="119"/>
                    <a:pt x="114" y="146"/>
                    <a:pt x="83" y="146"/>
                  </a:cubicBezTo>
                  <a:cubicBezTo>
                    <a:pt x="53" y="146"/>
                    <a:pt x="29" y="119"/>
                    <a:pt x="29" y="87"/>
                  </a:cubicBezTo>
                  <a:cubicBezTo>
                    <a:pt x="29" y="61"/>
                    <a:pt x="45" y="38"/>
                    <a:pt x="68" y="31"/>
                  </a:cubicBezTo>
                  <a:cubicBezTo>
                    <a:pt x="69" y="31"/>
                    <a:pt x="70" y="30"/>
                    <a:pt x="70" y="29"/>
                  </a:cubicBezTo>
                  <a:cubicBezTo>
                    <a:pt x="70" y="3"/>
                    <a:pt x="70" y="3"/>
                    <a:pt x="70" y="3"/>
                  </a:cubicBezTo>
                  <a:cubicBezTo>
                    <a:pt x="70" y="1"/>
                    <a:pt x="69" y="0"/>
                    <a:pt x="67" y="0"/>
                  </a:cubicBezTo>
                  <a:cubicBezTo>
                    <a:pt x="67" y="0"/>
                    <a:pt x="67" y="0"/>
                    <a:pt x="6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a:p>
          </p:txBody>
        </p:sp>
        <p:sp>
          <p:nvSpPr>
            <p:cNvPr id="16" name="Oval 11">
              <a:extLst>
                <a:ext uri="{FF2B5EF4-FFF2-40B4-BE49-F238E27FC236}">
                  <a16:creationId xmlns:a16="http://schemas.microsoft.com/office/drawing/2014/main" id="{0206D854-B604-48EE-919B-064E5233BA70}"/>
                </a:ext>
              </a:extLst>
            </p:cNvPr>
            <p:cNvSpPr>
              <a:spLocks noChangeArrowheads="1"/>
            </p:cNvSpPr>
            <p:nvPr userDrawn="1"/>
          </p:nvSpPr>
          <p:spPr bwMode="auto">
            <a:xfrm>
              <a:off x="284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a:p>
          </p:txBody>
        </p:sp>
        <p:sp>
          <p:nvSpPr>
            <p:cNvPr id="17" name="Oval 12">
              <a:extLst>
                <a:ext uri="{FF2B5EF4-FFF2-40B4-BE49-F238E27FC236}">
                  <a16:creationId xmlns:a16="http://schemas.microsoft.com/office/drawing/2014/main" id="{198EB32C-0E3F-4505-9A49-1059A6CE2374}"/>
                </a:ext>
              </a:extLst>
            </p:cNvPr>
            <p:cNvSpPr>
              <a:spLocks noChangeArrowheads="1"/>
            </p:cNvSpPr>
            <p:nvPr userDrawn="1"/>
          </p:nvSpPr>
          <p:spPr bwMode="auto">
            <a:xfrm>
              <a:off x="387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a:p>
          </p:txBody>
        </p:sp>
        <p:sp>
          <p:nvSpPr>
            <p:cNvPr id="18" name="Freeform 13">
              <a:extLst>
                <a:ext uri="{FF2B5EF4-FFF2-40B4-BE49-F238E27FC236}">
                  <a16:creationId xmlns:a16="http://schemas.microsoft.com/office/drawing/2014/main" id="{1A2FDBD3-5D09-43A6-B8DA-D6FC1307334B}"/>
                </a:ext>
              </a:extLst>
            </p:cNvPr>
            <p:cNvSpPr>
              <a:spLocks/>
            </p:cNvSpPr>
            <p:nvPr userDrawn="1"/>
          </p:nvSpPr>
          <p:spPr bwMode="auto">
            <a:xfrm>
              <a:off x="4062" y="1584"/>
              <a:ext cx="242" cy="462"/>
            </a:xfrm>
            <a:custGeom>
              <a:avLst/>
              <a:gdLst>
                <a:gd name="T0" fmla="*/ 39 w 128"/>
                <a:gd name="T1" fmla="*/ 55 h 244"/>
                <a:gd name="T2" fmla="*/ 39 w 128"/>
                <a:gd name="T3" fmla="*/ 76 h 244"/>
                <a:gd name="T4" fmla="*/ 4 w 128"/>
                <a:gd name="T5" fmla="*/ 76 h 244"/>
                <a:gd name="T6" fmla="*/ 0 w 128"/>
                <a:gd name="T7" fmla="*/ 81 h 244"/>
                <a:gd name="T8" fmla="*/ 0 w 128"/>
                <a:gd name="T9" fmla="*/ 99 h 244"/>
                <a:gd name="T10" fmla="*/ 4 w 128"/>
                <a:gd name="T11" fmla="*/ 103 h 244"/>
                <a:gd name="T12" fmla="*/ 39 w 128"/>
                <a:gd name="T13" fmla="*/ 103 h 244"/>
                <a:gd name="T14" fmla="*/ 39 w 128"/>
                <a:gd name="T15" fmla="*/ 239 h 244"/>
                <a:gd name="T16" fmla="*/ 44 w 128"/>
                <a:gd name="T17" fmla="*/ 244 h 244"/>
                <a:gd name="T18" fmla="*/ 62 w 128"/>
                <a:gd name="T19" fmla="*/ 244 h 244"/>
                <a:gd name="T20" fmla="*/ 67 w 128"/>
                <a:gd name="T21" fmla="*/ 239 h 244"/>
                <a:gd name="T22" fmla="*/ 67 w 128"/>
                <a:gd name="T23" fmla="*/ 103 h 244"/>
                <a:gd name="T24" fmla="*/ 120 w 128"/>
                <a:gd name="T25" fmla="*/ 103 h 244"/>
                <a:gd name="T26" fmla="*/ 125 w 128"/>
                <a:gd name="T27" fmla="*/ 99 h 244"/>
                <a:gd name="T28" fmla="*/ 125 w 128"/>
                <a:gd name="T29" fmla="*/ 81 h 244"/>
                <a:gd name="T30" fmla="*/ 120 w 128"/>
                <a:gd name="T31" fmla="*/ 76 h 244"/>
                <a:gd name="T32" fmla="*/ 67 w 128"/>
                <a:gd name="T33" fmla="*/ 76 h 244"/>
                <a:gd name="T34" fmla="*/ 67 w 128"/>
                <a:gd name="T35" fmla="*/ 55 h 244"/>
                <a:gd name="T36" fmla="*/ 91 w 128"/>
                <a:gd name="T37" fmla="*/ 27 h 244"/>
                <a:gd name="T38" fmla="*/ 122 w 128"/>
                <a:gd name="T39" fmla="*/ 37 h 244"/>
                <a:gd name="T40" fmla="*/ 125 w 128"/>
                <a:gd name="T41" fmla="*/ 38 h 244"/>
                <a:gd name="T42" fmla="*/ 128 w 128"/>
                <a:gd name="T43" fmla="*/ 33 h 244"/>
                <a:gd name="T44" fmla="*/ 128 w 128"/>
                <a:gd name="T45" fmla="*/ 16 h 244"/>
                <a:gd name="T46" fmla="*/ 125 w 128"/>
                <a:gd name="T47" fmla="*/ 9 h 244"/>
                <a:gd name="T48" fmla="*/ 89 w 128"/>
                <a:gd name="T49" fmla="*/ 0 h 244"/>
                <a:gd name="T50" fmla="*/ 39 w 128"/>
                <a:gd name="T51" fmla="*/ 5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244">
                  <a:moveTo>
                    <a:pt x="39" y="55"/>
                  </a:moveTo>
                  <a:cubicBezTo>
                    <a:pt x="39" y="76"/>
                    <a:pt x="39" y="76"/>
                    <a:pt x="39" y="76"/>
                  </a:cubicBezTo>
                  <a:cubicBezTo>
                    <a:pt x="4" y="76"/>
                    <a:pt x="4" y="76"/>
                    <a:pt x="4" y="76"/>
                  </a:cubicBezTo>
                  <a:cubicBezTo>
                    <a:pt x="1" y="76"/>
                    <a:pt x="0" y="78"/>
                    <a:pt x="0" y="81"/>
                  </a:cubicBezTo>
                  <a:cubicBezTo>
                    <a:pt x="0" y="99"/>
                    <a:pt x="0" y="99"/>
                    <a:pt x="0" y="99"/>
                  </a:cubicBezTo>
                  <a:cubicBezTo>
                    <a:pt x="0" y="102"/>
                    <a:pt x="1" y="103"/>
                    <a:pt x="4" y="103"/>
                  </a:cubicBezTo>
                  <a:cubicBezTo>
                    <a:pt x="39" y="103"/>
                    <a:pt x="39" y="103"/>
                    <a:pt x="39" y="103"/>
                  </a:cubicBezTo>
                  <a:cubicBezTo>
                    <a:pt x="39" y="239"/>
                    <a:pt x="39" y="239"/>
                    <a:pt x="39" y="239"/>
                  </a:cubicBezTo>
                  <a:cubicBezTo>
                    <a:pt x="39" y="242"/>
                    <a:pt x="41" y="244"/>
                    <a:pt x="44" y="244"/>
                  </a:cubicBezTo>
                  <a:cubicBezTo>
                    <a:pt x="62" y="244"/>
                    <a:pt x="62" y="244"/>
                    <a:pt x="62" y="244"/>
                  </a:cubicBezTo>
                  <a:cubicBezTo>
                    <a:pt x="65" y="244"/>
                    <a:pt x="67" y="242"/>
                    <a:pt x="67" y="239"/>
                  </a:cubicBezTo>
                  <a:cubicBezTo>
                    <a:pt x="67" y="103"/>
                    <a:pt x="67" y="103"/>
                    <a:pt x="67" y="103"/>
                  </a:cubicBezTo>
                  <a:cubicBezTo>
                    <a:pt x="120" y="103"/>
                    <a:pt x="120" y="103"/>
                    <a:pt x="120" y="103"/>
                  </a:cubicBezTo>
                  <a:cubicBezTo>
                    <a:pt x="123" y="103"/>
                    <a:pt x="125" y="102"/>
                    <a:pt x="125" y="99"/>
                  </a:cubicBezTo>
                  <a:cubicBezTo>
                    <a:pt x="125" y="81"/>
                    <a:pt x="125" y="81"/>
                    <a:pt x="125" y="81"/>
                  </a:cubicBezTo>
                  <a:cubicBezTo>
                    <a:pt x="125" y="78"/>
                    <a:pt x="123" y="76"/>
                    <a:pt x="120" y="76"/>
                  </a:cubicBezTo>
                  <a:cubicBezTo>
                    <a:pt x="67" y="76"/>
                    <a:pt x="67" y="76"/>
                    <a:pt x="67" y="76"/>
                  </a:cubicBezTo>
                  <a:cubicBezTo>
                    <a:pt x="67" y="55"/>
                    <a:pt x="67" y="55"/>
                    <a:pt x="67" y="55"/>
                  </a:cubicBezTo>
                  <a:cubicBezTo>
                    <a:pt x="67" y="38"/>
                    <a:pt x="76" y="27"/>
                    <a:pt x="91" y="27"/>
                  </a:cubicBezTo>
                  <a:cubicBezTo>
                    <a:pt x="102" y="27"/>
                    <a:pt x="110" y="30"/>
                    <a:pt x="122" y="37"/>
                  </a:cubicBezTo>
                  <a:cubicBezTo>
                    <a:pt x="123" y="38"/>
                    <a:pt x="124" y="38"/>
                    <a:pt x="125" y="38"/>
                  </a:cubicBezTo>
                  <a:cubicBezTo>
                    <a:pt x="127" y="38"/>
                    <a:pt x="128" y="36"/>
                    <a:pt x="128" y="33"/>
                  </a:cubicBezTo>
                  <a:cubicBezTo>
                    <a:pt x="128" y="16"/>
                    <a:pt x="128" y="16"/>
                    <a:pt x="128" y="16"/>
                  </a:cubicBezTo>
                  <a:cubicBezTo>
                    <a:pt x="128" y="13"/>
                    <a:pt x="128" y="11"/>
                    <a:pt x="125" y="9"/>
                  </a:cubicBezTo>
                  <a:cubicBezTo>
                    <a:pt x="114" y="3"/>
                    <a:pt x="103" y="0"/>
                    <a:pt x="89" y="0"/>
                  </a:cubicBezTo>
                  <a:cubicBezTo>
                    <a:pt x="54" y="0"/>
                    <a:pt x="39" y="29"/>
                    <a:pt x="39"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a:p>
          </p:txBody>
        </p:sp>
        <p:sp>
          <p:nvSpPr>
            <p:cNvPr id="19" name="Freeform 14">
              <a:extLst>
                <a:ext uri="{FF2B5EF4-FFF2-40B4-BE49-F238E27FC236}">
                  <a16:creationId xmlns:a16="http://schemas.microsoft.com/office/drawing/2014/main" id="{8A1865E5-DA78-4DF6-8B41-586B3F364632}"/>
                </a:ext>
              </a:extLst>
            </p:cNvPr>
            <p:cNvSpPr>
              <a:spLocks/>
            </p:cNvSpPr>
            <p:nvPr userDrawn="1"/>
          </p:nvSpPr>
          <p:spPr bwMode="auto">
            <a:xfrm>
              <a:off x="2071" y="1578"/>
              <a:ext cx="632" cy="631"/>
            </a:xfrm>
            <a:custGeom>
              <a:avLst/>
              <a:gdLst>
                <a:gd name="T0" fmla="*/ 181 w 334"/>
                <a:gd name="T1" fmla="*/ 1 h 333"/>
                <a:gd name="T2" fmla="*/ 180 w 334"/>
                <a:gd name="T3" fmla="*/ 4 h 333"/>
                <a:gd name="T4" fmla="*/ 180 w 334"/>
                <a:gd name="T5" fmla="*/ 26 h 333"/>
                <a:gd name="T6" fmla="*/ 180 w 334"/>
                <a:gd name="T7" fmla="*/ 26 h 333"/>
                <a:gd name="T8" fmla="*/ 182 w 334"/>
                <a:gd name="T9" fmla="*/ 28 h 333"/>
                <a:gd name="T10" fmla="*/ 306 w 334"/>
                <a:gd name="T11" fmla="*/ 166 h 333"/>
                <a:gd name="T12" fmla="*/ 167 w 334"/>
                <a:gd name="T13" fmla="*/ 305 h 333"/>
                <a:gd name="T14" fmla="*/ 28 w 334"/>
                <a:gd name="T15" fmla="*/ 166 h 333"/>
                <a:gd name="T16" fmla="*/ 152 w 334"/>
                <a:gd name="T17" fmla="*/ 28 h 333"/>
                <a:gd name="T18" fmla="*/ 154 w 334"/>
                <a:gd name="T19" fmla="*/ 26 h 333"/>
                <a:gd name="T20" fmla="*/ 154 w 334"/>
                <a:gd name="T21" fmla="*/ 26 h 333"/>
                <a:gd name="T22" fmla="*/ 154 w 334"/>
                <a:gd name="T23" fmla="*/ 4 h 333"/>
                <a:gd name="T24" fmla="*/ 153 w 334"/>
                <a:gd name="T25" fmla="*/ 1 h 333"/>
                <a:gd name="T26" fmla="*/ 150 w 334"/>
                <a:gd name="T27" fmla="*/ 0 h 333"/>
                <a:gd name="T28" fmla="*/ 149 w 334"/>
                <a:gd name="T29" fmla="*/ 0 h 333"/>
                <a:gd name="T30" fmla="*/ 149 w 334"/>
                <a:gd name="T31" fmla="*/ 0 h 333"/>
                <a:gd name="T32" fmla="*/ 0 w 334"/>
                <a:gd name="T33" fmla="*/ 166 h 333"/>
                <a:gd name="T34" fmla="*/ 167 w 334"/>
                <a:gd name="T35" fmla="*/ 333 h 333"/>
                <a:gd name="T36" fmla="*/ 334 w 334"/>
                <a:gd name="T37" fmla="*/ 166 h 333"/>
                <a:gd name="T38" fmla="*/ 185 w 334"/>
                <a:gd name="T39" fmla="*/ 0 h 333"/>
                <a:gd name="T40" fmla="*/ 185 w 334"/>
                <a:gd name="T41" fmla="*/ 0 h 333"/>
                <a:gd name="T42" fmla="*/ 184 w 334"/>
                <a:gd name="T43" fmla="*/ 0 h 333"/>
                <a:gd name="T44" fmla="*/ 181 w 334"/>
                <a:gd name="T45" fmla="*/ 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4" h="333">
                  <a:moveTo>
                    <a:pt x="181" y="1"/>
                  </a:moveTo>
                  <a:cubicBezTo>
                    <a:pt x="180" y="2"/>
                    <a:pt x="180" y="3"/>
                    <a:pt x="180" y="4"/>
                  </a:cubicBezTo>
                  <a:cubicBezTo>
                    <a:pt x="180" y="26"/>
                    <a:pt x="180" y="26"/>
                    <a:pt x="180" y="26"/>
                  </a:cubicBezTo>
                  <a:cubicBezTo>
                    <a:pt x="180" y="26"/>
                    <a:pt x="180" y="26"/>
                    <a:pt x="180" y="26"/>
                  </a:cubicBezTo>
                  <a:cubicBezTo>
                    <a:pt x="180" y="27"/>
                    <a:pt x="181" y="28"/>
                    <a:pt x="182" y="28"/>
                  </a:cubicBezTo>
                  <a:cubicBezTo>
                    <a:pt x="251" y="35"/>
                    <a:pt x="306" y="94"/>
                    <a:pt x="306" y="166"/>
                  </a:cubicBezTo>
                  <a:cubicBezTo>
                    <a:pt x="306" y="243"/>
                    <a:pt x="244" y="305"/>
                    <a:pt x="167" y="305"/>
                  </a:cubicBezTo>
                  <a:cubicBezTo>
                    <a:pt x="90" y="305"/>
                    <a:pt x="28" y="243"/>
                    <a:pt x="28" y="166"/>
                  </a:cubicBezTo>
                  <a:cubicBezTo>
                    <a:pt x="28" y="94"/>
                    <a:pt x="82" y="35"/>
                    <a:pt x="152" y="28"/>
                  </a:cubicBezTo>
                  <a:cubicBezTo>
                    <a:pt x="153" y="28"/>
                    <a:pt x="154" y="27"/>
                    <a:pt x="154" y="26"/>
                  </a:cubicBezTo>
                  <a:cubicBezTo>
                    <a:pt x="154" y="26"/>
                    <a:pt x="154" y="26"/>
                    <a:pt x="154" y="26"/>
                  </a:cubicBezTo>
                  <a:cubicBezTo>
                    <a:pt x="154" y="4"/>
                    <a:pt x="154" y="4"/>
                    <a:pt x="154" y="4"/>
                  </a:cubicBezTo>
                  <a:cubicBezTo>
                    <a:pt x="154" y="3"/>
                    <a:pt x="154" y="2"/>
                    <a:pt x="153" y="1"/>
                  </a:cubicBezTo>
                  <a:cubicBezTo>
                    <a:pt x="152" y="0"/>
                    <a:pt x="151" y="0"/>
                    <a:pt x="150" y="0"/>
                  </a:cubicBezTo>
                  <a:cubicBezTo>
                    <a:pt x="149" y="0"/>
                    <a:pt x="149" y="0"/>
                    <a:pt x="149" y="0"/>
                  </a:cubicBezTo>
                  <a:cubicBezTo>
                    <a:pt x="149" y="0"/>
                    <a:pt x="149" y="0"/>
                    <a:pt x="149" y="0"/>
                  </a:cubicBezTo>
                  <a:cubicBezTo>
                    <a:pt x="65" y="9"/>
                    <a:pt x="0" y="80"/>
                    <a:pt x="0" y="166"/>
                  </a:cubicBezTo>
                  <a:cubicBezTo>
                    <a:pt x="0" y="258"/>
                    <a:pt x="75" y="333"/>
                    <a:pt x="167" y="333"/>
                  </a:cubicBezTo>
                  <a:cubicBezTo>
                    <a:pt x="259" y="333"/>
                    <a:pt x="334" y="258"/>
                    <a:pt x="334" y="166"/>
                  </a:cubicBezTo>
                  <a:cubicBezTo>
                    <a:pt x="334" y="80"/>
                    <a:pt x="269" y="9"/>
                    <a:pt x="185" y="0"/>
                  </a:cubicBezTo>
                  <a:cubicBezTo>
                    <a:pt x="185" y="0"/>
                    <a:pt x="185" y="0"/>
                    <a:pt x="185" y="0"/>
                  </a:cubicBezTo>
                  <a:cubicBezTo>
                    <a:pt x="185" y="0"/>
                    <a:pt x="184" y="0"/>
                    <a:pt x="184" y="0"/>
                  </a:cubicBezTo>
                  <a:cubicBezTo>
                    <a:pt x="183" y="0"/>
                    <a:pt x="182" y="0"/>
                    <a:pt x="18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a:p>
          </p:txBody>
        </p:sp>
      </p:grpSp>
    </p:spTree>
    <p:extLst>
      <p:ext uri="{BB962C8B-B14F-4D97-AF65-F5344CB8AC3E}">
        <p14:creationId xmlns:p14="http://schemas.microsoft.com/office/powerpoint/2010/main" val="2653759805"/>
      </p:ext>
    </p:extLst>
  </p:cSld>
  <p:clrMapOvr>
    <a:masterClrMapping/>
  </p:clrMapOvr>
  <p:transition>
    <p:fade/>
  </p:transition>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70C1E90-B22E-4BFF-9028-EF438619120A}" type="datetimeFigureOut">
              <a:rPr lang="en-BE" smtClean="0"/>
              <a:t>26/09/2023</a:t>
            </a:fld>
            <a:endParaRPr lang="en-BE"/>
          </a:p>
        </p:txBody>
      </p:sp>
      <p:sp>
        <p:nvSpPr>
          <p:cNvPr id="4" name="Footer Placeholder 3"/>
          <p:cNvSpPr>
            <a:spLocks noGrp="1"/>
          </p:cNvSpPr>
          <p:nvPr>
            <p:ph type="ftr" sz="quarter" idx="11"/>
          </p:nvPr>
        </p:nvSpPr>
        <p:spPr/>
        <p:txBody>
          <a:bodyPr/>
          <a:lstStyle/>
          <a:p>
            <a:endParaRPr lang="en-BE"/>
          </a:p>
        </p:txBody>
      </p:sp>
      <p:sp>
        <p:nvSpPr>
          <p:cNvPr id="5" name="Slide Number Placeholder 4"/>
          <p:cNvSpPr>
            <a:spLocks noGrp="1"/>
          </p:cNvSpPr>
          <p:nvPr>
            <p:ph type="sldNum" sz="quarter" idx="12"/>
          </p:nvPr>
        </p:nvSpPr>
        <p:spPr/>
        <p:txBody>
          <a:bodyPr/>
          <a:lstStyle/>
          <a:p>
            <a:fld id="{9F5F79E4-174E-4D15-B5B9-2923F86E0116}" type="slidenum">
              <a:rPr lang="en-BE" smtClean="0"/>
              <a:t>‹#›</a:t>
            </a:fld>
            <a:endParaRPr lang="en-BE"/>
          </a:p>
        </p:txBody>
      </p:sp>
    </p:spTree>
    <p:extLst>
      <p:ext uri="{BB962C8B-B14F-4D97-AF65-F5344CB8AC3E}">
        <p14:creationId xmlns:p14="http://schemas.microsoft.com/office/powerpoint/2010/main" val="2995993707"/>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type="twoObj" preserve="1">
  <p:cSld name="Two Content Dark Lef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D86AC41-762B-4924-A899-F81343A12E1E}"/>
              </a:ext>
            </a:extLst>
          </p:cNvPr>
          <p:cNvSpPr/>
          <p:nvPr userDrawn="1"/>
        </p:nvSpPr>
        <p:spPr>
          <a:xfrm>
            <a:off x="906" y="-1"/>
            <a:ext cx="6096000" cy="6858000"/>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53"/>
          </a:p>
        </p:txBody>
      </p:sp>
      <p:sp>
        <p:nvSpPr>
          <p:cNvPr id="4" name="Content Placeholder 3"/>
          <p:cNvSpPr>
            <a:spLocks noGrp="1"/>
          </p:cNvSpPr>
          <p:nvPr>
            <p:ph sz="half" idx="2"/>
          </p:nvPr>
        </p:nvSpPr>
        <p:spPr>
          <a:xfrm>
            <a:off x="410878" y="1521183"/>
            <a:ext cx="5292112" cy="4517348"/>
          </a:xfrm>
        </p:spPr>
        <p:txBody>
          <a:bodyPr/>
          <a:lstStyle>
            <a:lvl1pPr>
              <a:defRPr>
                <a:solidFill>
                  <a:schemeClr val="bg1"/>
                </a:solidFill>
              </a:defRPr>
            </a:lvl1pPr>
            <a:lvl2pPr>
              <a:defRPr>
                <a:solidFill>
                  <a:schemeClr val="bg1"/>
                </a:solidFill>
              </a:defRPr>
            </a:lvl2pPr>
            <a:lvl3pPr>
              <a:defRPr>
                <a:solidFill>
                  <a:schemeClr val="accent3"/>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6504203" y="512500"/>
            <a:ext cx="5274693" cy="776038"/>
          </a:xfrm>
        </p:spPr>
        <p:txBody>
          <a:bodyPr/>
          <a:lstStyle/>
          <a:p>
            <a:r>
              <a:rPr lang="en-US"/>
              <a:t>Click to edit Master title style</a:t>
            </a:r>
          </a:p>
        </p:txBody>
      </p:sp>
      <p:sp>
        <p:nvSpPr>
          <p:cNvPr id="3" name="Content Placeholder 2"/>
          <p:cNvSpPr>
            <a:spLocks noGrp="1"/>
          </p:cNvSpPr>
          <p:nvPr>
            <p:ph sz="half" idx="1"/>
          </p:nvPr>
        </p:nvSpPr>
        <p:spPr>
          <a:xfrm>
            <a:off x="6504203" y="1521184"/>
            <a:ext cx="5274693" cy="45173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lvl1pPr>
              <a:defRPr>
                <a:solidFill>
                  <a:schemeClr val="bg1"/>
                </a:solidFill>
              </a:defRPr>
            </a:lvl1pPr>
          </a:lstStyle>
          <a:p>
            <a:r>
              <a:rPr lang="en-US"/>
              <a:t>Footer (Insert &gt; Header &amp; Footer to edit)</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32B354EE-31EA-4FC2-9496-7B6202183237}" type="slidenum">
              <a:rPr lang="en-US" smtClean="0"/>
              <a:pPr/>
              <a:t>‹#›</a:t>
            </a:fld>
            <a:endParaRPr lang="en-US"/>
          </a:p>
        </p:txBody>
      </p:sp>
    </p:spTree>
    <p:extLst>
      <p:ext uri="{BB962C8B-B14F-4D97-AF65-F5344CB8AC3E}">
        <p14:creationId xmlns:p14="http://schemas.microsoft.com/office/powerpoint/2010/main" val="1970471773"/>
      </p:ext>
    </p:extLst>
  </p:cSld>
  <p:clrMapOvr>
    <a:masterClrMapping/>
  </p:clrMapOvr>
  <p:transition>
    <p:fade/>
  </p:transition>
  <p:extLst>
    <p:ext uri="{DCECCB84-F9BA-43D5-87BE-67443E8EF086}">
      <p15:sldGuideLst xmlns:p15="http://schemas.microsoft.com/office/powerpoint/2012/main"/>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gradFill>
          <a:gsLst>
            <a:gs pos="50000">
              <a:srgbClr val="00E487"/>
            </a:gs>
            <a:gs pos="100000">
              <a:srgbClr val="1ECBD0"/>
            </a:gs>
          </a:gsLst>
          <a:lin ang="18900000" scaled="0"/>
        </a:gra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CFD4E276-C47D-4F97-8D9E-FECD172C9798}"/>
              </a:ext>
            </a:extLst>
          </p:cNvPr>
          <p:cNvGrpSpPr>
            <a:grpSpLocks noChangeAspect="1"/>
          </p:cNvGrpSpPr>
          <p:nvPr userDrawn="1"/>
        </p:nvGrpSpPr>
        <p:grpSpPr bwMode="auto">
          <a:xfrm>
            <a:off x="2835683" y="2634179"/>
            <a:ext cx="6520638" cy="1589645"/>
            <a:chOff x="2071" y="1578"/>
            <a:chExt cx="2587" cy="631"/>
          </a:xfrm>
          <a:solidFill>
            <a:schemeClr val="bg1"/>
          </a:solidFill>
        </p:grpSpPr>
        <p:sp>
          <p:nvSpPr>
            <p:cNvPr id="7" name="Freeform 5">
              <a:extLst>
                <a:ext uri="{FF2B5EF4-FFF2-40B4-BE49-F238E27FC236}">
                  <a16:creationId xmlns:a16="http://schemas.microsoft.com/office/drawing/2014/main" id="{F8587B0E-0CEF-4218-99CF-AE3634274F8F}"/>
                </a:ext>
              </a:extLst>
            </p:cNvPr>
            <p:cNvSpPr>
              <a:spLocks/>
            </p:cNvSpPr>
            <p:nvPr userDrawn="1"/>
          </p:nvSpPr>
          <p:spPr bwMode="auto">
            <a:xfrm>
              <a:off x="2765" y="1728"/>
              <a:ext cx="244" cy="318"/>
            </a:xfrm>
            <a:custGeom>
              <a:avLst/>
              <a:gdLst>
                <a:gd name="T0" fmla="*/ 12 w 129"/>
                <a:gd name="T1" fmla="*/ 0 h 168"/>
                <a:gd name="T2" fmla="*/ 8 w 129"/>
                <a:gd name="T3" fmla="*/ 4 h 168"/>
                <a:gd name="T4" fmla="*/ 8 w 129"/>
                <a:gd name="T5" fmla="*/ 25 h 168"/>
                <a:gd name="T6" fmla="*/ 12 w 129"/>
                <a:gd name="T7" fmla="*/ 29 h 168"/>
                <a:gd name="T8" fmla="*/ 48 w 129"/>
                <a:gd name="T9" fmla="*/ 29 h 168"/>
                <a:gd name="T10" fmla="*/ 48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2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2" y="0"/>
                  </a:moveTo>
                  <a:cubicBezTo>
                    <a:pt x="9" y="0"/>
                    <a:pt x="8" y="1"/>
                    <a:pt x="8" y="4"/>
                  </a:cubicBezTo>
                  <a:cubicBezTo>
                    <a:pt x="8" y="25"/>
                    <a:pt x="8" y="25"/>
                    <a:pt x="8" y="25"/>
                  </a:cubicBezTo>
                  <a:cubicBezTo>
                    <a:pt x="8" y="27"/>
                    <a:pt x="9" y="29"/>
                    <a:pt x="12" y="29"/>
                  </a:cubicBezTo>
                  <a:cubicBezTo>
                    <a:pt x="48" y="29"/>
                    <a:pt x="48" y="29"/>
                    <a:pt x="48" y="29"/>
                  </a:cubicBezTo>
                  <a:cubicBezTo>
                    <a:pt x="48" y="140"/>
                    <a:pt x="48" y="140"/>
                    <a:pt x="48"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8" y="140"/>
                    <a:pt x="125" y="140"/>
                  </a:cubicBezTo>
                  <a:cubicBezTo>
                    <a:pt x="76" y="140"/>
                    <a:pt x="76" y="140"/>
                    <a:pt x="76" y="140"/>
                  </a:cubicBezTo>
                  <a:cubicBezTo>
                    <a:pt x="76" y="4"/>
                    <a:pt x="76" y="4"/>
                    <a:pt x="76" y="4"/>
                  </a:cubicBezTo>
                  <a:cubicBezTo>
                    <a:pt x="76" y="1"/>
                    <a:pt x="75" y="0"/>
                    <a:pt x="72" y="0"/>
                  </a:cubicBezTo>
                  <a:lnTo>
                    <a:pt x="1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053"/>
            </a:p>
          </p:txBody>
        </p:sp>
        <p:sp>
          <p:nvSpPr>
            <p:cNvPr id="8" name="Freeform 6">
              <a:extLst>
                <a:ext uri="{FF2B5EF4-FFF2-40B4-BE49-F238E27FC236}">
                  <a16:creationId xmlns:a16="http://schemas.microsoft.com/office/drawing/2014/main" id="{E526A929-E098-4073-8B92-F18ED8E1D964}"/>
                </a:ext>
              </a:extLst>
            </p:cNvPr>
            <p:cNvSpPr>
              <a:spLocks/>
            </p:cNvSpPr>
            <p:nvPr userDrawn="1"/>
          </p:nvSpPr>
          <p:spPr bwMode="auto">
            <a:xfrm>
              <a:off x="3798" y="1728"/>
              <a:ext cx="244" cy="318"/>
            </a:xfrm>
            <a:custGeom>
              <a:avLst/>
              <a:gdLst>
                <a:gd name="T0" fmla="*/ 11 w 129"/>
                <a:gd name="T1" fmla="*/ 0 h 168"/>
                <a:gd name="T2" fmla="*/ 8 w 129"/>
                <a:gd name="T3" fmla="*/ 4 h 168"/>
                <a:gd name="T4" fmla="*/ 8 w 129"/>
                <a:gd name="T5" fmla="*/ 25 h 168"/>
                <a:gd name="T6" fmla="*/ 11 w 129"/>
                <a:gd name="T7" fmla="*/ 29 h 168"/>
                <a:gd name="T8" fmla="*/ 47 w 129"/>
                <a:gd name="T9" fmla="*/ 29 h 168"/>
                <a:gd name="T10" fmla="*/ 47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1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1" y="0"/>
                  </a:moveTo>
                  <a:cubicBezTo>
                    <a:pt x="9" y="0"/>
                    <a:pt x="8" y="1"/>
                    <a:pt x="8" y="4"/>
                  </a:cubicBezTo>
                  <a:cubicBezTo>
                    <a:pt x="8" y="25"/>
                    <a:pt x="8" y="25"/>
                    <a:pt x="8" y="25"/>
                  </a:cubicBezTo>
                  <a:cubicBezTo>
                    <a:pt x="8" y="27"/>
                    <a:pt x="9" y="29"/>
                    <a:pt x="11" y="29"/>
                  </a:cubicBezTo>
                  <a:cubicBezTo>
                    <a:pt x="47" y="29"/>
                    <a:pt x="47" y="29"/>
                    <a:pt x="47" y="29"/>
                  </a:cubicBezTo>
                  <a:cubicBezTo>
                    <a:pt x="47" y="140"/>
                    <a:pt x="47" y="140"/>
                    <a:pt x="47"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7" y="140"/>
                    <a:pt x="125" y="140"/>
                  </a:cubicBezTo>
                  <a:cubicBezTo>
                    <a:pt x="76" y="140"/>
                    <a:pt x="76" y="140"/>
                    <a:pt x="76" y="140"/>
                  </a:cubicBezTo>
                  <a:cubicBezTo>
                    <a:pt x="76" y="4"/>
                    <a:pt x="76" y="4"/>
                    <a:pt x="76" y="4"/>
                  </a:cubicBezTo>
                  <a:cubicBezTo>
                    <a:pt x="75" y="1"/>
                    <a:pt x="74" y="0"/>
                    <a:pt x="72" y="0"/>
                  </a:cubicBezTo>
                  <a:lnTo>
                    <a:pt x="1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053"/>
            </a:p>
          </p:txBody>
        </p:sp>
        <p:sp>
          <p:nvSpPr>
            <p:cNvPr id="9" name="Freeform 7">
              <a:extLst>
                <a:ext uri="{FF2B5EF4-FFF2-40B4-BE49-F238E27FC236}">
                  <a16:creationId xmlns:a16="http://schemas.microsoft.com/office/drawing/2014/main" id="{EDF465AE-39A5-4B73-8576-41C66C06AD43}"/>
                </a:ext>
              </a:extLst>
            </p:cNvPr>
            <p:cNvSpPr>
              <a:spLocks/>
            </p:cNvSpPr>
            <p:nvPr userDrawn="1"/>
          </p:nvSpPr>
          <p:spPr bwMode="auto">
            <a:xfrm>
              <a:off x="4361" y="1728"/>
              <a:ext cx="297" cy="464"/>
            </a:xfrm>
            <a:custGeom>
              <a:avLst/>
              <a:gdLst>
                <a:gd name="T0" fmla="*/ 132 w 157"/>
                <a:gd name="T1" fmla="*/ 0 h 245"/>
                <a:gd name="T2" fmla="*/ 127 w 157"/>
                <a:gd name="T3" fmla="*/ 3 h 245"/>
                <a:gd name="T4" fmla="*/ 127 w 157"/>
                <a:gd name="T5" fmla="*/ 3 h 245"/>
                <a:gd name="T6" fmla="*/ 79 w 157"/>
                <a:gd name="T7" fmla="*/ 128 h 245"/>
                <a:gd name="T8" fmla="*/ 30 w 157"/>
                <a:gd name="T9" fmla="*/ 4 h 245"/>
                <a:gd name="T10" fmla="*/ 25 w 157"/>
                <a:gd name="T11" fmla="*/ 0 h 245"/>
                <a:gd name="T12" fmla="*/ 4 w 157"/>
                <a:gd name="T13" fmla="*/ 0 h 245"/>
                <a:gd name="T14" fmla="*/ 0 w 157"/>
                <a:gd name="T15" fmla="*/ 3 h 245"/>
                <a:gd name="T16" fmla="*/ 1 w 157"/>
                <a:gd name="T17" fmla="*/ 6 h 245"/>
                <a:gd name="T18" fmla="*/ 1 w 157"/>
                <a:gd name="T19" fmla="*/ 6 h 245"/>
                <a:gd name="T20" fmla="*/ 1 w 157"/>
                <a:gd name="T21" fmla="*/ 6 h 245"/>
                <a:gd name="T22" fmla="*/ 64 w 157"/>
                <a:gd name="T23" fmla="*/ 168 h 245"/>
                <a:gd name="T24" fmla="*/ 59 w 157"/>
                <a:gd name="T25" fmla="*/ 182 h 245"/>
                <a:gd name="T26" fmla="*/ 48 w 157"/>
                <a:gd name="T27" fmla="*/ 205 h 245"/>
                <a:gd name="T28" fmla="*/ 38 w 157"/>
                <a:gd name="T29" fmla="*/ 215 h 245"/>
                <a:gd name="T30" fmla="*/ 30 w 157"/>
                <a:gd name="T31" fmla="*/ 217 h 245"/>
                <a:gd name="T32" fmla="*/ 26 w 157"/>
                <a:gd name="T33" fmla="*/ 216 h 245"/>
                <a:gd name="T34" fmla="*/ 14 w 157"/>
                <a:gd name="T35" fmla="*/ 213 h 245"/>
                <a:gd name="T36" fmla="*/ 7 w 157"/>
                <a:gd name="T37" fmla="*/ 210 h 245"/>
                <a:gd name="T38" fmla="*/ 3 w 157"/>
                <a:gd name="T39" fmla="*/ 215 h 245"/>
                <a:gd name="T40" fmla="*/ 3 w 157"/>
                <a:gd name="T41" fmla="*/ 233 h 245"/>
                <a:gd name="T42" fmla="*/ 3 w 157"/>
                <a:gd name="T43" fmla="*/ 233 h 245"/>
                <a:gd name="T44" fmla="*/ 7 w 157"/>
                <a:gd name="T45" fmla="*/ 240 h 245"/>
                <a:gd name="T46" fmla="*/ 32 w 157"/>
                <a:gd name="T47" fmla="*/ 245 h 245"/>
                <a:gd name="T48" fmla="*/ 54 w 157"/>
                <a:gd name="T49" fmla="*/ 238 h 245"/>
                <a:gd name="T50" fmla="*/ 73 w 157"/>
                <a:gd name="T51" fmla="*/ 220 h 245"/>
                <a:gd name="T52" fmla="*/ 79 w 157"/>
                <a:gd name="T53" fmla="*/ 208 h 245"/>
                <a:gd name="T54" fmla="*/ 156 w 157"/>
                <a:gd name="T55" fmla="*/ 6 h 245"/>
                <a:gd name="T56" fmla="*/ 157 w 157"/>
                <a:gd name="T57" fmla="*/ 3 h 245"/>
                <a:gd name="T58" fmla="*/ 153 w 157"/>
                <a:gd name="T59" fmla="*/ 0 h 245"/>
                <a:gd name="T60" fmla="*/ 132 w 157"/>
                <a:gd name="T6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7" h="245">
                  <a:moveTo>
                    <a:pt x="132" y="0"/>
                  </a:moveTo>
                  <a:cubicBezTo>
                    <a:pt x="129" y="0"/>
                    <a:pt x="128" y="1"/>
                    <a:pt x="127" y="3"/>
                  </a:cubicBezTo>
                  <a:cubicBezTo>
                    <a:pt x="127" y="3"/>
                    <a:pt x="127" y="3"/>
                    <a:pt x="127" y="3"/>
                  </a:cubicBezTo>
                  <a:cubicBezTo>
                    <a:pt x="79" y="128"/>
                    <a:pt x="79" y="128"/>
                    <a:pt x="79" y="128"/>
                  </a:cubicBezTo>
                  <a:cubicBezTo>
                    <a:pt x="30" y="4"/>
                    <a:pt x="30" y="4"/>
                    <a:pt x="30" y="4"/>
                  </a:cubicBezTo>
                  <a:cubicBezTo>
                    <a:pt x="29" y="1"/>
                    <a:pt x="28" y="0"/>
                    <a:pt x="25" y="0"/>
                  </a:cubicBezTo>
                  <a:cubicBezTo>
                    <a:pt x="4" y="0"/>
                    <a:pt x="4" y="0"/>
                    <a:pt x="4" y="0"/>
                  </a:cubicBezTo>
                  <a:cubicBezTo>
                    <a:pt x="2" y="0"/>
                    <a:pt x="0" y="1"/>
                    <a:pt x="0" y="3"/>
                  </a:cubicBezTo>
                  <a:cubicBezTo>
                    <a:pt x="0" y="4"/>
                    <a:pt x="1" y="5"/>
                    <a:pt x="1" y="6"/>
                  </a:cubicBezTo>
                  <a:cubicBezTo>
                    <a:pt x="1" y="6"/>
                    <a:pt x="1" y="6"/>
                    <a:pt x="1" y="6"/>
                  </a:cubicBezTo>
                  <a:cubicBezTo>
                    <a:pt x="1" y="6"/>
                    <a:pt x="1" y="6"/>
                    <a:pt x="1" y="6"/>
                  </a:cubicBezTo>
                  <a:cubicBezTo>
                    <a:pt x="64" y="168"/>
                    <a:pt x="64" y="168"/>
                    <a:pt x="64" y="168"/>
                  </a:cubicBezTo>
                  <a:cubicBezTo>
                    <a:pt x="59" y="182"/>
                    <a:pt x="59" y="182"/>
                    <a:pt x="59" y="182"/>
                  </a:cubicBezTo>
                  <a:cubicBezTo>
                    <a:pt x="57" y="187"/>
                    <a:pt x="53" y="199"/>
                    <a:pt x="48" y="205"/>
                  </a:cubicBezTo>
                  <a:cubicBezTo>
                    <a:pt x="44" y="211"/>
                    <a:pt x="42" y="213"/>
                    <a:pt x="38" y="215"/>
                  </a:cubicBezTo>
                  <a:cubicBezTo>
                    <a:pt x="35" y="216"/>
                    <a:pt x="33" y="217"/>
                    <a:pt x="30" y="217"/>
                  </a:cubicBezTo>
                  <a:cubicBezTo>
                    <a:pt x="28" y="217"/>
                    <a:pt x="27" y="217"/>
                    <a:pt x="26" y="216"/>
                  </a:cubicBezTo>
                  <a:cubicBezTo>
                    <a:pt x="22" y="216"/>
                    <a:pt x="18" y="214"/>
                    <a:pt x="14" y="213"/>
                  </a:cubicBezTo>
                  <a:cubicBezTo>
                    <a:pt x="11" y="212"/>
                    <a:pt x="9" y="210"/>
                    <a:pt x="7" y="210"/>
                  </a:cubicBezTo>
                  <a:cubicBezTo>
                    <a:pt x="5" y="210"/>
                    <a:pt x="3" y="212"/>
                    <a:pt x="3" y="215"/>
                  </a:cubicBezTo>
                  <a:cubicBezTo>
                    <a:pt x="3" y="233"/>
                    <a:pt x="3" y="233"/>
                    <a:pt x="3" y="233"/>
                  </a:cubicBezTo>
                  <a:cubicBezTo>
                    <a:pt x="3" y="233"/>
                    <a:pt x="3" y="233"/>
                    <a:pt x="3" y="233"/>
                  </a:cubicBezTo>
                  <a:cubicBezTo>
                    <a:pt x="3" y="236"/>
                    <a:pt x="4" y="238"/>
                    <a:pt x="7" y="240"/>
                  </a:cubicBezTo>
                  <a:cubicBezTo>
                    <a:pt x="15" y="243"/>
                    <a:pt x="21" y="245"/>
                    <a:pt x="32" y="245"/>
                  </a:cubicBezTo>
                  <a:cubicBezTo>
                    <a:pt x="41" y="244"/>
                    <a:pt x="47" y="242"/>
                    <a:pt x="54" y="238"/>
                  </a:cubicBezTo>
                  <a:cubicBezTo>
                    <a:pt x="61" y="233"/>
                    <a:pt x="67" y="227"/>
                    <a:pt x="73" y="220"/>
                  </a:cubicBezTo>
                  <a:cubicBezTo>
                    <a:pt x="75" y="216"/>
                    <a:pt x="77" y="212"/>
                    <a:pt x="79" y="208"/>
                  </a:cubicBezTo>
                  <a:cubicBezTo>
                    <a:pt x="83" y="200"/>
                    <a:pt x="144" y="40"/>
                    <a:pt x="156" y="6"/>
                  </a:cubicBezTo>
                  <a:cubicBezTo>
                    <a:pt x="157" y="5"/>
                    <a:pt x="157" y="4"/>
                    <a:pt x="157" y="3"/>
                  </a:cubicBezTo>
                  <a:cubicBezTo>
                    <a:pt x="157" y="1"/>
                    <a:pt x="155" y="0"/>
                    <a:pt x="153" y="0"/>
                  </a:cubicBezTo>
                  <a:lnTo>
                    <a:pt x="13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053"/>
            </a:p>
          </p:txBody>
        </p:sp>
        <p:sp>
          <p:nvSpPr>
            <p:cNvPr id="10" name="Freeform 8">
              <a:extLst>
                <a:ext uri="{FF2B5EF4-FFF2-40B4-BE49-F238E27FC236}">
                  <a16:creationId xmlns:a16="http://schemas.microsoft.com/office/drawing/2014/main" id="{FA4DA928-058C-40DF-A9B6-21272F81C671}"/>
                </a:ext>
              </a:extLst>
            </p:cNvPr>
            <p:cNvSpPr>
              <a:spLocks/>
            </p:cNvSpPr>
            <p:nvPr userDrawn="1"/>
          </p:nvSpPr>
          <p:spPr bwMode="auto">
            <a:xfrm>
              <a:off x="3457" y="1726"/>
              <a:ext cx="263" cy="322"/>
            </a:xfrm>
            <a:custGeom>
              <a:avLst/>
              <a:gdLst>
                <a:gd name="T0" fmla="*/ 28 w 139"/>
                <a:gd name="T1" fmla="*/ 21 h 170"/>
                <a:gd name="T2" fmla="*/ 28 w 139"/>
                <a:gd name="T3" fmla="*/ 6 h 170"/>
                <a:gd name="T4" fmla="*/ 25 w 139"/>
                <a:gd name="T5" fmla="*/ 3 h 170"/>
                <a:gd name="T6" fmla="*/ 4 w 139"/>
                <a:gd name="T7" fmla="*/ 3 h 170"/>
                <a:gd name="T8" fmla="*/ 0 w 139"/>
                <a:gd name="T9" fmla="*/ 6 h 170"/>
                <a:gd name="T10" fmla="*/ 0 w 139"/>
                <a:gd name="T11" fmla="*/ 167 h 170"/>
                <a:gd name="T12" fmla="*/ 4 w 139"/>
                <a:gd name="T13" fmla="*/ 170 h 170"/>
                <a:gd name="T14" fmla="*/ 25 w 139"/>
                <a:gd name="T15" fmla="*/ 170 h 170"/>
                <a:gd name="T16" fmla="*/ 28 w 139"/>
                <a:gd name="T17" fmla="*/ 167 h 170"/>
                <a:gd name="T18" fmla="*/ 28 w 139"/>
                <a:gd name="T19" fmla="*/ 68 h 170"/>
                <a:gd name="T20" fmla="*/ 70 w 139"/>
                <a:gd name="T21" fmla="*/ 28 h 170"/>
                <a:gd name="T22" fmla="*/ 111 w 139"/>
                <a:gd name="T23" fmla="*/ 68 h 170"/>
                <a:gd name="T24" fmla="*/ 111 w 139"/>
                <a:gd name="T25" fmla="*/ 167 h 170"/>
                <a:gd name="T26" fmla="*/ 111 w 139"/>
                <a:gd name="T27" fmla="*/ 167 h 170"/>
                <a:gd name="T28" fmla="*/ 114 w 139"/>
                <a:gd name="T29" fmla="*/ 170 h 170"/>
                <a:gd name="T30" fmla="*/ 136 w 139"/>
                <a:gd name="T31" fmla="*/ 170 h 170"/>
                <a:gd name="T32" fmla="*/ 139 w 139"/>
                <a:gd name="T33" fmla="*/ 167 h 170"/>
                <a:gd name="T34" fmla="*/ 139 w 139"/>
                <a:gd name="T35" fmla="*/ 68 h 170"/>
                <a:gd name="T36" fmla="*/ 139 w 139"/>
                <a:gd name="T37" fmla="*/ 68 h 170"/>
                <a:gd name="T38" fmla="*/ 139 w 139"/>
                <a:gd name="T39" fmla="*/ 68 h 170"/>
                <a:gd name="T40" fmla="*/ 120 w 139"/>
                <a:gd name="T41" fmla="*/ 20 h 170"/>
                <a:gd name="T42" fmla="*/ 70 w 139"/>
                <a:gd name="T43" fmla="*/ 0 h 170"/>
                <a:gd name="T44" fmla="*/ 28 w 139"/>
                <a:gd name="T45" fmla="*/ 2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170">
                  <a:moveTo>
                    <a:pt x="28" y="21"/>
                  </a:moveTo>
                  <a:cubicBezTo>
                    <a:pt x="28" y="6"/>
                    <a:pt x="28" y="6"/>
                    <a:pt x="28" y="6"/>
                  </a:cubicBezTo>
                  <a:cubicBezTo>
                    <a:pt x="28" y="4"/>
                    <a:pt x="27" y="3"/>
                    <a:pt x="25" y="3"/>
                  </a:cubicBezTo>
                  <a:cubicBezTo>
                    <a:pt x="4" y="3"/>
                    <a:pt x="4" y="3"/>
                    <a:pt x="4" y="3"/>
                  </a:cubicBezTo>
                  <a:cubicBezTo>
                    <a:pt x="1" y="3"/>
                    <a:pt x="0" y="4"/>
                    <a:pt x="0" y="6"/>
                  </a:cubicBezTo>
                  <a:cubicBezTo>
                    <a:pt x="0" y="167"/>
                    <a:pt x="0" y="167"/>
                    <a:pt x="0" y="167"/>
                  </a:cubicBezTo>
                  <a:cubicBezTo>
                    <a:pt x="0" y="169"/>
                    <a:pt x="1" y="170"/>
                    <a:pt x="4" y="170"/>
                  </a:cubicBezTo>
                  <a:cubicBezTo>
                    <a:pt x="25" y="170"/>
                    <a:pt x="25" y="170"/>
                    <a:pt x="25" y="170"/>
                  </a:cubicBezTo>
                  <a:cubicBezTo>
                    <a:pt x="27" y="170"/>
                    <a:pt x="28" y="169"/>
                    <a:pt x="28" y="167"/>
                  </a:cubicBezTo>
                  <a:cubicBezTo>
                    <a:pt x="28" y="68"/>
                    <a:pt x="28" y="68"/>
                    <a:pt x="28" y="68"/>
                  </a:cubicBezTo>
                  <a:cubicBezTo>
                    <a:pt x="28" y="49"/>
                    <a:pt x="42" y="28"/>
                    <a:pt x="70" y="28"/>
                  </a:cubicBezTo>
                  <a:cubicBezTo>
                    <a:pt x="97" y="28"/>
                    <a:pt x="111" y="49"/>
                    <a:pt x="111" y="68"/>
                  </a:cubicBezTo>
                  <a:cubicBezTo>
                    <a:pt x="111" y="167"/>
                    <a:pt x="111" y="167"/>
                    <a:pt x="111" y="167"/>
                  </a:cubicBezTo>
                  <a:cubicBezTo>
                    <a:pt x="111" y="167"/>
                    <a:pt x="111" y="167"/>
                    <a:pt x="111" y="167"/>
                  </a:cubicBezTo>
                  <a:cubicBezTo>
                    <a:pt x="111" y="169"/>
                    <a:pt x="112" y="170"/>
                    <a:pt x="114" y="170"/>
                  </a:cubicBezTo>
                  <a:cubicBezTo>
                    <a:pt x="136" y="170"/>
                    <a:pt x="136" y="170"/>
                    <a:pt x="136" y="170"/>
                  </a:cubicBezTo>
                  <a:cubicBezTo>
                    <a:pt x="138" y="170"/>
                    <a:pt x="139" y="169"/>
                    <a:pt x="139" y="167"/>
                  </a:cubicBezTo>
                  <a:cubicBezTo>
                    <a:pt x="139" y="68"/>
                    <a:pt x="139" y="68"/>
                    <a:pt x="139" y="68"/>
                  </a:cubicBezTo>
                  <a:cubicBezTo>
                    <a:pt x="139" y="68"/>
                    <a:pt x="139" y="68"/>
                    <a:pt x="139" y="68"/>
                  </a:cubicBezTo>
                  <a:cubicBezTo>
                    <a:pt x="139" y="68"/>
                    <a:pt x="139" y="68"/>
                    <a:pt x="139" y="68"/>
                  </a:cubicBezTo>
                  <a:cubicBezTo>
                    <a:pt x="139" y="51"/>
                    <a:pt x="133" y="35"/>
                    <a:pt x="120" y="20"/>
                  </a:cubicBezTo>
                  <a:cubicBezTo>
                    <a:pt x="109" y="7"/>
                    <a:pt x="88" y="0"/>
                    <a:pt x="70" y="0"/>
                  </a:cubicBezTo>
                  <a:cubicBezTo>
                    <a:pt x="41" y="0"/>
                    <a:pt x="28" y="21"/>
                    <a:pt x="28" y="2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053"/>
            </a:p>
          </p:txBody>
        </p:sp>
        <p:sp>
          <p:nvSpPr>
            <p:cNvPr id="11" name="Freeform 9">
              <a:extLst>
                <a:ext uri="{FF2B5EF4-FFF2-40B4-BE49-F238E27FC236}">
                  <a16:creationId xmlns:a16="http://schemas.microsoft.com/office/drawing/2014/main" id="{BDBE2736-4D16-47F2-8CC1-7353D5B149D2}"/>
                </a:ext>
              </a:extLst>
            </p:cNvPr>
            <p:cNvSpPr>
              <a:spLocks/>
            </p:cNvSpPr>
            <p:nvPr userDrawn="1"/>
          </p:nvSpPr>
          <p:spPr bwMode="auto">
            <a:xfrm>
              <a:off x="2264" y="1724"/>
              <a:ext cx="246" cy="328"/>
            </a:xfrm>
            <a:custGeom>
              <a:avLst/>
              <a:gdLst>
                <a:gd name="T0" fmla="*/ 4 w 130"/>
                <a:gd name="T1" fmla="*/ 48 h 173"/>
                <a:gd name="T2" fmla="*/ 56 w 130"/>
                <a:gd name="T3" fmla="*/ 97 h 173"/>
                <a:gd name="T4" fmla="*/ 57 w 130"/>
                <a:gd name="T5" fmla="*/ 98 h 173"/>
                <a:gd name="T6" fmla="*/ 101 w 130"/>
                <a:gd name="T7" fmla="*/ 124 h 173"/>
                <a:gd name="T8" fmla="*/ 66 w 130"/>
                <a:gd name="T9" fmla="*/ 146 h 173"/>
                <a:gd name="T10" fmla="*/ 30 w 130"/>
                <a:gd name="T11" fmla="*/ 118 h 173"/>
                <a:gd name="T12" fmla="*/ 26 w 130"/>
                <a:gd name="T13" fmla="*/ 114 h 173"/>
                <a:gd name="T14" fmla="*/ 5 w 130"/>
                <a:gd name="T15" fmla="*/ 114 h 173"/>
                <a:gd name="T16" fmla="*/ 0 w 130"/>
                <a:gd name="T17" fmla="*/ 118 h 173"/>
                <a:gd name="T18" fmla="*/ 65 w 130"/>
                <a:gd name="T19" fmla="*/ 173 h 173"/>
                <a:gd name="T20" fmla="*/ 130 w 130"/>
                <a:gd name="T21" fmla="*/ 120 h 173"/>
                <a:gd name="T22" fmla="*/ 72 w 130"/>
                <a:gd name="T23" fmla="*/ 74 h 173"/>
                <a:gd name="T24" fmla="*/ 32 w 130"/>
                <a:gd name="T25" fmla="*/ 48 h 173"/>
                <a:gd name="T26" fmla="*/ 63 w 130"/>
                <a:gd name="T27" fmla="*/ 27 h 173"/>
                <a:gd name="T28" fmla="*/ 97 w 130"/>
                <a:gd name="T29" fmla="*/ 49 h 173"/>
                <a:gd name="T30" fmla="*/ 102 w 130"/>
                <a:gd name="T31" fmla="*/ 53 h 173"/>
                <a:gd name="T32" fmla="*/ 120 w 130"/>
                <a:gd name="T33" fmla="*/ 53 h 173"/>
                <a:gd name="T34" fmla="*/ 125 w 130"/>
                <a:gd name="T35" fmla="*/ 48 h 173"/>
                <a:gd name="T36" fmla="*/ 63 w 130"/>
                <a:gd name="T37" fmla="*/ 0 h 173"/>
                <a:gd name="T38" fmla="*/ 4 w 130"/>
                <a:gd name="T39" fmla="*/ 4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173">
                  <a:moveTo>
                    <a:pt x="4" y="48"/>
                  </a:moveTo>
                  <a:cubicBezTo>
                    <a:pt x="4" y="77"/>
                    <a:pt x="19" y="91"/>
                    <a:pt x="56" y="97"/>
                  </a:cubicBezTo>
                  <a:cubicBezTo>
                    <a:pt x="57" y="98"/>
                    <a:pt x="57" y="98"/>
                    <a:pt x="57" y="98"/>
                  </a:cubicBezTo>
                  <a:cubicBezTo>
                    <a:pt x="83" y="102"/>
                    <a:pt x="101" y="105"/>
                    <a:pt x="101" y="124"/>
                  </a:cubicBezTo>
                  <a:cubicBezTo>
                    <a:pt x="101" y="139"/>
                    <a:pt x="83" y="146"/>
                    <a:pt x="66" y="146"/>
                  </a:cubicBezTo>
                  <a:cubicBezTo>
                    <a:pt x="46" y="146"/>
                    <a:pt x="33" y="136"/>
                    <a:pt x="30" y="118"/>
                  </a:cubicBezTo>
                  <a:cubicBezTo>
                    <a:pt x="30" y="116"/>
                    <a:pt x="29" y="114"/>
                    <a:pt x="26" y="114"/>
                  </a:cubicBezTo>
                  <a:cubicBezTo>
                    <a:pt x="5" y="114"/>
                    <a:pt x="5" y="114"/>
                    <a:pt x="5" y="114"/>
                  </a:cubicBezTo>
                  <a:cubicBezTo>
                    <a:pt x="2" y="114"/>
                    <a:pt x="0" y="116"/>
                    <a:pt x="0" y="118"/>
                  </a:cubicBezTo>
                  <a:cubicBezTo>
                    <a:pt x="0" y="150"/>
                    <a:pt x="27" y="173"/>
                    <a:pt x="65" y="173"/>
                  </a:cubicBezTo>
                  <a:cubicBezTo>
                    <a:pt x="104" y="173"/>
                    <a:pt x="130" y="151"/>
                    <a:pt x="130" y="120"/>
                  </a:cubicBezTo>
                  <a:cubicBezTo>
                    <a:pt x="130" y="86"/>
                    <a:pt x="100" y="79"/>
                    <a:pt x="72" y="74"/>
                  </a:cubicBezTo>
                  <a:cubicBezTo>
                    <a:pt x="37" y="68"/>
                    <a:pt x="32" y="58"/>
                    <a:pt x="32" y="48"/>
                  </a:cubicBezTo>
                  <a:cubicBezTo>
                    <a:pt x="32" y="32"/>
                    <a:pt x="49" y="27"/>
                    <a:pt x="63" y="27"/>
                  </a:cubicBezTo>
                  <a:cubicBezTo>
                    <a:pt x="82" y="27"/>
                    <a:pt x="94" y="34"/>
                    <a:pt x="97" y="49"/>
                  </a:cubicBezTo>
                  <a:cubicBezTo>
                    <a:pt x="98" y="51"/>
                    <a:pt x="98" y="53"/>
                    <a:pt x="102" y="53"/>
                  </a:cubicBezTo>
                  <a:cubicBezTo>
                    <a:pt x="120" y="53"/>
                    <a:pt x="120" y="53"/>
                    <a:pt x="120" y="53"/>
                  </a:cubicBezTo>
                  <a:cubicBezTo>
                    <a:pt x="123" y="53"/>
                    <a:pt x="125" y="51"/>
                    <a:pt x="125" y="48"/>
                  </a:cubicBezTo>
                  <a:cubicBezTo>
                    <a:pt x="125" y="19"/>
                    <a:pt x="100" y="0"/>
                    <a:pt x="63" y="0"/>
                  </a:cubicBezTo>
                  <a:cubicBezTo>
                    <a:pt x="22" y="0"/>
                    <a:pt x="4" y="25"/>
                    <a:pt x="4" y="4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053"/>
            </a:p>
          </p:txBody>
        </p:sp>
        <p:sp>
          <p:nvSpPr>
            <p:cNvPr id="12" name="Freeform 10">
              <a:extLst>
                <a:ext uri="{FF2B5EF4-FFF2-40B4-BE49-F238E27FC236}">
                  <a16:creationId xmlns:a16="http://schemas.microsoft.com/office/drawing/2014/main" id="{C990E525-4DF6-403E-9092-24C5DCE5B33A}"/>
                </a:ext>
              </a:extLst>
            </p:cNvPr>
            <p:cNvSpPr>
              <a:spLocks/>
            </p:cNvSpPr>
            <p:nvPr userDrawn="1"/>
          </p:nvSpPr>
          <p:spPr bwMode="auto">
            <a:xfrm>
              <a:off x="3062" y="1722"/>
              <a:ext cx="312" cy="474"/>
            </a:xfrm>
            <a:custGeom>
              <a:avLst/>
              <a:gdLst>
                <a:gd name="T0" fmla="*/ 67 w 165"/>
                <a:gd name="T1" fmla="*/ 0 h 250"/>
                <a:gd name="T2" fmla="*/ 0 w 165"/>
                <a:gd name="T3" fmla="*/ 86 h 250"/>
                <a:gd name="T4" fmla="*/ 82 w 165"/>
                <a:gd name="T5" fmla="*/ 174 h 250"/>
                <a:gd name="T6" fmla="*/ 137 w 165"/>
                <a:gd name="T7" fmla="*/ 152 h 250"/>
                <a:gd name="T8" fmla="*/ 137 w 165"/>
                <a:gd name="T9" fmla="*/ 173 h 250"/>
                <a:gd name="T10" fmla="*/ 89 w 165"/>
                <a:gd name="T11" fmla="*/ 222 h 250"/>
                <a:gd name="T12" fmla="*/ 48 w 165"/>
                <a:gd name="T13" fmla="*/ 194 h 250"/>
                <a:gd name="T14" fmla="*/ 43 w 165"/>
                <a:gd name="T15" fmla="*/ 190 h 250"/>
                <a:gd name="T16" fmla="*/ 24 w 165"/>
                <a:gd name="T17" fmla="*/ 190 h 250"/>
                <a:gd name="T18" fmla="*/ 19 w 165"/>
                <a:gd name="T19" fmla="*/ 195 h 250"/>
                <a:gd name="T20" fmla="*/ 89 w 165"/>
                <a:gd name="T21" fmla="*/ 250 h 250"/>
                <a:gd name="T22" fmla="*/ 165 w 165"/>
                <a:gd name="T23" fmla="*/ 174 h 250"/>
                <a:gd name="T24" fmla="*/ 165 w 165"/>
                <a:gd name="T25" fmla="*/ 7 h 250"/>
                <a:gd name="T26" fmla="*/ 162 w 165"/>
                <a:gd name="T27" fmla="*/ 4 h 250"/>
                <a:gd name="T28" fmla="*/ 140 w 165"/>
                <a:gd name="T29" fmla="*/ 4 h 250"/>
                <a:gd name="T30" fmla="*/ 137 w 165"/>
                <a:gd name="T31" fmla="*/ 7 h 250"/>
                <a:gd name="T32" fmla="*/ 137 w 165"/>
                <a:gd name="T33" fmla="*/ 21 h 250"/>
                <a:gd name="T34" fmla="*/ 99 w 165"/>
                <a:gd name="T35" fmla="*/ 0 h 250"/>
                <a:gd name="T36" fmla="*/ 96 w 165"/>
                <a:gd name="T37" fmla="*/ 3 h 250"/>
                <a:gd name="T38" fmla="*/ 96 w 165"/>
                <a:gd name="T39" fmla="*/ 28 h 250"/>
                <a:gd name="T40" fmla="*/ 97 w 165"/>
                <a:gd name="T41" fmla="*/ 31 h 250"/>
                <a:gd name="T42" fmla="*/ 138 w 165"/>
                <a:gd name="T43" fmla="*/ 87 h 250"/>
                <a:gd name="T44" fmla="*/ 83 w 165"/>
                <a:gd name="T45" fmla="*/ 146 h 250"/>
                <a:gd name="T46" fmla="*/ 29 w 165"/>
                <a:gd name="T47" fmla="*/ 87 h 250"/>
                <a:gd name="T48" fmla="*/ 68 w 165"/>
                <a:gd name="T49" fmla="*/ 31 h 250"/>
                <a:gd name="T50" fmla="*/ 70 w 165"/>
                <a:gd name="T51" fmla="*/ 29 h 250"/>
                <a:gd name="T52" fmla="*/ 70 w 165"/>
                <a:gd name="T53" fmla="*/ 3 h 250"/>
                <a:gd name="T54" fmla="*/ 67 w 165"/>
                <a:gd name="T55" fmla="*/ 0 h 250"/>
                <a:gd name="T56" fmla="*/ 67 w 165"/>
                <a:gd name="T57"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5" h="250">
                  <a:moveTo>
                    <a:pt x="67" y="0"/>
                  </a:moveTo>
                  <a:cubicBezTo>
                    <a:pt x="29" y="8"/>
                    <a:pt x="0" y="44"/>
                    <a:pt x="0" y="86"/>
                  </a:cubicBezTo>
                  <a:cubicBezTo>
                    <a:pt x="0" y="135"/>
                    <a:pt x="37" y="174"/>
                    <a:pt x="82" y="174"/>
                  </a:cubicBezTo>
                  <a:cubicBezTo>
                    <a:pt x="103" y="174"/>
                    <a:pt x="122" y="166"/>
                    <a:pt x="137" y="152"/>
                  </a:cubicBezTo>
                  <a:cubicBezTo>
                    <a:pt x="137" y="173"/>
                    <a:pt x="137" y="173"/>
                    <a:pt x="137" y="173"/>
                  </a:cubicBezTo>
                  <a:cubicBezTo>
                    <a:pt x="137" y="205"/>
                    <a:pt x="120" y="222"/>
                    <a:pt x="89" y="222"/>
                  </a:cubicBezTo>
                  <a:cubicBezTo>
                    <a:pt x="66" y="222"/>
                    <a:pt x="52" y="213"/>
                    <a:pt x="48" y="194"/>
                  </a:cubicBezTo>
                  <a:cubicBezTo>
                    <a:pt x="47" y="192"/>
                    <a:pt x="46" y="190"/>
                    <a:pt x="43" y="190"/>
                  </a:cubicBezTo>
                  <a:cubicBezTo>
                    <a:pt x="24" y="190"/>
                    <a:pt x="24" y="190"/>
                    <a:pt x="24" y="190"/>
                  </a:cubicBezTo>
                  <a:cubicBezTo>
                    <a:pt x="21" y="190"/>
                    <a:pt x="19" y="192"/>
                    <a:pt x="19" y="195"/>
                  </a:cubicBezTo>
                  <a:cubicBezTo>
                    <a:pt x="22" y="228"/>
                    <a:pt x="51" y="250"/>
                    <a:pt x="89" y="250"/>
                  </a:cubicBezTo>
                  <a:cubicBezTo>
                    <a:pt x="135" y="250"/>
                    <a:pt x="165" y="219"/>
                    <a:pt x="165" y="174"/>
                  </a:cubicBezTo>
                  <a:cubicBezTo>
                    <a:pt x="165" y="7"/>
                    <a:pt x="165" y="7"/>
                    <a:pt x="165" y="7"/>
                  </a:cubicBezTo>
                  <a:cubicBezTo>
                    <a:pt x="165" y="5"/>
                    <a:pt x="164" y="4"/>
                    <a:pt x="162" y="4"/>
                  </a:cubicBezTo>
                  <a:cubicBezTo>
                    <a:pt x="140" y="4"/>
                    <a:pt x="140" y="4"/>
                    <a:pt x="140" y="4"/>
                  </a:cubicBezTo>
                  <a:cubicBezTo>
                    <a:pt x="138" y="4"/>
                    <a:pt x="137" y="5"/>
                    <a:pt x="137" y="7"/>
                  </a:cubicBezTo>
                  <a:cubicBezTo>
                    <a:pt x="137" y="21"/>
                    <a:pt x="137" y="21"/>
                    <a:pt x="137" y="21"/>
                  </a:cubicBezTo>
                  <a:cubicBezTo>
                    <a:pt x="126" y="11"/>
                    <a:pt x="113" y="4"/>
                    <a:pt x="99" y="0"/>
                  </a:cubicBezTo>
                  <a:cubicBezTo>
                    <a:pt x="97" y="0"/>
                    <a:pt x="96" y="1"/>
                    <a:pt x="96" y="3"/>
                  </a:cubicBezTo>
                  <a:cubicBezTo>
                    <a:pt x="96" y="28"/>
                    <a:pt x="96" y="28"/>
                    <a:pt x="96" y="28"/>
                  </a:cubicBezTo>
                  <a:cubicBezTo>
                    <a:pt x="96" y="29"/>
                    <a:pt x="96" y="30"/>
                    <a:pt x="97" y="31"/>
                  </a:cubicBezTo>
                  <a:cubicBezTo>
                    <a:pt x="121" y="37"/>
                    <a:pt x="138" y="60"/>
                    <a:pt x="138" y="87"/>
                  </a:cubicBezTo>
                  <a:cubicBezTo>
                    <a:pt x="138" y="119"/>
                    <a:pt x="114" y="146"/>
                    <a:pt x="83" y="146"/>
                  </a:cubicBezTo>
                  <a:cubicBezTo>
                    <a:pt x="53" y="146"/>
                    <a:pt x="29" y="119"/>
                    <a:pt x="29" y="87"/>
                  </a:cubicBezTo>
                  <a:cubicBezTo>
                    <a:pt x="29" y="61"/>
                    <a:pt x="45" y="38"/>
                    <a:pt x="68" y="31"/>
                  </a:cubicBezTo>
                  <a:cubicBezTo>
                    <a:pt x="69" y="31"/>
                    <a:pt x="70" y="30"/>
                    <a:pt x="70" y="29"/>
                  </a:cubicBezTo>
                  <a:cubicBezTo>
                    <a:pt x="70" y="3"/>
                    <a:pt x="70" y="3"/>
                    <a:pt x="70" y="3"/>
                  </a:cubicBezTo>
                  <a:cubicBezTo>
                    <a:pt x="70" y="1"/>
                    <a:pt x="69" y="0"/>
                    <a:pt x="67" y="0"/>
                  </a:cubicBezTo>
                  <a:cubicBezTo>
                    <a:pt x="67" y="0"/>
                    <a:pt x="67" y="0"/>
                    <a:pt x="67"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053"/>
            </a:p>
          </p:txBody>
        </p:sp>
        <p:sp>
          <p:nvSpPr>
            <p:cNvPr id="13" name="Oval 12">
              <a:extLst>
                <a:ext uri="{FF2B5EF4-FFF2-40B4-BE49-F238E27FC236}">
                  <a16:creationId xmlns:a16="http://schemas.microsoft.com/office/drawing/2014/main" id="{1114B85E-E1BE-464E-8E28-ACA4300CA4C0}"/>
                </a:ext>
              </a:extLst>
            </p:cNvPr>
            <p:cNvSpPr>
              <a:spLocks noChangeArrowheads="1"/>
            </p:cNvSpPr>
            <p:nvPr userDrawn="1"/>
          </p:nvSpPr>
          <p:spPr bwMode="auto">
            <a:xfrm>
              <a:off x="2843" y="1589"/>
              <a:ext cx="87" cy="8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2053"/>
            </a:p>
          </p:txBody>
        </p:sp>
        <p:sp>
          <p:nvSpPr>
            <p:cNvPr id="14" name="Oval 13">
              <a:extLst>
                <a:ext uri="{FF2B5EF4-FFF2-40B4-BE49-F238E27FC236}">
                  <a16:creationId xmlns:a16="http://schemas.microsoft.com/office/drawing/2014/main" id="{5BA160C3-B4E4-4003-BFF3-28A6B0C1B0F9}"/>
                </a:ext>
              </a:extLst>
            </p:cNvPr>
            <p:cNvSpPr>
              <a:spLocks noChangeArrowheads="1"/>
            </p:cNvSpPr>
            <p:nvPr userDrawn="1"/>
          </p:nvSpPr>
          <p:spPr bwMode="auto">
            <a:xfrm>
              <a:off x="3873" y="1589"/>
              <a:ext cx="87" cy="8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2053"/>
            </a:p>
          </p:txBody>
        </p:sp>
        <p:sp>
          <p:nvSpPr>
            <p:cNvPr id="15" name="Freeform 13">
              <a:extLst>
                <a:ext uri="{FF2B5EF4-FFF2-40B4-BE49-F238E27FC236}">
                  <a16:creationId xmlns:a16="http://schemas.microsoft.com/office/drawing/2014/main" id="{0F26E6D7-1351-4C95-A3E8-FF86354A3C85}"/>
                </a:ext>
              </a:extLst>
            </p:cNvPr>
            <p:cNvSpPr>
              <a:spLocks/>
            </p:cNvSpPr>
            <p:nvPr userDrawn="1"/>
          </p:nvSpPr>
          <p:spPr bwMode="auto">
            <a:xfrm>
              <a:off x="4062" y="1584"/>
              <a:ext cx="242" cy="462"/>
            </a:xfrm>
            <a:custGeom>
              <a:avLst/>
              <a:gdLst>
                <a:gd name="T0" fmla="*/ 39 w 128"/>
                <a:gd name="T1" fmla="*/ 55 h 244"/>
                <a:gd name="T2" fmla="*/ 39 w 128"/>
                <a:gd name="T3" fmla="*/ 76 h 244"/>
                <a:gd name="T4" fmla="*/ 4 w 128"/>
                <a:gd name="T5" fmla="*/ 76 h 244"/>
                <a:gd name="T6" fmla="*/ 0 w 128"/>
                <a:gd name="T7" fmla="*/ 81 h 244"/>
                <a:gd name="T8" fmla="*/ 0 w 128"/>
                <a:gd name="T9" fmla="*/ 99 h 244"/>
                <a:gd name="T10" fmla="*/ 4 w 128"/>
                <a:gd name="T11" fmla="*/ 103 h 244"/>
                <a:gd name="T12" fmla="*/ 39 w 128"/>
                <a:gd name="T13" fmla="*/ 103 h 244"/>
                <a:gd name="T14" fmla="*/ 39 w 128"/>
                <a:gd name="T15" fmla="*/ 239 h 244"/>
                <a:gd name="T16" fmla="*/ 44 w 128"/>
                <a:gd name="T17" fmla="*/ 244 h 244"/>
                <a:gd name="T18" fmla="*/ 62 w 128"/>
                <a:gd name="T19" fmla="*/ 244 h 244"/>
                <a:gd name="T20" fmla="*/ 67 w 128"/>
                <a:gd name="T21" fmla="*/ 239 h 244"/>
                <a:gd name="T22" fmla="*/ 67 w 128"/>
                <a:gd name="T23" fmla="*/ 103 h 244"/>
                <a:gd name="T24" fmla="*/ 120 w 128"/>
                <a:gd name="T25" fmla="*/ 103 h 244"/>
                <a:gd name="T26" fmla="*/ 125 w 128"/>
                <a:gd name="T27" fmla="*/ 99 h 244"/>
                <a:gd name="T28" fmla="*/ 125 w 128"/>
                <a:gd name="T29" fmla="*/ 81 h 244"/>
                <a:gd name="T30" fmla="*/ 120 w 128"/>
                <a:gd name="T31" fmla="*/ 76 h 244"/>
                <a:gd name="T32" fmla="*/ 67 w 128"/>
                <a:gd name="T33" fmla="*/ 76 h 244"/>
                <a:gd name="T34" fmla="*/ 67 w 128"/>
                <a:gd name="T35" fmla="*/ 55 h 244"/>
                <a:gd name="T36" fmla="*/ 91 w 128"/>
                <a:gd name="T37" fmla="*/ 27 h 244"/>
                <a:gd name="T38" fmla="*/ 122 w 128"/>
                <a:gd name="T39" fmla="*/ 37 h 244"/>
                <a:gd name="T40" fmla="*/ 125 w 128"/>
                <a:gd name="T41" fmla="*/ 38 h 244"/>
                <a:gd name="T42" fmla="*/ 128 w 128"/>
                <a:gd name="T43" fmla="*/ 33 h 244"/>
                <a:gd name="T44" fmla="*/ 128 w 128"/>
                <a:gd name="T45" fmla="*/ 16 h 244"/>
                <a:gd name="T46" fmla="*/ 125 w 128"/>
                <a:gd name="T47" fmla="*/ 9 h 244"/>
                <a:gd name="T48" fmla="*/ 89 w 128"/>
                <a:gd name="T49" fmla="*/ 0 h 244"/>
                <a:gd name="T50" fmla="*/ 39 w 128"/>
                <a:gd name="T51" fmla="*/ 5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244">
                  <a:moveTo>
                    <a:pt x="39" y="55"/>
                  </a:moveTo>
                  <a:cubicBezTo>
                    <a:pt x="39" y="76"/>
                    <a:pt x="39" y="76"/>
                    <a:pt x="39" y="76"/>
                  </a:cubicBezTo>
                  <a:cubicBezTo>
                    <a:pt x="4" y="76"/>
                    <a:pt x="4" y="76"/>
                    <a:pt x="4" y="76"/>
                  </a:cubicBezTo>
                  <a:cubicBezTo>
                    <a:pt x="1" y="76"/>
                    <a:pt x="0" y="78"/>
                    <a:pt x="0" y="81"/>
                  </a:cubicBezTo>
                  <a:cubicBezTo>
                    <a:pt x="0" y="99"/>
                    <a:pt x="0" y="99"/>
                    <a:pt x="0" y="99"/>
                  </a:cubicBezTo>
                  <a:cubicBezTo>
                    <a:pt x="0" y="102"/>
                    <a:pt x="1" y="103"/>
                    <a:pt x="4" y="103"/>
                  </a:cubicBezTo>
                  <a:cubicBezTo>
                    <a:pt x="39" y="103"/>
                    <a:pt x="39" y="103"/>
                    <a:pt x="39" y="103"/>
                  </a:cubicBezTo>
                  <a:cubicBezTo>
                    <a:pt x="39" y="239"/>
                    <a:pt x="39" y="239"/>
                    <a:pt x="39" y="239"/>
                  </a:cubicBezTo>
                  <a:cubicBezTo>
                    <a:pt x="39" y="242"/>
                    <a:pt x="41" y="244"/>
                    <a:pt x="44" y="244"/>
                  </a:cubicBezTo>
                  <a:cubicBezTo>
                    <a:pt x="62" y="244"/>
                    <a:pt x="62" y="244"/>
                    <a:pt x="62" y="244"/>
                  </a:cubicBezTo>
                  <a:cubicBezTo>
                    <a:pt x="65" y="244"/>
                    <a:pt x="67" y="242"/>
                    <a:pt x="67" y="239"/>
                  </a:cubicBezTo>
                  <a:cubicBezTo>
                    <a:pt x="67" y="103"/>
                    <a:pt x="67" y="103"/>
                    <a:pt x="67" y="103"/>
                  </a:cubicBezTo>
                  <a:cubicBezTo>
                    <a:pt x="120" y="103"/>
                    <a:pt x="120" y="103"/>
                    <a:pt x="120" y="103"/>
                  </a:cubicBezTo>
                  <a:cubicBezTo>
                    <a:pt x="123" y="103"/>
                    <a:pt x="125" y="102"/>
                    <a:pt x="125" y="99"/>
                  </a:cubicBezTo>
                  <a:cubicBezTo>
                    <a:pt x="125" y="81"/>
                    <a:pt x="125" y="81"/>
                    <a:pt x="125" y="81"/>
                  </a:cubicBezTo>
                  <a:cubicBezTo>
                    <a:pt x="125" y="78"/>
                    <a:pt x="123" y="76"/>
                    <a:pt x="120" y="76"/>
                  </a:cubicBezTo>
                  <a:cubicBezTo>
                    <a:pt x="67" y="76"/>
                    <a:pt x="67" y="76"/>
                    <a:pt x="67" y="76"/>
                  </a:cubicBezTo>
                  <a:cubicBezTo>
                    <a:pt x="67" y="55"/>
                    <a:pt x="67" y="55"/>
                    <a:pt x="67" y="55"/>
                  </a:cubicBezTo>
                  <a:cubicBezTo>
                    <a:pt x="67" y="38"/>
                    <a:pt x="76" y="27"/>
                    <a:pt x="91" y="27"/>
                  </a:cubicBezTo>
                  <a:cubicBezTo>
                    <a:pt x="102" y="27"/>
                    <a:pt x="110" y="30"/>
                    <a:pt x="122" y="37"/>
                  </a:cubicBezTo>
                  <a:cubicBezTo>
                    <a:pt x="123" y="38"/>
                    <a:pt x="124" y="38"/>
                    <a:pt x="125" y="38"/>
                  </a:cubicBezTo>
                  <a:cubicBezTo>
                    <a:pt x="127" y="38"/>
                    <a:pt x="128" y="36"/>
                    <a:pt x="128" y="33"/>
                  </a:cubicBezTo>
                  <a:cubicBezTo>
                    <a:pt x="128" y="16"/>
                    <a:pt x="128" y="16"/>
                    <a:pt x="128" y="16"/>
                  </a:cubicBezTo>
                  <a:cubicBezTo>
                    <a:pt x="128" y="13"/>
                    <a:pt x="128" y="11"/>
                    <a:pt x="125" y="9"/>
                  </a:cubicBezTo>
                  <a:cubicBezTo>
                    <a:pt x="114" y="3"/>
                    <a:pt x="103" y="0"/>
                    <a:pt x="89" y="0"/>
                  </a:cubicBezTo>
                  <a:cubicBezTo>
                    <a:pt x="54" y="0"/>
                    <a:pt x="39" y="29"/>
                    <a:pt x="39" y="5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053"/>
            </a:p>
          </p:txBody>
        </p:sp>
        <p:sp>
          <p:nvSpPr>
            <p:cNvPr id="16" name="Freeform 14">
              <a:extLst>
                <a:ext uri="{FF2B5EF4-FFF2-40B4-BE49-F238E27FC236}">
                  <a16:creationId xmlns:a16="http://schemas.microsoft.com/office/drawing/2014/main" id="{DA6E6734-7A5F-4A76-946D-520C7807BB30}"/>
                </a:ext>
              </a:extLst>
            </p:cNvPr>
            <p:cNvSpPr>
              <a:spLocks/>
            </p:cNvSpPr>
            <p:nvPr userDrawn="1"/>
          </p:nvSpPr>
          <p:spPr bwMode="auto">
            <a:xfrm>
              <a:off x="2071" y="1578"/>
              <a:ext cx="632" cy="631"/>
            </a:xfrm>
            <a:custGeom>
              <a:avLst/>
              <a:gdLst>
                <a:gd name="T0" fmla="*/ 181 w 334"/>
                <a:gd name="T1" fmla="*/ 1 h 333"/>
                <a:gd name="T2" fmla="*/ 180 w 334"/>
                <a:gd name="T3" fmla="*/ 4 h 333"/>
                <a:gd name="T4" fmla="*/ 180 w 334"/>
                <a:gd name="T5" fmla="*/ 26 h 333"/>
                <a:gd name="T6" fmla="*/ 180 w 334"/>
                <a:gd name="T7" fmla="*/ 26 h 333"/>
                <a:gd name="T8" fmla="*/ 182 w 334"/>
                <a:gd name="T9" fmla="*/ 28 h 333"/>
                <a:gd name="T10" fmla="*/ 306 w 334"/>
                <a:gd name="T11" fmla="*/ 166 h 333"/>
                <a:gd name="T12" fmla="*/ 167 w 334"/>
                <a:gd name="T13" fmla="*/ 305 h 333"/>
                <a:gd name="T14" fmla="*/ 28 w 334"/>
                <a:gd name="T15" fmla="*/ 166 h 333"/>
                <a:gd name="T16" fmla="*/ 152 w 334"/>
                <a:gd name="T17" fmla="*/ 28 h 333"/>
                <a:gd name="T18" fmla="*/ 154 w 334"/>
                <a:gd name="T19" fmla="*/ 26 h 333"/>
                <a:gd name="T20" fmla="*/ 154 w 334"/>
                <a:gd name="T21" fmla="*/ 26 h 333"/>
                <a:gd name="T22" fmla="*/ 154 w 334"/>
                <a:gd name="T23" fmla="*/ 4 h 333"/>
                <a:gd name="T24" fmla="*/ 153 w 334"/>
                <a:gd name="T25" fmla="*/ 1 h 333"/>
                <a:gd name="T26" fmla="*/ 150 w 334"/>
                <a:gd name="T27" fmla="*/ 0 h 333"/>
                <a:gd name="T28" fmla="*/ 149 w 334"/>
                <a:gd name="T29" fmla="*/ 0 h 333"/>
                <a:gd name="T30" fmla="*/ 149 w 334"/>
                <a:gd name="T31" fmla="*/ 0 h 333"/>
                <a:gd name="T32" fmla="*/ 0 w 334"/>
                <a:gd name="T33" fmla="*/ 166 h 333"/>
                <a:gd name="T34" fmla="*/ 167 w 334"/>
                <a:gd name="T35" fmla="*/ 333 h 333"/>
                <a:gd name="T36" fmla="*/ 334 w 334"/>
                <a:gd name="T37" fmla="*/ 166 h 333"/>
                <a:gd name="T38" fmla="*/ 185 w 334"/>
                <a:gd name="T39" fmla="*/ 0 h 333"/>
                <a:gd name="T40" fmla="*/ 185 w 334"/>
                <a:gd name="T41" fmla="*/ 0 h 333"/>
                <a:gd name="T42" fmla="*/ 184 w 334"/>
                <a:gd name="T43" fmla="*/ 0 h 333"/>
                <a:gd name="T44" fmla="*/ 181 w 334"/>
                <a:gd name="T45" fmla="*/ 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4" h="333">
                  <a:moveTo>
                    <a:pt x="181" y="1"/>
                  </a:moveTo>
                  <a:cubicBezTo>
                    <a:pt x="180" y="2"/>
                    <a:pt x="180" y="3"/>
                    <a:pt x="180" y="4"/>
                  </a:cubicBezTo>
                  <a:cubicBezTo>
                    <a:pt x="180" y="26"/>
                    <a:pt x="180" y="26"/>
                    <a:pt x="180" y="26"/>
                  </a:cubicBezTo>
                  <a:cubicBezTo>
                    <a:pt x="180" y="26"/>
                    <a:pt x="180" y="26"/>
                    <a:pt x="180" y="26"/>
                  </a:cubicBezTo>
                  <a:cubicBezTo>
                    <a:pt x="180" y="27"/>
                    <a:pt x="181" y="28"/>
                    <a:pt x="182" y="28"/>
                  </a:cubicBezTo>
                  <a:cubicBezTo>
                    <a:pt x="251" y="35"/>
                    <a:pt x="306" y="94"/>
                    <a:pt x="306" y="166"/>
                  </a:cubicBezTo>
                  <a:cubicBezTo>
                    <a:pt x="306" y="243"/>
                    <a:pt x="244" y="305"/>
                    <a:pt x="167" y="305"/>
                  </a:cubicBezTo>
                  <a:cubicBezTo>
                    <a:pt x="90" y="305"/>
                    <a:pt x="28" y="243"/>
                    <a:pt x="28" y="166"/>
                  </a:cubicBezTo>
                  <a:cubicBezTo>
                    <a:pt x="28" y="94"/>
                    <a:pt x="82" y="35"/>
                    <a:pt x="152" y="28"/>
                  </a:cubicBezTo>
                  <a:cubicBezTo>
                    <a:pt x="153" y="28"/>
                    <a:pt x="154" y="27"/>
                    <a:pt x="154" y="26"/>
                  </a:cubicBezTo>
                  <a:cubicBezTo>
                    <a:pt x="154" y="26"/>
                    <a:pt x="154" y="26"/>
                    <a:pt x="154" y="26"/>
                  </a:cubicBezTo>
                  <a:cubicBezTo>
                    <a:pt x="154" y="4"/>
                    <a:pt x="154" y="4"/>
                    <a:pt x="154" y="4"/>
                  </a:cubicBezTo>
                  <a:cubicBezTo>
                    <a:pt x="154" y="3"/>
                    <a:pt x="154" y="2"/>
                    <a:pt x="153" y="1"/>
                  </a:cubicBezTo>
                  <a:cubicBezTo>
                    <a:pt x="152" y="0"/>
                    <a:pt x="151" y="0"/>
                    <a:pt x="150" y="0"/>
                  </a:cubicBezTo>
                  <a:cubicBezTo>
                    <a:pt x="149" y="0"/>
                    <a:pt x="149" y="0"/>
                    <a:pt x="149" y="0"/>
                  </a:cubicBezTo>
                  <a:cubicBezTo>
                    <a:pt x="149" y="0"/>
                    <a:pt x="149" y="0"/>
                    <a:pt x="149" y="0"/>
                  </a:cubicBezTo>
                  <a:cubicBezTo>
                    <a:pt x="65" y="9"/>
                    <a:pt x="0" y="80"/>
                    <a:pt x="0" y="166"/>
                  </a:cubicBezTo>
                  <a:cubicBezTo>
                    <a:pt x="0" y="258"/>
                    <a:pt x="75" y="333"/>
                    <a:pt x="167" y="333"/>
                  </a:cubicBezTo>
                  <a:cubicBezTo>
                    <a:pt x="259" y="333"/>
                    <a:pt x="334" y="258"/>
                    <a:pt x="334" y="166"/>
                  </a:cubicBezTo>
                  <a:cubicBezTo>
                    <a:pt x="334" y="80"/>
                    <a:pt x="269" y="9"/>
                    <a:pt x="185" y="0"/>
                  </a:cubicBezTo>
                  <a:cubicBezTo>
                    <a:pt x="185" y="0"/>
                    <a:pt x="185" y="0"/>
                    <a:pt x="185" y="0"/>
                  </a:cubicBezTo>
                  <a:cubicBezTo>
                    <a:pt x="185" y="0"/>
                    <a:pt x="184" y="0"/>
                    <a:pt x="184" y="0"/>
                  </a:cubicBezTo>
                  <a:cubicBezTo>
                    <a:pt x="183" y="0"/>
                    <a:pt x="182" y="0"/>
                    <a:pt x="181" y="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053"/>
            </a:p>
          </p:txBody>
        </p:sp>
      </p:grpSp>
    </p:spTree>
    <p:extLst>
      <p:ext uri="{BB962C8B-B14F-4D97-AF65-F5344CB8AC3E}">
        <p14:creationId xmlns:p14="http://schemas.microsoft.com/office/powerpoint/2010/main" val="1519901469"/>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Footer (Insert &gt; Header &amp; Footer to edit)</a:t>
            </a:r>
          </a:p>
        </p:txBody>
      </p:sp>
      <p:sp>
        <p:nvSpPr>
          <p:cNvPr id="5" name="Slide Number Placeholder 4"/>
          <p:cNvSpPr>
            <a:spLocks noGrp="1"/>
          </p:cNvSpPr>
          <p:nvPr>
            <p:ph type="sldNum" sz="quarter" idx="12"/>
          </p:nvPr>
        </p:nvSpPr>
        <p:spPr/>
        <p:txBody>
          <a:bodyPr/>
          <a:lstStyle/>
          <a:p>
            <a:fld id="{32B354EE-31EA-4FC2-9496-7B6202183237}" type="slidenum">
              <a:rPr lang="en-US" smtClean="0"/>
              <a:t>‹#›</a:t>
            </a:fld>
            <a:endParaRPr lang="en-US"/>
          </a:p>
        </p:txBody>
      </p:sp>
    </p:spTree>
    <p:extLst>
      <p:ext uri="{BB962C8B-B14F-4D97-AF65-F5344CB8AC3E}">
        <p14:creationId xmlns:p14="http://schemas.microsoft.com/office/powerpoint/2010/main" val="1676224984"/>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r>
              <a:rPr lang="en-US"/>
              <a:t>Footer (Insert &gt; Header &amp; Footer to edit)</a:t>
            </a:r>
          </a:p>
        </p:txBody>
      </p:sp>
      <p:sp>
        <p:nvSpPr>
          <p:cNvPr id="4" name="Slide Number Placeholder 3"/>
          <p:cNvSpPr>
            <a:spLocks noGrp="1"/>
          </p:cNvSpPr>
          <p:nvPr>
            <p:ph type="sldNum" sz="quarter" idx="12"/>
          </p:nvPr>
        </p:nvSpPr>
        <p:spPr/>
        <p:txBody>
          <a:bodyPr/>
          <a:lstStyle/>
          <a:p>
            <a:fld id="{32B354EE-31EA-4FC2-9496-7B6202183237}" type="slidenum">
              <a:rPr lang="en-US" smtClean="0"/>
              <a:t>‹#›</a:t>
            </a:fld>
            <a:endParaRPr lang="en-US"/>
          </a:p>
        </p:txBody>
      </p:sp>
    </p:spTree>
    <p:extLst>
      <p:ext uri="{BB962C8B-B14F-4D97-AF65-F5344CB8AC3E}">
        <p14:creationId xmlns:p14="http://schemas.microsoft.com/office/powerpoint/2010/main" val="3227299533"/>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type="tx">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0"/>
          </p:nvPr>
        </p:nvSpPr>
        <p:spPr/>
        <p:txBody>
          <a:bodyPr/>
          <a:lstStyle/>
          <a:p>
            <a:endParaRPr lang="en-US"/>
          </a:p>
        </p:txBody>
      </p:sp>
      <p:sp>
        <p:nvSpPr>
          <p:cNvPr id="5" name="Date Placeholder 4"/>
          <p:cNvSpPr>
            <a:spLocks noGrp="1"/>
          </p:cNvSpPr>
          <p:nvPr>
            <p:ph type="dt" sz="half" idx="11"/>
          </p:nvPr>
        </p:nvSpPr>
        <p:spPr>
          <a:xfrm>
            <a:off x="2116667" y="6502400"/>
            <a:ext cx="5249333" cy="139700"/>
          </a:xfrm>
          <a:prstGeom prst="rect">
            <a:avLst/>
          </a:prstGeom>
        </p:spPr>
        <p:txBody>
          <a:bodyPr/>
          <a:lstStyle/>
          <a:p>
            <a:fld id="{321719AF-B7D9-4A56-816D-55DFC9F16052}" type="datetimeFigureOut">
              <a:rPr lang="en-US" smtClean="0"/>
              <a:t>9/26/2023</a:t>
            </a:fld>
            <a:endParaRPr lang="en-US"/>
          </a:p>
        </p:txBody>
      </p:sp>
      <p:sp>
        <p:nvSpPr>
          <p:cNvPr id="6" name="Slide Number Placeholder 5"/>
          <p:cNvSpPr>
            <a:spLocks noGrp="1"/>
          </p:cNvSpPr>
          <p:nvPr>
            <p:ph type="sldNum" sz="quarter" idx="12"/>
          </p:nvPr>
        </p:nvSpPr>
        <p:spPr/>
        <p:txBody>
          <a:bodyPr/>
          <a:lstStyle/>
          <a:p>
            <a:fld id="{D9179E28-9EB7-467D-B84D-002B888E10E3}" type="slidenum">
              <a:rPr lang="en-US" smtClean="0"/>
              <a:t>‹#›</a:t>
            </a:fld>
            <a:endParaRPr lang="en-US"/>
          </a:p>
        </p:txBody>
      </p:sp>
    </p:spTree>
    <p:extLst>
      <p:ext uri="{BB962C8B-B14F-4D97-AF65-F5344CB8AC3E}">
        <p14:creationId xmlns:p14="http://schemas.microsoft.com/office/powerpoint/2010/main" val="307083061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806139"/>
            <a:ext cx="9144001" cy="3245724"/>
          </a:xfrm>
        </p:spPr>
        <p:txBody>
          <a:bodyPr anchor="ctr"/>
          <a:lstStyle>
            <a:lvl1pPr algn="ctr">
              <a:defRPr sz="4000"/>
            </a:lvl1pPr>
          </a:lstStyle>
          <a:p>
            <a:r>
              <a:rPr lang="en-US"/>
              <a:t>Click to edit Master title style</a:t>
            </a:r>
            <a:endParaRPr lang="en-US" dirty="0"/>
          </a:p>
        </p:txBody>
      </p:sp>
      <p:sp>
        <p:nvSpPr>
          <p:cNvPr id="3" name="Subtitle 2"/>
          <p:cNvSpPr>
            <a:spLocks noGrp="1"/>
          </p:cNvSpPr>
          <p:nvPr>
            <p:ph type="subTitle" idx="1"/>
          </p:nvPr>
        </p:nvSpPr>
        <p:spPr>
          <a:xfrm>
            <a:off x="1524000" y="5714325"/>
            <a:ext cx="9144001" cy="453754"/>
          </a:xfrm>
        </p:spPr>
        <p:txBody>
          <a:bodyPr/>
          <a:lstStyle>
            <a:lvl1pPr marL="0" indent="0" algn="ctr">
              <a:buNone/>
              <a:defRPr sz="2400">
                <a:solidFill>
                  <a:schemeClr val="tx2"/>
                </a:solidFill>
              </a:defRPr>
            </a:lvl1pPr>
            <a:lvl2pPr marL="521258" indent="0" algn="ctr">
              <a:buNone/>
              <a:defRPr sz="2280"/>
            </a:lvl2pPr>
            <a:lvl3pPr marL="1042512" indent="0" algn="ctr">
              <a:buNone/>
              <a:defRPr sz="2052"/>
            </a:lvl3pPr>
            <a:lvl4pPr marL="1563773" indent="0" algn="ctr">
              <a:buNone/>
              <a:defRPr sz="1824"/>
            </a:lvl4pPr>
            <a:lvl5pPr marL="2085031" indent="0" algn="ctr">
              <a:buNone/>
              <a:defRPr sz="1824"/>
            </a:lvl5pPr>
            <a:lvl6pPr marL="2606285" indent="0" algn="ctr">
              <a:buNone/>
              <a:defRPr sz="1824"/>
            </a:lvl6pPr>
            <a:lvl7pPr marL="3127543" indent="0" algn="ctr">
              <a:buNone/>
              <a:defRPr sz="1824"/>
            </a:lvl7pPr>
            <a:lvl8pPr marL="3648803" indent="0" algn="ctr">
              <a:buNone/>
              <a:defRPr sz="1824"/>
            </a:lvl8pPr>
            <a:lvl9pPr marL="4170060" indent="0" algn="ctr">
              <a:buNone/>
              <a:defRPr sz="1824"/>
            </a:lvl9pPr>
          </a:lstStyle>
          <a:p>
            <a:r>
              <a:rPr lang="en-US"/>
              <a:t>Click to edit Master subtitle style</a:t>
            </a:r>
            <a:endParaRPr lang="en-US" dirty="0"/>
          </a:p>
        </p:txBody>
      </p:sp>
      <p:grpSp>
        <p:nvGrpSpPr>
          <p:cNvPr id="7" name="Group 4">
            <a:extLst>
              <a:ext uri="{FF2B5EF4-FFF2-40B4-BE49-F238E27FC236}">
                <a16:creationId xmlns:a16="http://schemas.microsoft.com/office/drawing/2014/main" id="{70F54715-A93F-4896-93D9-0F87EC2FA633}"/>
              </a:ext>
            </a:extLst>
          </p:cNvPr>
          <p:cNvGrpSpPr>
            <a:grpSpLocks noChangeAspect="1"/>
          </p:cNvGrpSpPr>
          <p:nvPr userDrawn="1"/>
        </p:nvGrpSpPr>
        <p:grpSpPr bwMode="auto">
          <a:xfrm>
            <a:off x="5155508" y="685816"/>
            <a:ext cx="1880984" cy="458559"/>
            <a:chOff x="2071" y="1578"/>
            <a:chExt cx="2587" cy="631"/>
          </a:xfrm>
          <a:gradFill>
            <a:gsLst>
              <a:gs pos="50000">
                <a:srgbClr val="00E487"/>
              </a:gs>
              <a:gs pos="100000">
                <a:srgbClr val="1ECBD0"/>
              </a:gs>
            </a:gsLst>
            <a:lin ang="18900000" scaled="0"/>
          </a:gradFill>
        </p:grpSpPr>
        <p:sp>
          <p:nvSpPr>
            <p:cNvPr id="8" name="Freeform 5">
              <a:extLst>
                <a:ext uri="{FF2B5EF4-FFF2-40B4-BE49-F238E27FC236}">
                  <a16:creationId xmlns:a16="http://schemas.microsoft.com/office/drawing/2014/main" id="{846B7DFA-C5E8-4F62-AD8D-4DEE7917FD7D}"/>
                </a:ext>
              </a:extLst>
            </p:cNvPr>
            <p:cNvSpPr>
              <a:spLocks/>
            </p:cNvSpPr>
            <p:nvPr userDrawn="1"/>
          </p:nvSpPr>
          <p:spPr bwMode="auto">
            <a:xfrm>
              <a:off x="2765" y="1728"/>
              <a:ext cx="244" cy="318"/>
            </a:xfrm>
            <a:custGeom>
              <a:avLst/>
              <a:gdLst>
                <a:gd name="T0" fmla="*/ 12 w 129"/>
                <a:gd name="T1" fmla="*/ 0 h 168"/>
                <a:gd name="T2" fmla="*/ 8 w 129"/>
                <a:gd name="T3" fmla="*/ 4 h 168"/>
                <a:gd name="T4" fmla="*/ 8 w 129"/>
                <a:gd name="T5" fmla="*/ 25 h 168"/>
                <a:gd name="T6" fmla="*/ 12 w 129"/>
                <a:gd name="T7" fmla="*/ 29 h 168"/>
                <a:gd name="T8" fmla="*/ 48 w 129"/>
                <a:gd name="T9" fmla="*/ 29 h 168"/>
                <a:gd name="T10" fmla="*/ 48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2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2" y="0"/>
                  </a:moveTo>
                  <a:cubicBezTo>
                    <a:pt x="9" y="0"/>
                    <a:pt x="8" y="1"/>
                    <a:pt x="8" y="4"/>
                  </a:cubicBezTo>
                  <a:cubicBezTo>
                    <a:pt x="8" y="25"/>
                    <a:pt x="8" y="25"/>
                    <a:pt x="8" y="25"/>
                  </a:cubicBezTo>
                  <a:cubicBezTo>
                    <a:pt x="8" y="27"/>
                    <a:pt x="9" y="29"/>
                    <a:pt x="12" y="29"/>
                  </a:cubicBezTo>
                  <a:cubicBezTo>
                    <a:pt x="48" y="29"/>
                    <a:pt x="48" y="29"/>
                    <a:pt x="48" y="29"/>
                  </a:cubicBezTo>
                  <a:cubicBezTo>
                    <a:pt x="48" y="140"/>
                    <a:pt x="48" y="140"/>
                    <a:pt x="48"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8" y="140"/>
                    <a:pt x="125" y="140"/>
                  </a:cubicBezTo>
                  <a:cubicBezTo>
                    <a:pt x="76" y="140"/>
                    <a:pt x="76" y="140"/>
                    <a:pt x="76" y="140"/>
                  </a:cubicBezTo>
                  <a:cubicBezTo>
                    <a:pt x="76" y="4"/>
                    <a:pt x="76" y="4"/>
                    <a:pt x="76" y="4"/>
                  </a:cubicBezTo>
                  <a:cubicBezTo>
                    <a:pt x="76" y="1"/>
                    <a:pt x="75" y="0"/>
                    <a:pt x="72" y="0"/>
                  </a:cubicBez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9" name="Freeform 6">
              <a:extLst>
                <a:ext uri="{FF2B5EF4-FFF2-40B4-BE49-F238E27FC236}">
                  <a16:creationId xmlns:a16="http://schemas.microsoft.com/office/drawing/2014/main" id="{6ABD64B8-C9CA-4D12-BB30-52ABBBA59E99}"/>
                </a:ext>
              </a:extLst>
            </p:cNvPr>
            <p:cNvSpPr>
              <a:spLocks/>
            </p:cNvSpPr>
            <p:nvPr userDrawn="1"/>
          </p:nvSpPr>
          <p:spPr bwMode="auto">
            <a:xfrm>
              <a:off x="3798" y="1728"/>
              <a:ext cx="244" cy="318"/>
            </a:xfrm>
            <a:custGeom>
              <a:avLst/>
              <a:gdLst>
                <a:gd name="T0" fmla="*/ 11 w 129"/>
                <a:gd name="T1" fmla="*/ 0 h 168"/>
                <a:gd name="T2" fmla="*/ 8 w 129"/>
                <a:gd name="T3" fmla="*/ 4 h 168"/>
                <a:gd name="T4" fmla="*/ 8 w 129"/>
                <a:gd name="T5" fmla="*/ 25 h 168"/>
                <a:gd name="T6" fmla="*/ 11 w 129"/>
                <a:gd name="T7" fmla="*/ 29 h 168"/>
                <a:gd name="T8" fmla="*/ 47 w 129"/>
                <a:gd name="T9" fmla="*/ 29 h 168"/>
                <a:gd name="T10" fmla="*/ 47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1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1" y="0"/>
                  </a:moveTo>
                  <a:cubicBezTo>
                    <a:pt x="9" y="0"/>
                    <a:pt x="8" y="1"/>
                    <a:pt x="8" y="4"/>
                  </a:cubicBezTo>
                  <a:cubicBezTo>
                    <a:pt x="8" y="25"/>
                    <a:pt x="8" y="25"/>
                    <a:pt x="8" y="25"/>
                  </a:cubicBezTo>
                  <a:cubicBezTo>
                    <a:pt x="8" y="27"/>
                    <a:pt x="9" y="29"/>
                    <a:pt x="11" y="29"/>
                  </a:cubicBezTo>
                  <a:cubicBezTo>
                    <a:pt x="47" y="29"/>
                    <a:pt x="47" y="29"/>
                    <a:pt x="47" y="29"/>
                  </a:cubicBezTo>
                  <a:cubicBezTo>
                    <a:pt x="47" y="140"/>
                    <a:pt x="47" y="140"/>
                    <a:pt x="47"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7" y="140"/>
                    <a:pt x="125" y="140"/>
                  </a:cubicBezTo>
                  <a:cubicBezTo>
                    <a:pt x="76" y="140"/>
                    <a:pt x="76" y="140"/>
                    <a:pt x="76" y="140"/>
                  </a:cubicBezTo>
                  <a:cubicBezTo>
                    <a:pt x="76" y="4"/>
                    <a:pt x="76" y="4"/>
                    <a:pt x="76" y="4"/>
                  </a:cubicBezTo>
                  <a:cubicBezTo>
                    <a:pt x="75" y="1"/>
                    <a:pt x="74" y="0"/>
                    <a:pt x="72" y="0"/>
                  </a:cubicBez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10" name="Freeform 7">
              <a:extLst>
                <a:ext uri="{FF2B5EF4-FFF2-40B4-BE49-F238E27FC236}">
                  <a16:creationId xmlns:a16="http://schemas.microsoft.com/office/drawing/2014/main" id="{B038732F-5EB5-436D-B40F-847E37FC0954}"/>
                </a:ext>
              </a:extLst>
            </p:cNvPr>
            <p:cNvSpPr>
              <a:spLocks/>
            </p:cNvSpPr>
            <p:nvPr userDrawn="1"/>
          </p:nvSpPr>
          <p:spPr bwMode="auto">
            <a:xfrm>
              <a:off x="4361" y="1728"/>
              <a:ext cx="297" cy="464"/>
            </a:xfrm>
            <a:custGeom>
              <a:avLst/>
              <a:gdLst>
                <a:gd name="T0" fmla="*/ 132 w 157"/>
                <a:gd name="T1" fmla="*/ 0 h 245"/>
                <a:gd name="T2" fmla="*/ 127 w 157"/>
                <a:gd name="T3" fmla="*/ 3 h 245"/>
                <a:gd name="T4" fmla="*/ 127 w 157"/>
                <a:gd name="T5" fmla="*/ 3 h 245"/>
                <a:gd name="T6" fmla="*/ 79 w 157"/>
                <a:gd name="T7" fmla="*/ 128 h 245"/>
                <a:gd name="T8" fmla="*/ 30 w 157"/>
                <a:gd name="T9" fmla="*/ 4 h 245"/>
                <a:gd name="T10" fmla="*/ 25 w 157"/>
                <a:gd name="T11" fmla="*/ 0 h 245"/>
                <a:gd name="T12" fmla="*/ 4 w 157"/>
                <a:gd name="T13" fmla="*/ 0 h 245"/>
                <a:gd name="T14" fmla="*/ 0 w 157"/>
                <a:gd name="T15" fmla="*/ 3 h 245"/>
                <a:gd name="T16" fmla="*/ 1 w 157"/>
                <a:gd name="T17" fmla="*/ 6 h 245"/>
                <a:gd name="T18" fmla="*/ 1 w 157"/>
                <a:gd name="T19" fmla="*/ 6 h 245"/>
                <a:gd name="T20" fmla="*/ 1 w 157"/>
                <a:gd name="T21" fmla="*/ 6 h 245"/>
                <a:gd name="T22" fmla="*/ 64 w 157"/>
                <a:gd name="T23" fmla="*/ 168 h 245"/>
                <a:gd name="T24" fmla="*/ 59 w 157"/>
                <a:gd name="T25" fmla="*/ 182 h 245"/>
                <a:gd name="T26" fmla="*/ 48 w 157"/>
                <a:gd name="T27" fmla="*/ 205 h 245"/>
                <a:gd name="T28" fmla="*/ 38 w 157"/>
                <a:gd name="T29" fmla="*/ 215 h 245"/>
                <a:gd name="T30" fmla="*/ 30 w 157"/>
                <a:gd name="T31" fmla="*/ 217 h 245"/>
                <a:gd name="T32" fmla="*/ 26 w 157"/>
                <a:gd name="T33" fmla="*/ 216 h 245"/>
                <a:gd name="T34" fmla="*/ 14 w 157"/>
                <a:gd name="T35" fmla="*/ 213 h 245"/>
                <a:gd name="T36" fmla="*/ 7 w 157"/>
                <a:gd name="T37" fmla="*/ 210 h 245"/>
                <a:gd name="T38" fmla="*/ 3 w 157"/>
                <a:gd name="T39" fmla="*/ 215 h 245"/>
                <a:gd name="T40" fmla="*/ 3 w 157"/>
                <a:gd name="T41" fmla="*/ 233 h 245"/>
                <a:gd name="T42" fmla="*/ 3 w 157"/>
                <a:gd name="T43" fmla="*/ 233 h 245"/>
                <a:gd name="T44" fmla="*/ 7 w 157"/>
                <a:gd name="T45" fmla="*/ 240 h 245"/>
                <a:gd name="T46" fmla="*/ 32 w 157"/>
                <a:gd name="T47" fmla="*/ 245 h 245"/>
                <a:gd name="T48" fmla="*/ 54 w 157"/>
                <a:gd name="T49" fmla="*/ 238 h 245"/>
                <a:gd name="T50" fmla="*/ 73 w 157"/>
                <a:gd name="T51" fmla="*/ 220 h 245"/>
                <a:gd name="T52" fmla="*/ 79 w 157"/>
                <a:gd name="T53" fmla="*/ 208 h 245"/>
                <a:gd name="T54" fmla="*/ 156 w 157"/>
                <a:gd name="T55" fmla="*/ 6 h 245"/>
                <a:gd name="T56" fmla="*/ 157 w 157"/>
                <a:gd name="T57" fmla="*/ 3 h 245"/>
                <a:gd name="T58" fmla="*/ 153 w 157"/>
                <a:gd name="T59" fmla="*/ 0 h 245"/>
                <a:gd name="T60" fmla="*/ 132 w 157"/>
                <a:gd name="T6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7" h="245">
                  <a:moveTo>
                    <a:pt x="132" y="0"/>
                  </a:moveTo>
                  <a:cubicBezTo>
                    <a:pt x="129" y="0"/>
                    <a:pt x="128" y="1"/>
                    <a:pt x="127" y="3"/>
                  </a:cubicBezTo>
                  <a:cubicBezTo>
                    <a:pt x="127" y="3"/>
                    <a:pt x="127" y="3"/>
                    <a:pt x="127" y="3"/>
                  </a:cubicBezTo>
                  <a:cubicBezTo>
                    <a:pt x="79" y="128"/>
                    <a:pt x="79" y="128"/>
                    <a:pt x="79" y="128"/>
                  </a:cubicBezTo>
                  <a:cubicBezTo>
                    <a:pt x="30" y="4"/>
                    <a:pt x="30" y="4"/>
                    <a:pt x="30" y="4"/>
                  </a:cubicBezTo>
                  <a:cubicBezTo>
                    <a:pt x="29" y="1"/>
                    <a:pt x="28" y="0"/>
                    <a:pt x="25" y="0"/>
                  </a:cubicBezTo>
                  <a:cubicBezTo>
                    <a:pt x="4" y="0"/>
                    <a:pt x="4" y="0"/>
                    <a:pt x="4" y="0"/>
                  </a:cubicBezTo>
                  <a:cubicBezTo>
                    <a:pt x="2" y="0"/>
                    <a:pt x="0" y="1"/>
                    <a:pt x="0" y="3"/>
                  </a:cubicBezTo>
                  <a:cubicBezTo>
                    <a:pt x="0" y="4"/>
                    <a:pt x="1" y="5"/>
                    <a:pt x="1" y="6"/>
                  </a:cubicBezTo>
                  <a:cubicBezTo>
                    <a:pt x="1" y="6"/>
                    <a:pt x="1" y="6"/>
                    <a:pt x="1" y="6"/>
                  </a:cubicBezTo>
                  <a:cubicBezTo>
                    <a:pt x="1" y="6"/>
                    <a:pt x="1" y="6"/>
                    <a:pt x="1" y="6"/>
                  </a:cubicBezTo>
                  <a:cubicBezTo>
                    <a:pt x="64" y="168"/>
                    <a:pt x="64" y="168"/>
                    <a:pt x="64" y="168"/>
                  </a:cubicBezTo>
                  <a:cubicBezTo>
                    <a:pt x="59" y="182"/>
                    <a:pt x="59" y="182"/>
                    <a:pt x="59" y="182"/>
                  </a:cubicBezTo>
                  <a:cubicBezTo>
                    <a:pt x="57" y="187"/>
                    <a:pt x="53" y="199"/>
                    <a:pt x="48" y="205"/>
                  </a:cubicBezTo>
                  <a:cubicBezTo>
                    <a:pt x="44" y="211"/>
                    <a:pt x="42" y="213"/>
                    <a:pt x="38" y="215"/>
                  </a:cubicBezTo>
                  <a:cubicBezTo>
                    <a:pt x="35" y="216"/>
                    <a:pt x="33" y="217"/>
                    <a:pt x="30" y="217"/>
                  </a:cubicBezTo>
                  <a:cubicBezTo>
                    <a:pt x="28" y="217"/>
                    <a:pt x="27" y="217"/>
                    <a:pt x="26" y="216"/>
                  </a:cubicBezTo>
                  <a:cubicBezTo>
                    <a:pt x="22" y="216"/>
                    <a:pt x="18" y="214"/>
                    <a:pt x="14" y="213"/>
                  </a:cubicBezTo>
                  <a:cubicBezTo>
                    <a:pt x="11" y="212"/>
                    <a:pt x="9" y="210"/>
                    <a:pt x="7" y="210"/>
                  </a:cubicBezTo>
                  <a:cubicBezTo>
                    <a:pt x="5" y="210"/>
                    <a:pt x="3" y="212"/>
                    <a:pt x="3" y="215"/>
                  </a:cubicBezTo>
                  <a:cubicBezTo>
                    <a:pt x="3" y="233"/>
                    <a:pt x="3" y="233"/>
                    <a:pt x="3" y="233"/>
                  </a:cubicBezTo>
                  <a:cubicBezTo>
                    <a:pt x="3" y="233"/>
                    <a:pt x="3" y="233"/>
                    <a:pt x="3" y="233"/>
                  </a:cubicBezTo>
                  <a:cubicBezTo>
                    <a:pt x="3" y="236"/>
                    <a:pt x="4" y="238"/>
                    <a:pt x="7" y="240"/>
                  </a:cubicBezTo>
                  <a:cubicBezTo>
                    <a:pt x="15" y="243"/>
                    <a:pt x="21" y="245"/>
                    <a:pt x="32" y="245"/>
                  </a:cubicBezTo>
                  <a:cubicBezTo>
                    <a:pt x="41" y="244"/>
                    <a:pt x="47" y="242"/>
                    <a:pt x="54" y="238"/>
                  </a:cubicBezTo>
                  <a:cubicBezTo>
                    <a:pt x="61" y="233"/>
                    <a:pt x="67" y="227"/>
                    <a:pt x="73" y="220"/>
                  </a:cubicBezTo>
                  <a:cubicBezTo>
                    <a:pt x="75" y="216"/>
                    <a:pt x="77" y="212"/>
                    <a:pt x="79" y="208"/>
                  </a:cubicBezTo>
                  <a:cubicBezTo>
                    <a:pt x="83" y="200"/>
                    <a:pt x="144" y="40"/>
                    <a:pt x="156" y="6"/>
                  </a:cubicBezTo>
                  <a:cubicBezTo>
                    <a:pt x="157" y="5"/>
                    <a:pt x="157" y="4"/>
                    <a:pt x="157" y="3"/>
                  </a:cubicBezTo>
                  <a:cubicBezTo>
                    <a:pt x="157" y="1"/>
                    <a:pt x="155" y="0"/>
                    <a:pt x="153" y="0"/>
                  </a:cubicBezTo>
                  <a:lnTo>
                    <a:pt x="1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11" name="Freeform 8">
              <a:extLst>
                <a:ext uri="{FF2B5EF4-FFF2-40B4-BE49-F238E27FC236}">
                  <a16:creationId xmlns:a16="http://schemas.microsoft.com/office/drawing/2014/main" id="{B2C29C81-DF56-4D2E-89D6-7B7333393C3E}"/>
                </a:ext>
              </a:extLst>
            </p:cNvPr>
            <p:cNvSpPr>
              <a:spLocks/>
            </p:cNvSpPr>
            <p:nvPr userDrawn="1"/>
          </p:nvSpPr>
          <p:spPr bwMode="auto">
            <a:xfrm>
              <a:off x="3457" y="1726"/>
              <a:ext cx="263" cy="322"/>
            </a:xfrm>
            <a:custGeom>
              <a:avLst/>
              <a:gdLst>
                <a:gd name="T0" fmla="*/ 28 w 139"/>
                <a:gd name="T1" fmla="*/ 21 h 170"/>
                <a:gd name="T2" fmla="*/ 28 w 139"/>
                <a:gd name="T3" fmla="*/ 6 h 170"/>
                <a:gd name="T4" fmla="*/ 25 w 139"/>
                <a:gd name="T5" fmla="*/ 3 h 170"/>
                <a:gd name="T6" fmla="*/ 4 w 139"/>
                <a:gd name="T7" fmla="*/ 3 h 170"/>
                <a:gd name="T8" fmla="*/ 0 w 139"/>
                <a:gd name="T9" fmla="*/ 6 h 170"/>
                <a:gd name="T10" fmla="*/ 0 w 139"/>
                <a:gd name="T11" fmla="*/ 167 h 170"/>
                <a:gd name="T12" fmla="*/ 4 w 139"/>
                <a:gd name="T13" fmla="*/ 170 h 170"/>
                <a:gd name="T14" fmla="*/ 25 w 139"/>
                <a:gd name="T15" fmla="*/ 170 h 170"/>
                <a:gd name="T16" fmla="*/ 28 w 139"/>
                <a:gd name="T17" fmla="*/ 167 h 170"/>
                <a:gd name="T18" fmla="*/ 28 w 139"/>
                <a:gd name="T19" fmla="*/ 68 h 170"/>
                <a:gd name="T20" fmla="*/ 70 w 139"/>
                <a:gd name="T21" fmla="*/ 28 h 170"/>
                <a:gd name="T22" fmla="*/ 111 w 139"/>
                <a:gd name="T23" fmla="*/ 68 h 170"/>
                <a:gd name="T24" fmla="*/ 111 w 139"/>
                <a:gd name="T25" fmla="*/ 167 h 170"/>
                <a:gd name="T26" fmla="*/ 111 w 139"/>
                <a:gd name="T27" fmla="*/ 167 h 170"/>
                <a:gd name="T28" fmla="*/ 114 w 139"/>
                <a:gd name="T29" fmla="*/ 170 h 170"/>
                <a:gd name="T30" fmla="*/ 136 w 139"/>
                <a:gd name="T31" fmla="*/ 170 h 170"/>
                <a:gd name="T32" fmla="*/ 139 w 139"/>
                <a:gd name="T33" fmla="*/ 167 h 170"/>
                <a:gd name="T34" fmla="*/ 139 w 139"/>
                <a:gd name="T35" fmla="*/ 68 h 170"/>
                <a:gd name="T36" fmla="*/ 139 w 139"/>
                <a:gd name="T37" fmla="*/ 68 h 170"/>
                <a:gd name="T38" fmla="*/ 139 w 139"/>
                <a:gd name="T39" fmla="*/ 68 h 170"/>
                <a:gd name="T40" fmla="*/ 120 w 139"/>
                <a:gd name="T41" fmla="*/ 20 h 170"/>
                <a:gd name="T42" fmla="*/ 70 w 139"/>
                <a:gd name="T43" fmla="*/ 0 h 170"/>
                <a:gd name="T44" fmla="*/ 28 w 139"/>
                <a:gd name="T45" fmla="*/ 2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170">
                  <a:moveTo>
                    <a:pt x="28" y="21"/>
                  </a:moveTo>
                  <a:cubicBezTo>
                    <a:pt x="28" y="6"/>
                    <a:pt x="28" y="6"/>
                    <a:pt x="28" y="6"/>
                  </a:cubicBezTo>
                  <a:cubicBezTo>
                    <a:pt x="28" y="4"/>
                    <a:pt x="27" y="3"/>
                    <a:pt x="25" y="3"/>
                  </a:cubicBezTo>
                  <a:cubicBezTo>
                    <a:pt x="4" y="3"/>
                    <a:pt x="4" y="3"/>
                    <a:pt x="4" y="3"/>
                  </a:cubicBezTo>
                  <a:cubicBezTo>
                    <a:pt x="1" y="3"/>
                    <a:pt x="0" y="4"/>
                    <a:pt x="0" y="6"/>
                  </a:cubicBezTo>
                  <a:cubicBezTo>
                    <a:pt x="0" y="167"/>
                    <a:pt x="0" y="167"/>
                    <a:pt x="0" y="167"/>
                  </a:cubicBezTo>
                  <a:cubicBezTo>
                    <a:pt x="0" y="169"/>
                    <a:pt x="1" y="170"/>
                    <a:pt x="4" y="170"/>
                  </a:cubicBezTo>
                  <a:cubicBezTo>
                    <a:pt x="25" y="170"/>
                    <a:pt x="25" y="170"/>
                    <a:pt x="25" y="170"/>
                  </a:cubicBezTo>
                  <a:cubicBezTo>
                    <a:pt x="27" y="170"/>
                    <a:pt x="28" y="169"/>
                    <a:pt x="28" y="167"/>
                  </a:cubicBezTo>
                  <a:cubicBezTo>
                    <a:pt x="28" y="68"/>
                    <a:pt x="28" y="68"/>
                    <a:pt x="28" y="68"/>
                  </a:cubicBezTo>
                  <a:cubicBezTo>
                    <a:pt x="28" y="49"/>
                    <a:pt x="42" y="28"/>
                    <a:pt x="70" y="28"/>
                  </a:cubicBezTo>
                  <a:cubicBezTo>
                    <a:pt x="97" y="28"/>
                    <a:pt x="111" y="49"/>
                    <a:pt x="111" y="68"/>
                  </a:cubicBezTo>
                  <a:cubicBezTo>
                    <a:pt x="111" y="167"/>
                    <a:pt x="111" y="167"/>
                    <a:pt x="111" y="167"/>
                  </a:cubicBezTo>
                  <a:cubicBezTo>
                    <a:pt x="111" y="167"/>
                    <a:pt x="111" y="167"/>
                    <a:pt x="111" y="167"/>
                  </a:cubicBezTo>
                  <a:cubicBezTo>
                    <a:pt x="111" y="169"/>
                    <a:pt x="112" y="170"/>
                    <a:pt x="114" y="170"/>
                  </a:cubicBezTo>
                  <a:cubicBezTo>
                    <a:pt x="136" y="170"/>
                    <a:pt x="136" y="170"/>
                    <a:pt x="136" y="170"/>
                  </a:cubicBezTo>
                  <a:cubicBezTo>
                    <a:pt x="138" y="170"/>
                    <a:pt x="139" y="169"/>
                    <a:pt x="139" y="167"/>
                  </a:cubicBezTo>
                  <a:cubicBezTo>
                    <a:pt x="139" y="68"/>
                    <a:pt x="139" y="68"/>
                    <a:pt x="139" y="68"/>
                  </a:cubicBezTo>
                  <a:cubicBezTo>
                    <a:pt x="139" y="68"/>
                    <a:pt x="139" y="68"/>
                    <a:pt x="139" y="68"/>
                  </a:cubicBezTo>
                  <a:cubicBezTo>
                    <a:pt x="139" y="68"/>
                    <a:pt x="139" y="68"/>
                    <a:pt x="139" y="68"/>
                  </a:cubicBezTo>
                  <a:cubicBezTo>
                    <a:pt x="139" y="51"/>
                    <a:pt x="133" y="35"/>
                    <a:pt x="120" y="20"/>
                  </a:cubicBezTo>
                  <a:cubicBezTo>
                    <a:pt x="109" y="7"/>
                    <a:pt x="88" y="0"/>
                    <a:pt x="70" y="0"/>
                  </a:cubicBezTo>
                  <a:cubicBezTo>
                    <a:pt x="41" y="0"/>
                    <a:pt x="28" y="21"/>
                    <a:pt x="28"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12" name="Freeform 9">
              <a:extLst>
                <a:ext uri="{FF2B5EF4-FFF2-40B4-BE49-F238E27FC236}">
                  <a16:creationId xmlns:a16="http://schemas.microsoft.com/office/drawing/2014/main" id="{B38DB0D8-2A95-458B-BC03-75E42A03A8C8}"/>
                </a:ext>
              </a:extLst>
            </p:cNvPr>
            <p:cNvSpPr>
              <a:spLocks/>
            </p:cNvSpPr>
            <p:nvPr userDrawn="1"/>
          </p:nvSpPr>
          <p:spPr bwMode="auto">
            <a:xfrm>
              <a:off x="2264" y="1724"/>
              <a:ext cx="246" cy="328"/>
            </a:xfrm>
            <a:custGeom>
              <a:avLst/>
              <a:gdLst>
                <a:gd name="T0" fmla="*/ 4 w 130"/>
                <a:gd name="T1" fmla="*/ 48 h 173"/>
                <a:gd name="T2" fmla="*/ 56 w 130"/>
                <a:gd name="T3" fmla="*/ 97 h 173"/>
                <a:gd name="T4" fmla="*/ 57 w 130"/>
                <a:gd name="T5" fmla="*/ 98 h 173"/>
                <a:gd name="T6" fmla="*/ 101 w 130"/>
                <a:gd name="T7" fmla="*/ 124 h 173"/>
                <a:gd name="T8" fmla="*/ 66 w 130"/>
                <a:gd name="T9" fmla="*/ 146 h 173"/>
                <a:gd name="T10" fmla="*/ 30 w 130"/>
                <a:gd name="T11" fmla="*/ 118 h 173"/>
                <a:gd name="T12" fmla="*/ 26 w 130"/>
                <a:gd name="T13" fmla="*/ 114 h 173"/>
                <a:gd name="T14" fmla="*/ 5 w 130"/>
                <a:gd name="T15" fmla="*/ 114 h 173"/>
                <a:gd name="T16" fmla="*/ 0 w 130"/>
                <a:gd name="T17" fmla="*/ 118 h 173"/>
                <a:gd name="T18" fmla="*/ 65 w 130"/>
                <a:gd name="T19" fmla="*/ 173 h 173"/>
                <a:gd name="T20" fmla="*/ 130 w 130"/>
                <a:gd name="T21" fmla="*/ 120 h 173"/>
                <a:gd name="T22" fmla="*/ 72 w 130"/>
                <a:gd name="T23" fmla="*/ 74 h 173"/>
                <a:gd name="T24" fmla="*/ 32 w 130"/>
                <a:gd name="T25" fmla="*/ 48 h 173"/>
                <a:gd name="T26" fmla="*/ 63 w 130"/>
                <a:gd name="T27" fmla="*/ 27 h 173"/>
                <a:gd name="T28" fmla="*/ 97 w 130"/>
                <a:gd name="T29" fmla="*/ 49 h 173"/>
                <a:gd name="T30" fmla="*/ 102 w 130"/>
                <a:gd name="T31" fmla="*/ 53 h 173"/>
                <a:gd name="T32" fmla="*/ 120 w 130"/>
                <a:gd name="T33" fmla="*/ 53 h 173"/>
                <a:gd name="T34" fmla="*/ 125 w 130"/>
                <a:gd name="T35" fmla="*/ 48 h 173"/>
                <a:gd name="T36" fmla="*/ 63 w 130"/>
                <a:gd name="T37" fmla="*/ 0 h 173"/>
                <a:gd name="T38" fmla="*/ 4 w 130"/>
                <a:gd name="T39" fmla="*/ 4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173">
                  <a:moveTo>
                    <a:pt x="4" y="48"/>
                  </a:moveTo>
                  <a:cubicBezTo>
                    <a:pt x="4" y="77"/>
                    <a:pt x="19" y="91"/>
                    <a:pt x="56" y="97"/>
                  </a:cubicBezTo>
                  <a:cubicBezTo>
                    <a:pt x="57" y="98"/>
                    <a:pt x="57" y="98"/>
                    <a:pt x="57" y="98"/>
                  </a:cubicBezTo>
                  <a:cubicBezTo>
                    <a:pt x="83" y="102"/>
                    <a:pt x="101" y="105"/>
                    <a:pt x="101" y="124"/>
                  </a:cubicBezTo>
                  <a:cubicBezTo>
                    <a:pt x="101" y="139"/>
                    <a:pt x="83" y="146"/>
                    <a:pt x="66" y="146"/>
                  </a:cubicBezTo>
                  <a:cubicBezTo>
                    <a:pt x="46" y="146"/>
                    <a:pt x="33" y="136"/>
                    <a:pt x="30" y="118"/>
                  </a:cubicBezTo>
                  <a:cubicBezTo>
                    <a:pt x="30" y="116"/>
                    <a:pt x="29" y="114"/>
                    <a:pt x="26" y="114"/>
                  </a:cubicBezTo>
                  <a:cubicBezTo>
                    <a:pt x="5" y="114"/>
                    <a:pt x="5" y="114"/>
                    <a:pt x="5" y="114"/>
                  </a:cubicBezTo>
                  <a:cubicBezTo>
                    <a:pt x="2" y="114"/>
                    <a:pt x="0" y="116"/>
                    <a:pt x="0" y="118"/>
                  </a:cubicBezTo>
                  <a:cubicBezTo>
                    <a:pt x="0" y="150"/>
                    <a:pt x="27" y="173"/>
                    <a:pt x="65" y="173"/>
                  </a:cubicBezTo>
                  <a:cubicBezTo>
                    <a:pt x="104" y="173"/>
                    <a:pt x="130" y="151"/>
                    <a:pt x="130" y="120"/>
                  </a:cubicBezTo>
                  <a:cubicBezTo>
                    <a:pt x="130" y="86"/>
                    <a:pt x="100" y="79"/>
                    <a:pt x="72" y="74"/>
                  </a:cubicBezTo>
                  <a:cubicBezTo>
                    <a:pt x="37" y="68"/>
                    <a:pt x="32" y="58"/>
                    <a:pt x="32" y="48"/>
                  </a:cubicBezTo>
                  <a:cubicBezTo>
                    <a:pt x="32" y="32"/>
                    <a:pt x="49" y="27"/>
                    <a:pt x="63" y="27"/>
                  </a:cubicBezTo>
                  <a:cubicBezTo>
                    <a:pt x="82" y="27"/>
                    <a:pt x="94" y="34"/>
                    <a:pt x="97" y="49"/>
                  </a:cubicBezTo>
                  <a:cubicBezTo>
                    <a:pt x="98" y="51"/>
                    <a:pt x="98" y="53"/>
                    <a:pt x="102" y="53"/>
                  </a:cubicBezTo>
                  <a:cubicBezTo>
                    <a:pt x="120" y="53"/>
                    <a:pt x="120" y="53"/>
                    <a:pt x="120" y="53"/>
                  </a:cubicBezTo>
                  <a:cubicBezTo>
                    <a:pt x="123" y="53"/>
                    <a:pt x="125" y="51"/>
                    <a:pt x="125" y="48"/>
                  </a:cubicBezTo>
                  <a:cubicBezTo>
                    <a:pt x="125" y="19"/>
                    <a:pt x="100" y="0"/>
                    <a:pt x="63" y="0"/>
                  </a:cubicBezTo>
                  <a:cubicBezTo>
                    <a:pt x="22" y="0"/>
                    <a:pt x="4" y="25"/>
                    <a:pt x="4" y="4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13" name="Freeform 10">
              <a:extLst>
                <a:ext uri="{FF2B5EF4-FFF2-40B4-BE49-F238E27FC236}">
                  <a16:creationId xmlns:a16="http://schemas.microsoft.com/office/drawing/2014/main" id="{285FBA9D-B6C7-4BE7-90DC-3572BFC95303}"/>
                </a:ext>
              </a:extLst>
            </p:cNvPr>
            <p:cNvSpPr>
              <a:spLocks/>
            </p:cNvSpPr>
            <p:nvPr userDrawn="1"/>
          </p:nvSpPr>
          <p:spPr bwMode="auto">
            <a:xfrm>
              <a:off x="3062" y="1722"/>
              <a:ext cx="312" cy="474"/>
            </a:xfrm>
            <a:custGeom>
              <a:avLst/>
              <a:gdLst>
                <a:gd name="T0" fmla="*/ 67 w 165"/>
                <a:gd name="T1" fmla="*/ 0 h 250"/>
                <a:gd name="T2" fmla="*/ 0 w 165"/>
                <a:gd name="T3" fmla="*/ 86 h 250"/>
                <a:gd name="T4" fmla="*/ 82 w 165"/>
                <a:gd name="T5" fmla="*/ 174 h 250"/>
                <a:gd name="T6" fmla="*/ 137 w 165"/>
                <a:gd name="T7" fmla="*/ 152 h 250"/>
                <a:gd name="T8" fmla="*/ 137 w 165"/>
                <a:gd name="T9" fmla="*/ 173 h 250"/>
                <a:gd name="T10" fmla="*/ 89 w 165"/>
                <a:gd name="T11" fmla="*/ 222 h 250"/>
                <a:gd name="T12" fmla="*/ 48 w 165"/>
                <a:gd name="T13" fmla="*/ 194 h 250"/>
                <a:gd name="T14" fmla="*/ 43 w 165"/>
                <a:gd name="T15" fmla="*/ 190 h 250"/>
                <a:gd name="T16" fmla="*/ 24 w 165"/>
                <a:gd name="T17" fmla="*/ 190 h 250"/>
                <a:gd name="T18" fmla="*/ 19 w 165"/>
                <a:gd name="T19" fmla="*/ 195 h 250"/>
                <a:gd name="T20" fmla="*/ 89 w 165"/>
                <a:gd name="T21" fmla="*/ 250 h 250"/>
                <a:gd name="T22" fmla="*/ 165 w 165"/>
                <a:gd name="T23" fmla="*/ 174 h 250"/>
                <a:gd name="T24" fmla="*/ 165 w 165"/>
                <a:gd name="T25" fmla="*/ 7 h 250"/>
                <a:gd name="T26" fmla="*/ 162 w 165"/>
                <a:gd name="T27" fmla="*/ 4 h 250"/>
                <a:gd name="T28" fmla="*/ 140 w 165"/>
                <a:gd name="T29" fmla="*/ 4 h 250"/>
                <a:gd name="T30" fmla="*/ 137 w 165"/>
                <a:gd name="T31" fmla="*/ 7 h 250"/>
                <a:gd name="T32" fmla="*/ 137 w 165"/>
                <a:gd name="T33" fmla="*/ 21 h 250"/>
                <a:gd name="T34" fmla="*/ 99 w 165"/>
                <a:gd name="T35" fmla="*/ 0 h 250"/>
                <a:gd name="T36" fmla="*/ 96 w 165"/>
                <a:gd name="T37" fmla="*/ 3 h 250"/>
                <a:gd name="T38" fmla="*/ 96 w 165"/>
                <a:gd name="T39" fmla="*/ 28 h 250"/>
                <a:gd name="T40" fmla="*/ 97 w 165"/>
                <a:gd name="T41" fmla="*/ 31 h 250"/>
                <a:gd name="T42" fmla="*/ 138 w 165"/>
                <a:gd name="T43" fmla="*/ 87 h 250"/>
                <a:gd name="T44" fmla="*/ 83 w 165"/>
                <a:gd name="T45" fmla="*/ 146 h 250"/>
                <a:gd name="T46" fmla="*/ 29 w 165"/>
                <a:gd name="T47" fmla="*/ 87 h 250"/>
                <a:gd name="T48" fmla="*/ 68 w 165"/>
                <a:gd name="T49" fmla="*/ 31 h 250"/>
                <a:gd name="T50" fmla="*/ 70 w 165"/>
                <a:gd name="T51" fmla="*/ 29 h 250"/>
                <a:gd name="T52" fmla="*/ 70 w 165"/>
                <a:gd name="T53" fmla="*/ 3 h 250"/>
                <a:gd name="T54" fmla="*/ 67 w 165"/>
                <a:gd name="T55" fmla="*/ 0 h 250"/>
                <a:gd name="T56" fmla="*/ 67 w 165"/>
                <a:gd name="T57"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5" h="250">
                  <a:moveTo>
                    <a:pt x="67" y="0"/>
                  </a:moveTo>
                  <a:cubicBezTo>
                    <a:pt x="29" y="8"/>
                    <a:pt x="0" y="44"/>
                    <a:pt x="0" y="86"/>
                  </a:cubicBezTo>
                  <a:cubicBezTo>
                    <a:pt x="0" y="135"/>
                    <a:pt x="37" y="174"/>
                    <a:pt x="82" y="174"/>
                  </a:cubicBezTo>
                  <a:cubicBezTo>
                    <a:pt x="103" y="174"/>
                    <a:pt x="122" y="166"/>
                    <a:pt x="137" y="152"/>
                  </a:cubicBezTo>
                  <a:cubicBezTo>
                    <a:pt x="137" y="173"/>
                    <a:pt x="137" y="173"/>
                    <a:pt x="137" y="173"/>
                  </a:cubicBezTo>
                  <a:cubicBezTo>
                    <a:pt x="137" y="205"/>
                    <a:pt x="120" y="222"/>
                    <a:pt x="89" y="222"/>
                  </a:cubicBezTo>
                  <a:cubicBezTo>
                    <a:pt x="66" y="222"/>
                    <a:pt x="52" y="213"/>
                    <a:pt x="48" y="194"/>
                  </a:cubicBezTo>
                  <a:cubicBezTo>
                    <a:pt x="47" y="192"/>
                    <a:pt x="46" y="190"/>
                    <a:pt x="43" y="190"/>
                  </a:cubicBezTo>
                  <a:cubicBezTo>
                    <a:pt x="24" y="190"/>
                    <a:pt x="24" y="190"/>
                    <a:pt x="24" y="190"/>
                  </a:cubicBezTo>
                  <a:cubicBezTo>
                    <a:pt x="21" y="190"/>
                    <a:pt x="19" y="192"/>
                    <a:pt x="19" y="195"/>
                  </a:cubicBezTo>
                  <a:cubicBezTo>
                    <a:pt x="22" y="228"/>
                    <a:pt x="51" y="250"/>
                    <a:pt x="89" y="250"/>
                  </a:cubicBezTo>
                  <a:cubicBezTo>
                    <a:pt x="135" y="250"/>
                    <a:pt x="165" y="219"/>
                    <a:pt x="165" y="174"/>
                  </a:cubicBezTo>
                  <a:cubicBezTo>
                    <a:pt x="165" y="7"/>
                    <a:pt x="165" y="7"/>
                    <a:pt x="165" y="7"/>
                  </a:cubicBezTo>
                  <a:cubicBezTo>
                    <a:pt x="165" y="5"/>
                    <a:pt x="164" y="4"/>
                    <a:pt x="162" y="4"/>
                  </a:cubicBezTo>
                  <a:cubicBezTo>
                    <a:pt x="140" y="4"/>
                    <a:pt x="140" y="4"/>
                    <a:pt x="140" y="4"/>
                  </a:cubicBezTo>
                  <a:cubicBezTo>
                    <a:pt x="138" y="4"/>
                    <a:pt x="137" y="5"/>
                    <a:pt x="137" y="7"/>
                  </a:cubicBezTo>
                  <a:cubicBezTo>
                    <a:pt x="137" y="21"/>
                    <a:pt x="137" y="21"/>
                    <a:pt x="137" y="21"/>
                  </a:cubicBezTo>
                  <a:cubicBezTo>
                    <a:pt x="126" y="11"/>
                    <a:pt x="113" y="4"/>
                    <a:pt x="99" y="0"/>
                  </a:cubicBezTo>
                  <a:cubicBezTo>
                    <a:pt x="97" y="0"/>
                    <a:pt x="96" y="1"/>
                    <a:pt x="96" y="3"/>
                  </a:cubicBezTo>
                  <a:cubicBezTo>
                    <a:pt x="96" y="28"/>
                    <a:pt x="96" y="28"/>
                    <a:pt x="96" y="28"/>
                  </a:cubicBezTo>
                  <a:cubicBezTo>
                    <a:pt x="96" y="29"/>
                    <a:pt x="96" y="30"/>
                    <a:pt x="97" y="31"/>
                  </a:cubicBezTo>
                  <a:cubicBezTo>
                    <a:pt x="121" y="37"/>
                    <a:pt x="138" y="60"/>
                    <a:pt x="138" y="87"/>
                  </a:cubicBezTo>
                  <a:cubicBezTo>
                    <a:pt x="138" y="119"/>
                    <a:pt x="114" y="146"/>
                    <a:pt x="83" y="146"/>
                  </a:cubicBezTo>
                  <a:cubicBezTo>
                    <a:pt x="53" y="146"/>
                    <a:pt x="29" y="119"/>
                    <a:pt x="29" y="87"/>
                  </a:cubicBezTo>
                  <a:cubicBezTo>
                    <a:pt x="29" y="61"/>
                    <a:pt x="45" y="38"/>
                    <a:pt x="68" y="31"/>
                  </a:cubicBezTo>
                  <a:cubicBezTo>
                    <a:pt x="69" y="31"/>
                    <a:pt x="70" y="30"/>
                    <a:pt x="70" y="29"/>
                  </a:cubicBezTo>
                  <a:cubicBezTo>
                    <a:pt x="70" y="3"/>
                    <a:pt x="70" y="3"/>
                    <a:pt x="70" y="3"/>
                  </a:cubicBezTo>
                  <a:cubicBezTo>
                    <a:pt x="70" y="1"/>
                    <a:pt x="69" y="0"/>
                    <a:pt x="67" y="0"/>
                  </a:cubicBezTo>
                  <a:cubicBezTo>
                    <a:pt x="67" y="0"/>
                    <a:pt x="67" y="0"/>
                    <a:pt x="6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14" name="Oval 11">
              <a:extLst>
                <a:ext uri="{FF2B5EF4-FFF2-40B4-BE49-F238E27FC236}">
                  <a16:creationId xmlns:a16="http://schemas.microsoft.com/office/drawing/2014/main" id="{48DD9144-12C1-4B89-9F6D-92B4361D96B3}"/>
                </a:ext>
              </a:extLst>
            </p:cNvPr>
            <p:cNvSpPr>
              <a:spLocks noChangeArrowheads="1"/>
            </p:cNvSpPr>
            <p:nvPr userDrawn="1"/>
          </p:nvSpPr>
          <p:spPr bwMode="auto">
            <a:xfrm>
              <a:off x="284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15" name="Oval 12">
              <a:extLst>
                <a:ext uri="{FF2B5EF4-FFF2-40B4-BE49-F238E27FC236}">
                  <a16:creationId xmlns:a16="http://schemas.microsoft.com/office/drawing/2014/main" id="{01B98C09-7AAE-43C7-82DE-9DB278B02F42}"/>
                </a:ext>
              </a:extLst>
            </p:cNvPr>
            <p:cNvSpPr>
              <a:spLocks noChangeArrowheads="1"/>
            </p:cNvSpPr>
            <p:nvPr userDrawn="1"/>
          </p:nvSpPr>
          <p:spPr bwMode="auto">
            <a:xfrm>
              <a:off x="387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16" name="Freeform 13">
              <a:extLst>
                <a:ext uri="{FF2B5EF4-FFF2-40B4-BE49-F238E27FC236}">
                  <a16:creationId xmlns:a16="http://schemas.microsoft.com/office/drawing/2014/main" id="{DF4FD3F7-7AD2-4CA4-8D7C-34E6C136A5E6}"/>
                </a:ext>
              </a:extLst>
            </p:cNvPr>
            <p:cNvSpPr>
              <a:spLocks/>
            </p:cNvSpPr>
            <p:nvPr userDrawn="1"/>
          </p:nvSpPr>
          <p:spPr bwMode="auto">
            <a:xfrm>
              <a:off x="4062" y="1584"/>
              <a:ext cx="242" cy="462"/>
            </a:xfrm>
            <a:custGeom>
              <a:avLst/>
              <a:gdLst>
                <a:gd name="T0" fmla="*/ 39 w 128"/>
                <a:gd name="T1" fmla="*/ 55 h 244"/>
                <a:gd name="T2" fmla="*/ 39 w 128"/>
                <a:gd name="T3" fmla="*/ 76 h 244"/>
                <a:gd name="T4" fmla="*/ 4 w 128"/>
                <a:gd name="T5" fmla="*/ 76 h 244"/>
                <a:gd name="T6" fmla="*/ 0 w 128"/>
                <a:gd name="T7" fmla="*/ 81 h 244"/>
                <a:gd name="T8" fmla="*/ 0 w 128"/>
                <a:gd name="T9" fmla="*/ 99 h 244"/>
                <a:gd name="T10" fmla="*/ 4 w 128"/>
                <a:gd name="T11" fmla="*/ 103 h 244"/>
                <a:gd name="T12" fmla="*/ 39 w 128"/>
                <a:gd name="T13" fmla="*/ 103 h 244"/>
                <a:gd name="T14" fmla="*/ 39 w 128"/>
                <a:gd name="T15" fmla="*/ 239 h 244"/>
                <a:gd name="T16" fmla="*/ 44 w 128"/>
                <a:gd name="T17" fmla="*/ 244 h 244"/>
                <a:gd name="T18" fmla="*/ 62 w 128"/>
                <a:gd name="T19" fmla="*/ 244 h 244"/>
                <a:gd name="T20" fmla="*/ 67 w 128"/>
                <a:gd name="T21" fmla="*/ 239 h 244"/>
                <a:gd name="T22" fmla="*/ 67 w 128"/>
                <a:gd name="T23" fmla="*/ 103 h 244"/>
                <a:gd name="T24" fmla="*/ 120 w 128"/>
                <a:gd name="T25" fmla="*/ 103 h 244"/>
                <a:gd name="T26" fmla="*/ 125 w 128"/>
                <a:gd name="T27" fmla="*/ 99 h 244"/>
                <a:gd name="T28" fmla="*/ 125 w 128"/>
                <a:gd name="T29" fmla="*/ 81 h 244"/>
                <a:gd name="T30" fmla="*/ 120 w 128"/>
                <a:gd name="T31" fmla="*/ 76 h 244"/>
                <a:gd name="T32" fmla="*/ 67 w 128"/>
                <a:gd name="T33" fmla="*/ 76 h 244"/>
                <a:gd name="T34" fmla="*/ 67 w 128"/>
                <a:gd name="T35" fmla="*/ 55 h 244"/>
                <a:gd name="T36" fmla="*/ 91 w 128"/>
                <a:gd name="T37" fmla="*/ 27 h 244"/>
                <a:gd name="T38" fmla="*/ 122 w 128"/>
                <a:gd name="T39" fmla="*/ 37 h 244"/>
                <a:gd name="T40" fmla="*/ 125 w 128"/>
                <a:gd name="T41" fmla="*/ 38 h 244"/>
                <a:gd name="T42" fmla="*/ 128 w 128"/>
                <a:gd name="T43" fmla="*/ 33 h 244"/>
                <a:gd name="T44" fmla="*/ 128 w 128"/>
                <a:gd name="T45" fmla="*/ 16 h 244"/>
                <a:gd name="T46" fmla="*/ 125 w 128"/>
                <a:gd name="T47" fmla="*/ 9 h 244"/>
                <a:gd name="T48" fmla="*/ 89 w 128"/>
                <a:gd name="T49" fmla="*/ 0 h 244"/>
                <a:gd name="T50" fmla="*/ 39 w 128"/>
                <a:gd name="T51" fmla="*/ 5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244">
                  <a:moveTo>
                    <a:pt x="39" y="55"/>
                  </a:moveTo>
                  <a:cubicBezTo>
                    <a:pt x="39" y="76"/>
                    <a:pt x="39" y="76"/>
                    <a:pt x="39" y="76"/>
                  </a:cubicBezTo>
                  <a:cubicBezTo>
                    <a:pt x="4" y="76"/>
                    <a:pt x="4" y="76"/>
                    <a:pt x="4" y="76"/>
                  </a:cubicBezTo>
                  <a:cubicBezTo>
                    <a:pt x="1" y="76"/>
                    <a:pt x="0" y="78"/>
                    <a:pt x="0" y="81"/>
                  </a:cubicBezTo>
                  <a:cubicBezTo>
                    <a:pt x="0" y="99"/>
                    <a:pt x="0" y="99"/>
                    <a:pt x="0" y="99"/>
                  </a:cubicBezTo>
                  <a:cubicBezTo>
                    <a:pt x="0" y="102"/>
                    <a:pt x="1" y="103"/>
                    <a:pt x="4" y="103"/>
                  </a:cubicBezTo>
                  <a:cubicBezTo>
                    <a:pt x="39" y="103"/>
                    <a:pt x="39" y="103"/>
                    <a:pt x="39" y="103"/>
                  </a:cubicBezTo>
                  <a:cubicBezTo>
                    <a:pt x="39" y="239"/>
                    <a:pt x="39" y="239"/>
                    <a:pt x="39" y="239"/>
                  </a:cubicBezTo>
                  <a:cubicBezTo>
                    <a:pt x="39" y="242"/>
                    <a:pt x="41" y="244"/>
                    <a:pt x="44" y="244"/>
                  </a:cubicBezTo>
                  <a:cubicBezTo>
                    <a:pt x="62" y="244"/>
                    <a:pt x="62" y="244"/>
                    <a:pt x="62" y="244"/>
                  </a:cubicBezTo>
                  <a:cubicBezTo>
                    <a:pt x="65" y="244"/>
                    <a:pt x="67" y="242"/>
                    <a:pt x="67" y="239"/>
                  </a:cubicBezTo>
                  <a:cubicBezTo>
                    <a:pt x="67" y="103"/>
                    <a:pt x="67" y="103"/>
                    <a:pt x="67" y="103"/>
                  </a:cubicBezTo>
                  <a:cubicBezTo>
                    <a:pt x="120" y="103"/>
                    <a:pt x="120" y="103"/>
                    <a:pt x="120" y="103"/>
                  </a:cubicBezTo>
                  <a:cubicBezTo>
                    <a:pt x="123" y="103"/>
                    <a:pt x="125" y="102"/>
                    <a:pt x="125" y="99"/>
                  </a:cubicBezTo>
                  <a:cubicBezTo>
                    <a:pt x="125" y="81"/>
                    <a:pt x="125" y="81"/>
                    <a:pt x="125" y="81"/>
                  </a:cubicBezTo>
                  <a:cubicBezTo>
                    <a:pt x="125" y="78"/>
                    <a:pt x="123" y="76"/>
                    <a:pt x="120" y="76"/>
                  </a:cubicBezTo>
                  <a:cubicBezTo>
                    <a:pt x="67" y="76"/>
                    <a:pt x="67" y="76"/>
                    <a:pt x="67" y="76"/>
                  </a:cubicBezTo>
                  <a:cubicBezTo>
                    <a:pt x="67" y="55"/>
                    <a:pt x="67" y="55"/>
                    <a:pt x="67" y="55"/>
                  </a:cubicBezTo>
                  <a:cubicBezTo>
                    <a:pt x="67" y="38"/>
                    <a:pt x="76" y="27"/>
                    <a:pt x="91" y="27"/>
                  </a:cubicBezTo>
                  <a:cubicBezTo>
                    <a:pt x="102" y="27"/>
                    <a:pt x="110" y="30"/>
                    <a:pt x="122" y="37"/>
                  </a:cubicBezTo>
                  <a:cubicBezTo>
                    <a:pt x="123" y="38"/>
                    <a:pt x="124" y="38"/>
                    <a:pt x="125" y="38"/>
                  </a:cubicBezTo>
                  <a:cubicBezTo>
                    <a:pt x="127" y="38"/>
                    <a:pt x="128" y="36"/>
                    <a:pt x="128" y="33"/>
                  </a:cubicBezTo>
                  <a:cubicBezTo>
                    <a:pt x="128" y="16"/>
                    <a:pt x="128" y="16"/>
                    <a:pt x="128" y="16"/>
                  </a:cubicBezTo>
                  <a:cubicBezTo>
                    <a:pt x="128" y="13"/>
                    <a:pt x="128" y="11"/>
                    <a:pt x="125" y="9"/>
                  </a:cubicBezTo>
                  <a:cubicBezTo>
                    <a:pt x="114" y="3"/>
                    <a:pt x="103" y="0"/>
                    <a:pt x="89" y="0"/>
                  </a:cubicBezTo>
                  <a:cubicBezTo>
                    <a:pt x="54" y="0"/>
                    <a:pt x="39" y="29"/>
                    <a:pt x="39"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17" name="Freeform 14">
              <a:extLst>
                <a:ext uri="{FF2B5EF4-FFF2-40B4-BE49-F238E27FC236}">
                  <a16:creationId xmlns:a16="http://schemas.microsoft.com/office/drawing/2014/main" id="{E3F74A4C-3F35-49ED-8FDB-98270CD3D01E}"/>
                </a:ext>
              </a:extLst>
            </p:cNvPr>
            <p:cNvSpPr>
              <a:spLocks/>
            </p:cNvSpPr>
            <p:nvPr userDrawn="1"/>
          </p:nvSpPr>
          <p:spPr bwMode="auto">
            <a:xfrm>
              <a:off x="2071" y="1578"/>
              <a:ext cx="632" cy="631"/>
            </a:xfrm>
            <a:custGeom>
              <a:avLst/>
              <a:gdLst>
                <a:gd name="T0" fmla="*/ 181 w 334"/>
                <a:gd name="T1" fmla="*/ 1 h 333"/>
                <a:gd name="T2" fmla="*/ 180 w 334"/>
                <a:gd name="T3" fmla="*/ 4 h 333"/>
                <a:gd name="T4" fmla="*/ 180 w 334"/>
                <a:gd name="T5" fmla="*/ 26 h 333"/>
                <a:gd name="T6" fmla="*/ 180 w 334"/>
                <a:gd name="T7" fmla="*/ 26 h 333"/>
                <a:gd name="T8" fmla="*/ 182 w 334"/>
                <a:gd name="T9" fmla="*/ 28 h 333"/>
                <a:gd name="T10" fmla="*/ 306 w 334"/>
                <a:gd name="T11" fmla="*/ 166 h 333"/>
                <a:gd name="T12" fmla="*/ 167 w 334"/>
                <a:gd name="T13" fmla="*/ 305 h 333"/>
                <a:gd name="T14" fmla="*/ 28 w 334"/>
                <a:gd name="T15" fmla="*/ 166 h 333"/>
                <a:gd name="T16" fmla="*/ 152 w 334"/>
                <a:gd name="T17" fmla="*/ 28 h 333"/>
                <a:gd name="T18" fmla="*/ 154 w 334"/>
                <a:gd name="T19" fmla="*/ 26 h 333"/>
                <a:gd name="T20" fmla="*/ 154 w 334"/>
                <a:gd name="T21" fmla="*/ 26 h 333"/>
                <a:gd name="T22" fmla="*/ 154 w 334"/>
                <a:gd name="T23" fmla="*/ 4 h 333"/>
                <a:gd name="T24" fmla="*/ 153 w 334"/>
                <a:gd name="T25" fmla="*/ 1 h 333"/>
                <a:gd name="T26" fmla="*/ 150 w 334"/>
                <a:gd name="T27" fmla="*/ 0 h 333"/>
                <a:gd name="T28" fmla="*/ 149 w 334"/>
                <a:gd name="T29" fmla="*/ 0 h 333"/>
                <a:gd name="T30" fmla="*/ 149 w 334"/>
                <a:gd name="T31" fmla="*/ 0 h 333"/>
                <a:gd name="T32" fmla="*/ 0 w 334"/>
                <a:gd name="T33" fmla="*/ 166 h 333"/>
                <a:gd name="T34" fmla="*/ 167 w 334"/>
                <a:gd name="T35" fmla="*/ 333 h 333"/>
                <a:gd name="T36" fmla="*/ 334 w 334"/>
                <a:gd name="T37" fmla="*/ 166 h 333"/>
                <a:gd name="T38" fmla="*/ 185 w 334"/>
                <a:gd name="T39" fmla="*/ 0 h 333"/>
                <a:gd name="T40" fmla="*/ 185 w 334"/>
                <a:gd name="T41" fmla="*/ 0 h 333"/>
                <a:gd name="T42" fmla="*/ 184 w 334"/>
                <a:gd name="T43" fmla="*/ 0 h 333"/>
                <a:gd name="T44" fmla="*/ 181 w 334"/>
                <a:gd name="T45" fmla="*/ 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4" h="333">
                  <a:moveTo>
                    <a:pt x="181" y="1"/>
                  </a:moveTo>
                  <a:cubicBezTo>
                    <a:pt x="180" y="2"/>
                    <a:pt x="180" y="3"/>
                    <a:pt x="180" y="4"/>
                  </a:cubicBezTo>
                  <a:cubicBezTo>
                    <a:pt x="180" y="26"/>
                    <a:pt x="180" y="26"/>
                    <a:pt x="180" y="26"/>
                  </a:cubicBezTo>
                  <a:cubicBezTo>
                    <a:pt x="180" y="26"/>
                    <a:pt x="180" y="26"/>
                    <a:pt x="180" y="26"/>
                  </a:cubicBezTo>
                  <a:cubicBezTo>
                    <a:pt x="180" y="27"/>
                    <a:pt x="181" y="28"/>
                    <a:pt x="182" y="28"/>
                  </a:cubicBezTo>
                  <a:cubicBezTo>
                    <a:pt x="251" y="35"/>
                    <a:pt x="306" y="94"/>
                    <a:pt x="306" y="166"/>
                  </a:cubicBezTo>
                  <a:cubicBezTo>
                    <a:pt x="306" y="243"/>
                    <a:pt x="244" y="305"/>
                    <a:pt x="167" y="305"/>
                  </a:cubicBezTo>
                  <a:cubicBezTo>
                    <a:pt x="90" y="305"/>
                    <a:pt x="28" y="243"/>
                    <a:pt x="28" y="166"/>
                  </a:cubicBezTo>
                  <a:cubicBezTo>
                    <a:pt x="28" y="94"/>
                    <a:pt x="82" y="35"/>
                    <a:pt x="152" y="28"/>
                  </a:cubicBezTo>
                  <a:cubicBezTo>
                    <a:pt x="153" y="28"/>
                    <a:pt x="154" y="27"/>
                    <a:pt x="154" y="26"/>
                  </a:cubicBezTo>
                  <a:cubicBezTo>
                    <a:pt x="154" y="26"/>
                    <a:pt x="154" y="26"/>
                    <a:pt x="154" y="26"/>
                  </a:cubicBezTo>
                  <a:cubicBezTo>
                    <a:pt x="154" y="4"/>
                    <a:pt x="154" y="4"/>
                    <a:pt x="154" y="4"/>
                  </a:cubicBezTo>
                  <a:cubicBezTo>
                    <a:pt x="154" y="3"/>
                    <a:pt x="154" y="2"/>
                    <a:pt x="153" y="1"/>
                  </a:cubicBezTo>
                  <a:cubicBezTo>
                    <a:pt x="152" y="0"/>
                    <a:pt x="151" y="0"/>
                    <a:pt x="150" y="0"/>
                  </a:cubicBezTo>
                  <a:cubicBezTo>
                    <a:pt x="149" y="0"/>
                    <a:pt x="149" y="0"/>
                    <a:pt x="149" y="0"/>
                  </a:cubicBezTo>
                  <a:cubicBezTo>
                    <a:pt x="149" y="0"/>
                    <a:pt x="149" y="0"/>
                    <a:pt x="149" y="0"/>
                  </a:cubicBezTo>
                  <a:cubicBezTo>
                    <a:pt x="65" y="9"/>
                    <a:pt x="0" y="80"/>
                    <a:pt x="0" y="166"/>
                  </a:cubicBezTo>
                  <a:cubicBezTo>
                    <a:pt x="0" y="258"/>
                    <a:pt x="75" y="333"/>
                    <a:pt x="167" y="333"/>
                  </a:cubicBezTo>
                  <a:cubicBezTo>
                    <a:pt x="259" y="333"/>
                    <a:pt x="334" y="258"/>
                    <a:pt x="334" y="166"/>
                  </a:cubicBezTo>
                  <a:cubicBezTo>
                    <a:pt x="334" y="80"/>
                    <a:pt x="269" y="9"/>
                    <a:pt x="185" y="0"/>
                  </a:cubicBezTo>
                  <a:cubicBezTo>
                    <a:pt x="185" y="0"/>
                    <a:pt x="185" y="0"/>
                    <a:pt x="185" y="0"/>
                  </a:cubicBezTo>
                  <a:cubicBezTo>
                    <a:pt x="185" y="0"/>
                    <a:pt x="184" y="0"/>
                    <a:pt x="184" y="0"/>
                  </a:cubicBezTo>
                  <a:cubicBezTo>
                    <a:pt x="183" y="0"/>
                    <a:pt x="182" y="0"/>
                    <a:pt x="18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grpSp>
    </p:spTree>
    <p:extLst>
      <p:ext uri="{BB962C8B-B14F-4D97-AF65-F5344CB8AC3E}">
        <p14:creationId xmlns:p14="http://schemas.microsoft.com/office/powerpoint/2010/main" val="1360688935"/>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type="title" preserve="1">
  <p:cSld name="Title Slide Dark">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806139"/>
            <a:ext cx="9144001" cy="3245724"/>
          </a:xfrm>
        </p:spPr>
        <p:txBody>
          <a:bodyPr anchor="ctr"/>
          <a:lstStyle>
            <a:lvl1pPr algn="ctr">
              <a:defRPr sz="4000">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524000" y="5714325"/>
            <a:ext cx="9144001" cy="453754"/>
          </a:xfrm>
        </p:spPr>
        <p:txBody>
          <a:bodyPr/>
          <a:lstStyle>
            <a:lvl1pPr marL="0" indent="0" algn="ctr">
              <a:buNone/>
              <a:defRPr sz="2400">
                <a:solidFill>
                  <a:schemeClr val="bg1"/>
                </a:solidFill>
              </a:defRPr>
            </a:lvl1pPr>
            <a:lvl2pPr marL="521258" indent="0" algn="ctr">
              <a:buNone/>
              <a:defRPr sz="2280"/>
            </a:lvl2pPr>
            <a:lvl3pPr marL="1042512" indent="0" algn="ctr">
              <a:buNone/>
              <a:defRPr sz="2052"/>
            </a:lvl3pPr>
            <a:lvl4pPr marL="1563773" indent="0" algn="ctr">
              <a:buNone/>
              <a:defRPr sz="1824"/>
            </a:lvl4pPr>
            <a:lvl5pPr marL="2085031" indent="0" algn="ctr">
              <a:buNone/>
              <a:defRPr sz="1824"/>
            </a:lvl5pPr>
            <a:lvl6pPr marL="2606285" indent="0" algn="ctr">
              <a:buNone/>
              <a:defRPr sz="1824"/>
            </a:lvl6pPr>
            <a:lvl7pPr marL="3127543" indent="0" algn="ctr">
              <a:buNone/>
              <a:defRPr sz="1824"/>
            </a:lvl7pPr>
            <a:lvl8pPr marL="3648803" indent="0" algn="ctr">
              <a:buNone/>
              <a:defRPr sz="1824"/>
            </a:lvl8pPr>
            <a:lvl9pPr marL="4170060" indent="0" algn="ctr">
              <a:buNone/>
              <a:defRPr sz="1824"/>
            </a:lvl9pPr>
          </a:lstStyle>
          <a:p>
            <a:r>
              <a:rPr lang="en-US"/>
              <a:t>Click to edit Master subtitle style</a:t>
            </a:r>
            <a:endParaRPr lang="en-US" dirty="0"/>
          </a:p>
        </p:txBody>
      </p:sp>
      <p:grpSp>
        <p:nvGrpSpPr>
          <p:cNvPr id="18" name="Group 4">
            <a:extLst>
              <a:ext uri="{FF2B5EF4-FFF2-40B4-BE49-F238E27FC236}">
                <a16:creationId xmlns:a16="http://schemas.microsoft.com/office/drawing/2014/main" id="{8FDBE2B1-3DA3-43D4-9DC3-2E772835078F}"/>
              </a:ext>
            </a:extLst>
          </p:cNvPr>
          <p:cNvGrpSpPr>
            <a:grpSpLocks noChangeAspect="1"/>
          </p:cNvGrpSpPr>
          <p:nvPr userDrawn="1"/>
        </p:nvGrpSpPr>
        <p:grpSpPr bwMode="auto">
          <a:xfrm>
            <a:off x="5155508" y="685816"/>
            <a:ext cx="1880984" cy="458559"/>
            <a:chOff x="2071" y="1578"/>
            <a:chExt cx="2587" cy="631"/>
          </a:xfrm>
          <a:gradFill>
            <a:gsLst>
              <a:gs pos="50000">
                <a:srgbClr val="00E487"/>
              </a:gs>
              <a:gs pos="100000">
                <a:srgbClr val="1ECBD0"/>
              </a:gs>
            </a:gsLst>
            <a:lin ang="18900000" scaled="0"/>
          </a:gradFill>
        </p:grpSpPr>
        <p:sp>
          <p:nvSpPr>
            <p:cNvPr id="19" name="Freeform 5">
              <a:extLst>
                <a:ext uri="{FF2B5EF4-FFF2-40B4-BE49-F238E27FC236}">
                  <a16:creationId xmlns:a16="http://schemas.microsoft.com/office/drawing/2014/main" id="{7FB346E6-4510-4BED-AA2E-6743A40A5077}"/>
                </a:ext>
              </a:extLst>
            </p:cNvPr>
            <p:cNvSpPr>
              <a:spLocks/>
            </p:cNvSpPr>
            <p:nvPr userDrawn="1"/>
          </p:nvSpPr>
          <p:spPr bwMode="auto">
            <a:xfrm>
              <a:off x="2765" y="1728"/>
              <a:ext cx="244" cy="318"/>
            </a:xfrm>
            <a:custGeom>
              <a:avLst/>
              <a:gdLst>
                <a:gd name="T0" fmla="*/ 12 w 129"/>
                <a:gd name="T1" fmla="*/ 0 h 168"/>
                <a:gd name="T2" fmla="*/ 8 w 129"/>
                <a:gd name="T3" fmla="*/ 4 h 168"/>
                <a:gd name="T4" fmla="*/ 8 w 129"/>
                <a:gd name="T5" fmla="*/ 25 h 168"/>
                <a:gd name="T6" fmla="*/ 12 w 129"/>
                <a:gd name="T7" fmla="*/ 29 h 168"/>
                <a:gd name="T8" fmla="*/ 48 w 129"/>
                <a:gd name="T9" fmla="*/ 29 h 168"/>
                <a:gd name="T10" fmla="*/ 48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2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2" y="0"/>
                  </a:moveTo>
                  <a:cubicBezTo>
                    <a:pt x="9" y="0"/>
                    <a:pt x="8" y="1"/>
                    <a:pt x="8" y="4"/>
                  </a:cubicBezTo>
                  <a:cubicBezTo>
                    <a:pt x="8" y="25"/>
                    <a:pt x="8" y="25"/>
                    <a:pt x="8" y="25"/>
                  </a:cubicBezTo>
                  <a:cubicBezTo>
                    <a:pt x="8" y="27"/>
                    <a:pt x="9" y="29"/>
                    <a:pt x="12" y="29"/>
                  </a:cubicBezTo>
                  <a:cubicBezTo>
                    <a:pt x="48" y="29"/>
                    <a:pt x="48" y="29"/>
                    <a:pt x="48" y="29"/>
                  </a:cubicBezTo>
                  <a:cubicBezTo>
                    <a:pt x="48" y="140"/>
                    <a:pt x="48" y="140"/>
                    <a:pt x="48"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8" y="140"/>
                    <a:pt x="125" y="140"/>
                  </a:cubicBezTo>
                  <a:cubicBezTo>
                    <a:pt x="76" y="140"/>
                    <a:pt x="76" y="140"/>
                    <a:pt x="76" y="140"/>
                  </a:cubicBezTo>
                  <a:cubicBezTo>
                    <a:pt x="76" y="4"/>
                    <a:pt x="76" y="4"/>
                    <a:pt x="76" y="4"/>
                  </a:cubicBezTo>
                  <a:cubicBezTo>
                    <a:pt x="76" y="1"/>
                    <a:pt x="75" y="0"/>
                    <a:pt x="72" y="0"/>
                  </a:cubicBez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20" name="Freeform 6">
              <a:extLst>
                <a:ext uri="{FF2B5EF4-FFF2-40B4-BE49-F238E27FC236}">
                  <a16:creationId xmlns:a16="http://schemas.microsoft.com/office/drawing/2014/main" id="{1653ECA1-3AB4-47BE-A42E-29B1E3B7D882}"/>
                </a:ext>
              </a:extLst>
            </p:cNvPr>
            <p:cNvSpPr>
              <a:spLocks/>
            </p:cNvSpPr>
            <p:nvPr userDrawn="1"/>
          </p:nvSpPr>
          <p:spPr bwMode="auto">
            <a:xfrm>
              <a:off x="3798" y="1728"/>
              <a:ext cx="244" cy="318"/>
            </a:xfrm>
            <a:custGeom>
              <a:avLst/>
              <a:gdLst>
                <a:gd name="T0" fmla="*/ 11 w 129"/>
                <a:gd name="T1" fmla="*/ 0 h 168"/>
                <a:gd name="T2" fmla="*/ 8 w 129"/>
                <a:gd name="T3" fmla="*/ 4 h 168"/>
                <a:gd name="T4" fmla="*/ 8 w 129"/>
                <a:gd name="T5" fmla="*/ 25 h 168"/>
                <a:gd name="T6" fmla="*/ 11 w 129"/>
                <a:gd name="T7" fmla="*/ 29 h 168"/>
                <a:gd name="T8" fmla="*/ 47 w 129"/>
                <a:gd name="T9" fmla="*/ 29 h 168"/>
                <a:gd name="T10" fmla="*/ 47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1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1" y="0"/>
                  </a:moveTo>
                  <a:cubicBezTo>
                    <a:pt x="9" y="0"/>
                    <a:pt x="8" y="1"/>
                    <a:pt x="8" y="4"/>
                  </a:cubicBezTo>
                  <a:cubicBezTo>
                    <a:pt x="8" y="25"/>
                    <a:pt x="8" y="25"/>
                    <a:pt x="8" y="25"/>
                  </a:cubicBezTo>
                  <a:cubicBezTo>
                    <a:pt x="8" y="27"/>
                    <a:pt x="9" y="29"/>
                    <a:pt x="11" y="29"/>
                  </a:cubicBezTo>
                  <a:cubicBezTo>
                    <a:pt x="47" y="29"/>
                    <a:pt x="47" y="29"/>
                    <a:pt x="47" y="29"/>
                  </a:cubicBezTo>
                  <a:cubicBezTo>
                    <a:pt x="47" y="140"/>
                    <a:pt x="47" y="140"/>
                    <a:pt x="47"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7" y="140"/>
                    <a:pt x="125" y="140"/>
                  </a:cubicBezTo>
                  <a:cubicBezTo>
                    <a:pt x="76" y="140"/>
                    <a:pt x="76" y="140"/>
                    <a:pt x="76" y="140"/>
                  </a:cubicBezTo>
                  <a:cubicBezTo>
                    <a:pt x="76" y="4"/>
                    <a:pt x="76" y="4"/>
                    <a:pt x="76" y="4"/>
                  </a:cubicBezTo>
                  <a:cubicBezTo>
                    <a:pt x="75" y="1"/>
                    <a:pt x="74" y="0"/>
                    <a:pt x="72" y="0"/>
                  </a:cubicBez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21" name="Freeform 7">
              <a:extLst>
                <a:ext uri="{FF2B5EF4-FFF2-40B4-BE49-F238E27FC236}">
                  <a16:creationId xmlns:a16="http://schemas.microsoft.com/office/drawing/2014/main" id="{0D986EC0-5473-4884-81B3-875C9DA7C543}"/>
                </a:ext>
              </a:extLst>
            </p:cNvPr>
            <p:cNvSpPr>
              <a:spLocks/>
            </p:cNvSpPr>
            <p:nvPr userDrawn="1"/>
          </p:nvSpPr>
          <p:spPr bwMode="auto">
            <a:xfrm>
              <a:off x="4361" y="1728"/>
              <a:ext cx="297" cy="464"/>
            </a:xfrm>
            <a:custGeom>
              <a:avLst/>
              <a:gdLst>
                <a:gd name="T0" fmla="*/ 132 w 157"/>
                <a:gd name="T1" fmla="*/ 0 h 245"/>
                <a:gd name="T2" fmla="*/ 127 w 157"/>
                <a:gd name="T3" fmla="*/ 3 h 245"/>
                <a:gd name="T4" fmla="*/ 127 w 157"/>
                <a:gd name="T5" fmla="*/ 3 h 245"/>
                <a:gd name="T6" fmla="*/ 79 w 157"/>
                <a:gd name="T7" fmla="*/ 128 h 245"/>
                <a:gd name="T8" fmla="*/ 30 w 157"/>
                <a:gd name="T9" fmla="*/ 4 h 245"/>
                <a:gd name="T10" fmla="*/ 25 w 157"/>
                <a:gd name="T11" fmla="*/ 0 h 245"/>
                <a:gd name="T12" fmla="*/ 4 w 157"/>
                <a:gd name="T13" fmla="*/ 0 h 245"/>
                <a:gd name="T14" fmla="*/ 0 w 157"/>
                <a:gd name="T15" fmla="*/ 3 h 245"/>
                <a:gd name="T16" fmla="*/ 1 w 157"/>
                <a:gd name="T17" fmla="*/ 6 h 245"/>
                <a:gd name="T18" fmla="*/ 1 w 157"/>
                <a:gd name="T19" fmla="*/ 6 h 245"/>
                <a:gd name="T20" fmla="*/ 1 w 157"/>
                <a:gd name="T21" fmla="*/ 6 h 245"/>
                <a:gd name="T22" fmla="*/ 64 w 157"/>
                <a:gd name="T23" fmla="*/ 168 h 245"/>
                <a:gd name="T24" fmla="*/ 59 w 157"/>
                <a:gd name="T25" fmla="*/ 182 h 245"/>
                <a:gd name="T26" fmla="*/ 48 w 157"/>
                <a:gd name="T27" fmla="*/ 205 h 245"/>
                <a:gd name="T28" fmla="*/ 38 w 157"/>
                <a:gd name="T29" fmla="*/ 215 h 245"/>
                <a:gd name="T30" fmla="*/ 30 w 157"/>
                <a:gd name="T31" fmla="*/ 217 h 245"/>
                <a:gd name="T32" fmla="*/ 26 w 157"/>
                <a:gd name="T33" fmla="*/ 216 h 245"/>
                <a:gd name="T34" fmla="*/ 14 w 157"/>
                <a:gd name="T35" fmla="*/ 213 h 245"/>
                <a:gd name="T36" fmla="*/ 7 w 157"/>
                <a:gd name="T37" fmla="*/ 210 h 245"/>
                <a:gd name="T38" fmla="*/ 3 w 157"/>
                <a:gd name="T39" fmla="*/ 215 h 245"/>
                <a:gd name="T40" fmla="*/ 3 w 157"/>
                <a:gd name="T41" fmla="*/ 233 h 245"/>
                <a:gd name="T42" fmla="*/ 3 w 157"/>
                <a:gd name="T43" fmla="*/ 233 h 245"/>
                <a:gd name="T44" fmla="*/ 7 w 157"/>
                <a:gd name="T45" fmla="*/ 240 h 245"/>
                <a:gd name="T46" fmla="*/ 32 w 157"/>
                <a:gd name="T47" fmla="*/ 245 h 245"/>
                <a:gd name="T48" fmla="*/ 54 w 157"/>
                <a:gd name="T49" fmla="*/ 238 h 245"/>
                <a:gd name="T50" fmla="*/ 73 w 157"/>
                <a:gd name="T51" fmla="*/ 220 h 245"/>
                <a:gd name="T52" fmla="*/ 79 w 157"/>
                <a:gd name="T53" fmla="*/ 208 h 245"/>
                <a:gd name="T54" fmla="*/ 156 w 157"/>
                <a:gd name="T55" fmla="*/ 6 h 245"/>
                <a:gd name="T56" fmla="*/ 157 w 157"/>
                <a:gd name="T57" fmla="*/ 3 h 245"/>
                <a:gd name="T58" fmla="*/ 153 w 157"/>
                <a:gd name="T59" fmla="*/ 0 h 245"/>
                <a:gd name="T60" fmla="*/ 132 w 157"/>
                <a:gd name="T6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7" h="245">
                  <a:moveTo>
                    <a:pt x="132" y="0"/>
                  </a:moveTo>
                  <a:cubicBezTo>
                    <a:pt x="129" y="0"/>
                    <a:pt x="128" y="1"/>
                    <a:pt x="127" y="3"/>
                  </a:cubicBezTo>
                  <a:cubicBezTo>
                    <a:pt x="127" y="3"/>
                    <a:pt x="127" y="3"/>
                    <a:pt x="127" y="3"/>
                  </a:cubicBezTo>
                  <a:cubicBezTo>
                    <a:pt x="79" y="128"/>
                    <a:pt x="79" y="128"/>
                    <a:pt x="79" y="128"/>
                  </a:cubicBezTo>
                  <a:cubicBezTo>
                    <a:pt x="30" y="4"/>
                    <a:pt x="30" y="4"/>
                    <a:pt x="30" y="4"/>
                  </a:cubicBezTo>
                  <a:cubicBezTo>
                    <a:pt x="29" y="1"/>
                    <a:pt x="28" y="0"/>
                    <a:pt x="25" y="0"/>
                  </a:cubicBezTo>
                  <a:cubicBezTo>
                    <a:pt x="4" y="0"/>
                    <a:pt x="4" y="0"/>
                    <a:pt x="4" y="0"/>
                  </a:cubicBezTo>
                  <a:cubicBezTo>
                    <a:pt x="2" y="0"/>
                    <a:pt x="0" y="1"/>
                    <a:pt x="0" y="3"/>
                  </a:cubicBezTo>
                  <a:cubicBezTo>
                    <a:pt x="0" y="4"/>
                    <a:pt x="1" y="5"/>
                    <a:pt x="1" y="6"/>
                  </a:cubicBezTo>
                  <a:cubicBezTo>
                    <a:pt x="1" y="6"/>
                    <a:pt x="1" y="6"/>
                    <a:pt x="1" y="6"/>
                  </a:cubicBezTo>
                  <a:cubicBezTo>
                    <a:pt x="1" y="6"/>
                    <a:pt x="1" y="6"/>
                    <a:pt x="1" y="6"/>
                  </a:cubicBezTo>
                  <a:cubicBezTo>
                    <a:pt x="64" y="168"/>
                    <a:pt x="64" y="168"/>
                    <a:pt x="64" y="168"/>
                  </a:cubicBezTo>
                  <a:cubicBezTo>
                    <a:pt x="59" y="182"/>
                    <a:pt x="59" y="182"/>
                    <a:pt x="59" y="182"/>
                  </a:cubicBezTo>
                  <a:cubicBezTo>
                    <a:pt x="57" y="187"/>
                    <a:pt x="53" y="199"/>
                    <a:pt x="48" y="205"/>
                  </a:cubicBezTo>
                  <a:cubicBezTo>
                    <a:pt x="44" y="211"/>
                    <a:pt x="42" y="213"/>
                    <a:pt x="38" y="215"/>
                  </a:cubicBezTo>
                  <a:cubicBezTo>
                    <a:pt x="35" y="216"/>
                    <a:pt x="33" y="217"/>
                    <a:pt x="30" y="217"/>
                  </a:cubicBezTo>
                  <a:cubicBezTo>
                    <a:pt x="28" y="217"/>
                    <a:pt x="27" y="217"/>
                    <a:pt x="26" y="216"/>
                  </a:cubicBezTo>
                  <a:cubicBezTo>
                    <a:pt x="22" y="216"/>
                    <a:pt x="18" y="214"/>
                    <a:pt x="14" y="213"/>
                  </a:cubicBezTo>
                  <a:cubicBezTo>
                    <a:pt x="11" y="212"/>
                    <a:pt x="9" y="210"/>
                    <a:pt x="7" y="210"/>
                  </a:cubicBezTo>
                  <a:cubicBezTo>
                    <a:pt x="5" y="210"/>
                    <a:pt x="3" y="212"/>
                    <a:pt x="3" y="215"/>
                  </a:cubicBezTo>
                  <a:cubicBezTo>
                    <a:pt x="3" y="233"/>
                    <a:pt x="3" y="233"/>
                    <a:pt x="3" y="233"/>
                  </a:cubicBezTo>
                  <a:cubicBezTo>
                    <a:pt x="3" y="233"/>
                    <a:pt x="3" y="233"/>
                    <a:pt x="3" y="233"/>
                  </a:cubicBezTo>
                  <a:cubicBezTo>
                    <a:pt x="3" y="236"/>
                    <a:pt x="4" y="238"/>
                    <a:pt x="7" y="240"/>
                  </a:cubicBezTo>
                  <a:cubicBezTo>
                    <a:pt x="15" y="243"/>
                    <a:pt x="21" y="245"/>
                    <a:pt x="32" y="245"/>
                  </a:cubicBezTo>
                  <a:cubicBezTo>
                    <a:pt x="41" y="244"/>
                    <a:pt x="47" y="242"/>
                    <a:pt x="54" y="238"/>
                  </a:cubicBezTo>
                  <a:cubicBezTo>
                    <a:pt x="61" y="233"/>
                    <a:pt x="67" y="227"/>
                    <a:pt x="73" y="220"/>
                  </a:cubicBezTo>
                  <a:cubicBezTo>
                    <a:pt x="75" y="216"/>
                    <a:pt x="77" y="212"/>
                    <a:pt x="79" y="208"/>
                  </a:cubicBezTo>
                  <a:cubicBezTo>
                    <a:pt x="83" y="200"/>
                    <a:pt x="144" y="40"/>
                    <a:pt x="156" y="6"/>
                  </a:cubicBezTo>
                  <a:cubicBezTo>
                    <a:pt x="157" y="5"/>
                    <a:pt x="157" y="4"/>
                    <a:pt x="157" y="3"/>
                  </a:cubicBezTo>
                  <a:cubicBezTo>
                    <a:pt x="157" y="1"/>
                    <a:pt x="155" y="0"/>
                    <a:pt x="153" y="0"/>
                  </a:cubicBezTo>
                  <a:lnTo>
                    <a:pt x="1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22" name="Freeform 8">
              <a:extLst>
                <a:ext uri="{FF2B5EF4-FFF2-40B4-BE49-F238E27FC236}">
                  <a16:creationId xmlns:a16="http://schemas.microsoft.com/office/drawing/2014/main" id="{CEAC8C8C-A319-4A4F-95A2-5FFCE55E3ADF}"/>
                </a:ext>
              </a:extLst>
            </p:cNvPr>
            <p:cNvSpPr>
              <a:spLocks/>
            </p:cNvSpPr>
            <p:nvPr userDrawn="1"/>
          </p:nvSpPr>
          <p:spPr bwMode="auto">
            <a:xfrm>
              <a:off x="3457" y="1726"/>
              <a:ext cx="263" cy="322"/>
            </a:xfrm>
            <a:custGeom>
              <a:avLst/>
              <a:gdLst>
                <a:gd name="T0" fmla="*/ 28 w 139"/>
                <a:gd name="T1" fmla="*/ 21 h 170"/>
                <a:gd name="T2" fmla="*/ 28 w 139"/>
                <a:gd name="T3" fmla="*/ 6 h 170"/>
                <a:gd name="T4" fmla="*/ 25 w 139"/>
                <a:gd name="T5" fmla="*/ 3 h 170"/>
                <a:gd name="T6" fmla="*/ 4 w 139"/>
                <a:gd name="T7" fmla="*/ 3 h 170"/>
                <a:gd name="T8" fmla="*/ 0 w 139"/>
                <a:gd name="T9" fmla="*/ 6 h 170"/>
                <a:gd name="T10" fmla="*/ 0 w 139"/>
                <a:gd name="T11" fmla="*/ 167 h 170"/>
                <a:gd name="T12" fmla="*/ 4 w 139"/>
                <a:gd name="T13" fmla="*/ 170 h 170"/>
                <a:gd name="T14" fmla="*/ 25 w 139"/>
                <a:gd name="T15" fmla="*/ 170 h 170"/>
                <a:gd name="T16" fmla="*/ 28 w 139"/>
                <a:gd name="T17" fmla="*/ 167 h 170"/>
                <a:gd name="T18" fmla="*/ 28 w 139"/>
                <a:gd name="T19" fmla="*/ 68 h 170"/>
                <a:gd name="T20" fmla="*/ 70 w 139"/>
                <a:gd name="T21" fmla="*/ 28 h 170"/>
                <a:gd name="T22" fmla="*/ 111 w 139"/>
                <a:gd name="T23" fmla="*/ 68 h 170"/>
                <a:gd name="T24" fmla="*/ 111 w 139"/>
                <a:gd name="T25" fmla="*/ 167 h 170"/>
                <a:gd name="T26" fmla="*/ 111 w 139"/>
                <a:gd name="T27" fmla="*/ 167 h 170"/>
                <a:gd name="T28" fmla="*/ 114 w 139"/>
                <a:gd name="T29" fmla="*/ 170 h 170"/>
                <a:gd name="T30" fmla="*/ 136 w 139"/>
                <a:gd name="T31" fmla="*/ 170 h 170"/>
                <a:gd name="T32" fmla="*/ 139 w 139"/>
                <a:gd name="T33" fmla="*/ 167 h 170"/>
                <a:gd name="T34" fmla="*/ 139 w 139"/>
                <a:gd name="T35" fmla="*/ 68 h 170"/>
                <a:gd name="T36" fmla="*/ 139 w 139"/>
                <a:gd name="T37" fmla="*/ 68 h 170"/>
                <a:gd name="T38" fmla="*/ 139 w 139"/>
                <a:gd name="T39" fmla="*/ 68 h 170"/>
                <a:gd name="T40" fmla="*/ 120 w 139"/>
                <a:gd name="T41" fmla="*/ 20 h 170"/>
                <a:gd name="T42" fmla="*/ 70 w 139"/>
                <a:gd name="T43" fmla="*/ 0 h 170"/>
                <a:gd name="T44" fmla="*/ 28 w 139"/>
                <a:gd name="T45" fmla="*/ 2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170">
                  <a:moveTo>
                    <a:pt x="28" y="21"/>
                  </a:moveTo>
                  <a:cubicBezTo>
                    <a:pt x="28" y="6"/>
                    <a:pt x="28" y="6"/>
                    <a:pt x="28" y="6"/>
                  </a:cubicBezTo>
                  <a:cubicBezTo>
                    <a:pt x="28" y="4"/>
                    <a:pt x="27" y="3"/>
                    <a:pt x="25" y="3"/>
                  </a:cubicBezTo>
                  <a:cubicBezTo>
                    <a:pt x="4" y="3"/>
                    <a:pt x="4" y="3"/>
                    <a:pt x="4" y="3"/>
                  </a:cubicBezTo>
                  <a:cubicBezTo>
                    <a:pt x="1" y="3"/>
                    <a:pt x="0" y="4"/>
                    <a:pt x="0" y="6"/>
                  </a:cubicBezTo>
                  <a:cubicBezTo>
                    <a:pt x="0" y="167"/>
                    <a:pt x="0" y="167"/>
                    <a:pt x="0" y="167"/>
                  </a:cubicBezTo>
                  <a:cubicBezTo>
                    <a:pt x="0" y="169"/>
                    <a:pt x="1" y="170"/>
                    <a:pt x="4" y="170"/>
                  </a:cubicBezTo>
                  <a:cubicBezTo>
                    <a:pt x="25" y="170"/>
                    <a:pt x="25" y="170"/>
                    <a:pt x="25" y="170"/>
                  </a:cubicBezTo>
                  <a:cubicBezTo>
                    <a:pt x="27" y="170"/>
                    <a:pt x="28" y="169"/>
                    <a:pt x="28" y="167"/>
                  </a:cubicBezTo>
                  <a:cubicBezTo>
                    <a:pt x="28" y="68"/>
                    <a:pt x="28" y="68"/>
                    <a:pt x="28" y="68"/>
                  </a:cubicBezTo>
                  <a:cubicBezTo>
                    <a:pt x="28" y="49"/>
                    <a:pt x="42" y="28"/>
                    <a:pt x="70" y="28"/>
                  </a:cubicBezTo>
                  <a:cubicBezTo>
                    <a:pt x="97" y="28"/>
                    <a:pt x="111" y="49"/>
                    <a:pt x="111" y="68"/>
                  </a:cubicBezTo>
                  <a:cubicBezTo>
                    <a:pt x="111" y="167"/>
                    <a:pt x="111" y="167"/>
                    <a:pt x="111" y="167"/>
                  </a:cubicBezTo>
                  <a:cubicBezTo>
                    <a:pt x="111" y="167"/>
                    <a:pt x="111" y="167"/>
                    <a:pt x="111" y="167"/>
                  </a:cubicBezTo>
                  <a:cubicBezTo>
                    <a:pt x="111" y="169"/>
                    <a:pt x="112" y="170"/>
                    <a:pt x="114" y="170"/>
                  </a:cubicBezTo>
                  <a:cubicBezTo>
                    <a:pt x="136" y="170"/>
                    <a:pt x="136" y="170"/>
                    <a:pt x="136" y="170"/>
                  </a:cubicBezTo>
                  <a:cubicBezTo>
                    <a:pt x="138" y="170"/>
                    <a:pt x="139" y="169"/>
                    <a:pt x="139" y="167"/>
                  </a:cubicBezTo>
                  <a:cubicBezTo>
                    <a:pt x="139" y="68"/>
                    <a:pt x="139" y="68"/>
                    <a:pt x="139" y="68"/>
                  </a:cubicBezTo>
                  <a:cubicBezTo>
                    <a:pt x="139" y="68"/>
                    <a:pt x="139" y="68"/>
                    <a:pt x="139" y="68"/>
                  </a:cubicBezTo>
                  <a:cubicBezTo>
                    <a:pt x="139" y="68"/>
                    <a:pt x="139" y="68"/>
                    <a:pt x="139" y="68"/>
                  </a:cubicBezTo>
                  <a:cubicBezTo>
                    <a:pt x="139" y="51"/>
                    <a:pt x="133" y="35"/>
                    <a:pt x="120" y="20"/>
                  </a:cubicBezTo>
                  <a:cubicBezTo>
                    <a:pt x="109" y="7"/>
                    <a:pt x="88" y="0"/>
                    <a:pt x="70" y="0"/>
                  </a:cubicBezTo>
                  <a:cubicBezTo>
                    <a:pt x="41" y="0"/>
                    <a:pt x="28" y="21"/>
                    <a:pt x="28"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23" name="Freeform 9">
              <a:extLst>
                <a:ext uri="{FF2B5EF4-FFF2-40B4-BE49-F238E27FC236}">
                  <a16:creationId xmlns:a16="http://schemas.microsoft.com/office/drawing/2014/main" id="{F28C50EA-77B2-44BA-85E0-41720CE671B9}"/>
                </a:ext>
              </a:extLst>
            </p:cNvPr>
            <p:cNvSpPr>
              <a:spLocks/>
            </p:cNvSpPr>
            <p:nvPr userDrawn="1"/>
          </p:nvSpPr>
          <p:spPr bwMode="auto">
            <a:xfrm>
              <a:off x="2264" y="1724"/>
              <a:ext cx="246" cy="328"/>
            </a:xfrm>
            <a:custGeom>
              <a:avLst/>
              <a:gdLst>
                <a:gd name="T0" fmla="*/ 4 w 130"/>
                <a:gd name="T1" fmla="*/ 48 h 173"/>
                <a:gd name="T2" fmla="*/ 56 w 130"/>
                <a:gd name="T3" fmla="*/ 97 h 173"/>
                <a:gd name="T4" fmla="*/ 57 w 130"/>
                <a:gd name="T5" fmla="*/ 98 h 173"/>
                <a:gd name="T6" fmla="*/ 101 w 130"/>
                <a:gd name="T7" fmla="*/ 124 h 173"/>
                <a:gd name="T8" fmla="*/ 66 w 130"/>
                <a:gd name="T9" fmla="*/ 146 h 173"/>
                <a:gd name="T10" fmla="*/ 30 w 130"/>
                <a:gd name="T11" fmla="*/ 118 h 173"/>
                <a:gd name="T12" fmla="*/ 26 w 130"/>
                <a:gd name="T13" fmla="*/ 114 h 173"/>
                <a:gd name="T14" fmla="*/ 5 w 130"/>
                <a:gd name="T15" fmla="*/ 114 h 173"/>
                <a:gd name="T16" fmla="*/ 0 w 130"/>
                <a:gd name="T17" fmla="*/ 118 h 173"/>
                <a:gd name="T18" fmla="*/ 65 w 130"/>
                <a:gd name="T19" fmla="*/ 173 h 173"/>
                <a:gd name="T20" fmla="*/ 130 w 130"/>
                <a:gd name="T21" fmla="*/ 120 h 173"/>
                <a:gd name="T22" fmla="*/ 72 w 130"/>
                <a:gd name="T23" fmla="*/ 74 h 173"/>
                <a:gd name="T24" fmla="*/ 32 w 130"/>
                <a:gd name="T25" fmla="*/ 48 h 173"/>
                <a:gd name="T26" fmla="*/ 63 w 130"/>
                <a:gd name="T27" fmla="*/ 27 h 173"/>
                <a:gd name="T28" fmla="*/ 97 w 130"/>
                <a:gd name="T29" fmla="*/ 49 h 173"/>
                <a:gd name="T30" fmla="*/ 102 w 130"/>
                <a:gd name="T31" fmla="*/ 53 h 173"/>
                <a:gd name="T32" fmla="*/ 120 w 130"/>
                <a:gd name="T33" fmla="*/ 53 h 173"/>
                <a:gd name="T34" fmla="*/ 125 w 130"/>
                <a:gd name="T35" fmla="*/ 48 h 173"/>
                <a:gd name="T36" fmla="*/ 63 w 130"/>
                <a:gd name="T37" fmla="*/ 0 h 173"/>
                <a:gd name="T38" fmla="*/ 4 w 130"/>
                <a:gd name="T39" fmla="*/ 4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173">
                  <a:moveTo>
                    <a:pt x="4" y="48"/>
                  </a:moveTo>
                  <a:cubicBezTo>
                    <a:pt x="4" y="77"/>
                    <a:pt x="19" y="91"/>
                    <a:pt x="56" y="97"/>
                  </a:cubicBezTo>
                  <a:cubicBezTo>
                    <a:pt x="57" y="98"/>
                    <a:pt x="57" y="98"/>
                    <a:pt x="57" y="98"/>
                  </a:cubicBezTo>
                  <a:cubicBezTo>
                    <a:pt x="83" y="102"/>
                    <a:pt x="101" y="105"/>
                    <a:pt x="101" y="124"/>
                  </a:cubicBezTo>
                  <a:cubicBezTo>
                    <a:pt x="101" y="139"/>
                    <a:pt x="83" y="146"/>
                    <a:pt x="66" y="146"/>
                  </a:cubicBezTo>
                  <a:cubicBezTo>
                    <a:pt x="46" y="146"/>
                    <a:pt x="33" y="136"/>
                    <a:pt x="30" y="118"/>
                  </a:cubicBezTo>
                  <a:cubicBezTo>
                    <a:pt x="30" y="116"/>
                    <a:pt x="29" y="114"/>
                    <a:pt x="26" y="114"/>
                  </a:cubicBezTo>
                  <a:cubicBezTo>
                    <a:pt x="5" y="114"/>
                    <a:pt x="5" y="114"/>
                    <a:pt x="5" y="114"/>
                  </a:cubicBezTo>
                  <a:cubicBezTo>
                    <a:pt x="2" y="114"/>
                    <a:pt x="0" y="116"/>
                    <a:pt x="0" y="118"/>
                  </a:cubicBezTo>
                  <a:cubicBezTo>
                    <a:pt x="0" y="150"/>
                    <a:pt x="27" y="173"/>
                    <a:pt x="65" y="173"/>
                  </a:cubicBezTo>
                  <a:cubicBezTo>
                    <a:pt x="104" y="173"/>
                    <a:pt x="130" y="151"/>
                    <a:pt x="130" y="120"/>
                  </a:cubicBezTo>
                  <a:cubicBezTo>
                    <a:pt x="130" y="86"/>
                    <a:pt x="100" y="79"/>
                    <a:pt x="72" y="74"/>
                  </a:cubicBezTo>
                  <a:cubicBezTo>
                    <a:pt x="37" y="68"/>
                    <a:pt x="32" y="58"/>
                    <a:pt x="32" y="48"/>
                  </a:cubicBezTo>
                  <a:cubicBezTo>
                    <a:pt x="32" y="32"/>
                    <a:pt x="49" y="27"/>
                    <a:pt x="63" y="27"/>
                  </a:cubicBezTo>
                  <a:cubicBezTo>
                    <a:pt x="82" y="27"/>
                    <a:pt x="94" y="34"/>
                    <a:pt x="97" y="49"/>
                  </a:cubicBezTo>
                  <a:cubicBezTo>
                    <a:pt x="98" y="51"/>
                    <a:pt x="98" y="53"/>
                    <a:pt x="102" y="53"/>
                  </a:cubicBezTo>
                  <a:cubicBezTo>
                    <a:pt x="120" y="53"/>
                    <a:pt x="120" y="53"/>
                    <a:pt x="120" y="53"/>
                  </a:cubicBezTo>
                  <a:cubicBezTo>
                    <a:pt x="123" y="53"/>
                    <a:pt x="125" y="51"/>
                    <a:pt x="125" y="48"/>
                  </a:cubicBezTo>
                  <a:cubicBezTo>
                    <a:pt x="125" y="19"/>
                    <a:pt x="100" y="0"/>
                    <a:pt x="63" y="0"/>
                  </a:cubicBezTo>
                  <a:cubicBezTo>
                    <a:pt x="22" y="0"/>
                    <a:pt x="4" y="25"/>
                    <a:pt x="4" y="4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24" name="Freeform 10">
              <a:extLst>
                <a:ext uri="{FF2B5EF4-FFF2-40B4-BE49-F238E27FC236}">
                  <a16:creationId xmlns:a16="http://schemas.microsoft.com/office/drawing/2014/main" id="{29C9869C-B6EC-4057-A952-E2CE4A44C368}"/>
                </a:ext>
              </a:extLst>
            </p:cNvPr>
            <p:cNvSpPr>
              <a:spLocks/>
            </p:cNvSpPr>
            <p:nvPr userDrawn="1"/>
          </p:nvSpPr>
          <p:spPr bwMode="auto">
            <a:xfrm>
              <a:off x="3062" y="1722"/>
              <a:ext cx="312" cy="474"/>
            </a:xfrm>
            <a:custGeom>
              <a:avLst/>
              <a:gdLst>
                <a:gd name="T0" fmla="*/ 67 w 165"/>
                <a:gd name="T1" fmla="*/ 0 h 250"/>
                <a:gd name="T2" fmla="*/ 0 w 165"/>
                <a:gd name="T3" fmla="*/ 86 h 250"/>
                <a:gd name="T4" fmla="*/ 82 w 165"/>
                <a:gd name="T5" fmla="*/ 174 h 250"/>
                <a:gd name="T6" fmla="*/ 137 w 165"/>
                <a:gd name="T7" fmla="*/ 152 h 250"/>
                <a:gd name="T8" fmla="*/ 137 w 165"/>
                <a:gd name="T9" fmla="*/ 173 h 250"/>
                <a:gd name="T10" fmla="*/ 89 w 165"/>
                <a:gd name="T11" fmla="*/ 222 h 250"/>
                <a:gd name="T12" fmla="*/ 48 w 165"/>
                <a:gd name="T13" fmla="*/ 194 h 250"/>
                <a:gd name="T14" fmla="*/ 43 w 165"/>
                <a:gd name="T15" fmla="*/ 190 h 250"/>
                <a:gd name="T16" fmla="*/ 24 w 165"/>
                <a:gd name="T17" fmla="*/ 190 h 250"/>
                <a:gd name="T18" fmla="*/ 19 w 165"/>
                <a:gd name="T19" fmla="*/ 195 h 250"/>
                <a:gd name="T20" fmla="*/ 89 w 165"/>
                <a:gd name="T21" fmla="*/ 250 h 250"/>
                <a:gd name="T22" fmla="*/ 165 w 165"/>
                <a:gd name="T23" fmla="*/ 174 h 250"/>
                <a:gd name="T24" fmla="*/ 165 w 165"/>
                <a:gd name="T25" fmla="*/ 7 h 250"/>
                <a:gd name="T26" fmla="*/ 162 w 165"/>
                <a:gd name="T27" fmla="*/ 4 h 250"/>
                <a:gd name="T28" fmla="*/ 140 w 165"/>
                <a:gd name="T29" fmla="*/ 4 h 250"/>
                <a:gd name="T30" fmla="*/ 137 w 165"/>
                <a:gd name="T31" fmla="*/ 7 h 250"/>
                <a:gd name="T32" fmla="*/ 137 w 165"/>
                <a:gd name="T33" fmla="*/ 21 h 250"/>
                <a:gd name="T34" fmla="*/ 99 w 165"/>
                <a:gd name="T35" fmla="*/ 0 h 250"/>
                <a:gd name="T36" fmla="*/ 96 w 165"/>
                <a:gd name="T37" fmla="*/ 3 h 250"/>
                <a:gd name="T38" fmla="*/ 96 w 165"/>
                <a:gd name="T39" fmla="*/ 28 h 250"/>
                <a:gd name="T40" fmla="*/ 97 w 165"/>
                <a:gd name="T41" fmla="*/ 31 h 250"/>
                <a:gd name="T42" fmla="*/ 138 w 165"/>
                <a:gd name="T43" fmla="*/ 87 h 250"/>
                <a:gd name="T44" fmla="*/ 83 w 165"/>
                <a:gd name="T45" fmla="*/ 146 h 250"/>
                <a:gd name="T46" fmla="*/ 29 w 165"/>
                <a:gd name="T47" fmla="*/ 87 h 250"/>
                <a:gd name="T48" fmla="*/ 68 w 165"/>
                <a:gd name="T49" fmla="*/ 31 h 250"/>
                <a:gd name="T50" fmla="*/ 70 w 165"/>
                <a:gd name="T51" fmla="*/ 29 h 250"/>
                <a:gd name="T52" fmla="*/ 70 w 165"/>
                <a:gd name="T53" fmla="*/ 3 h 250"/>
                <a:gd name="T54" fmla="*/ 67 w 165"/>
                <a:gd name="T55" fmla="*/ 0 h 250"/>
                <a:gd name="T56" fmla="*/ 67 w 165"/>
                <a:gd name="T57"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5" h="250">
                  <a:moveTo>
                    <a:pt x="67" y="0"/>
                  </a:moveTo>
                  <a:cubicBezTo>
                    <a:pt x="29" y="8"/>
                    <a:pt x="0" y="44"/>
                    <a:pt x="0" y="86"/>
                  </a:cubicBezTo>
                  <a:cubicBezTo>
                    <a:pt x="0" y="135"/>
                    <a:pt x="37" y="174"/>
                    <a:pt x="82" y="174"/>
                  </a:cubicBezTo>
                  <a:cubicBezTo>
                    <a:pt x="103" y="174"/>
                    <a:pt x="122" y="166"/>
                    <a:pt x="137" y="152"/>
                  </a:cubicBezTo>
                  <a:cubicBezTo>
                    <a:pt x="137" y="173"/>
                    <a:pt x="137" y="173"/>
                    <a:pt x="137" y="173"/>
                  </a:cubicBezTo>
                  <a:cubicBezTo>
                    <a:pt x="137" y="205"/>
                    <a:pt x="120" y="222"/>
                    <a:pt x="89" y="222"/>
                  </a:cubicBezTo>
                  <a:cubicBezTo>
                    <a:pt x="66" y="222"/>
                    <a:pt x="52" y="213"/>
                    <a:pt x="48" y="194"/>
                  </a:cubicBezTo>
                  <a:cubicBezTo>
                    <a:pt x="47" y="192"/>
                    <a:pt x="46" y="190"/>
                    <a:pt x="43" y="190"/>
                  </a:cubicBezTo>
                  <a:cubicBezTo>
                    <a:pt x="24" y="190"/>
                    <a:pt x="24" y="190"/>
                    <a:pt x="24" y="190"/>
                  </a:cubicBezTo>
                  <a:cubicBezTo>
                    <a:pt x="21" y="190"/>
                    <a:pt x="19" y="192"/>
                    <a:pt x="19" y="195"/>
                  </a:cubicBezTo>
                  <a:cubicBezTo>
                    <a:pt x="22" y="228"/>
                    <a:pt x="51" y="250"/>
                    <a:pt x="89" y="250"/>
                  </a:cubicBezTo>
                  <a:cubicBezTo>
                    <a:pt x="135" y="250"/>
                    <a:pt x="165" y="219"/>
                    <a:pt x="165" y="174"/>
                  </a:cubicBezTo>
                  <a:cubicBezTo>
                    <a:pt x="165" y="7"/>
                    <a:pt x="165" y="7"/>
                    <a:pt x="165" y="7"/>
                  </a:cubicBezTo>
                  <a:cubicBezTo>
                    <a:pt x="165" y="5"/>
                    <a:pt x="164" y="4"/>
                    <a:pt x="162" y="4"/>
                  </a:cubicBezTo>
                  <a:cubicBezTo>
                    <a:pt x="140" y="4"/>
                    <a:pt x="140" y="4"/>
                    <a:pt x="140" y="4"/>
                  </a:cubicBezTo>
                  <a:cubicBezTo>
                    <a:pt x="138" y="4"/>
                    <a:pt x="137" y="5"/>
                    <a:pt x="137" y="7"/>
                  </a:cubicBezTo>
                  <a:cubicBezTo>
                    <a:pt x="137" y="21"/>
                    <a:pt x="137" y="21"/>
                    <a:pt x="137" y="21"/>
                  </a:cubicBezTo>
                  <a:cubicBezTo>
                    <a:pt x="126" y="11"/>
                    <a:pt x="113" y="4"/>
                    <a:pt x="99" y="0"/>
                  </a:cubicBezTo>
                  <a:cubicBezTo>
                    <a:pt x="97" y="0"/>
                    <a:pt x="96" y="1"/>
                    <a:pt x="96" y="3"/>
                  </a:cubicBezTo>
                  <a:cubicBezTo>
                    <a:pt x="96" y="28"/>
                    <a:pt x="96" y="28"/>
                    <a:pt x="96" y="28"/>
                  </a:cubicBezTo>
                  <a:cubicBezTo>
                    <a:pt x="96" y="29"/>
                    <a:pt x="96" y="30"/>
                    <a:pt x="97" y="31"/>
                  </a:cubicBezTo>
                  <a:cubicBezTo>
                    <a:pt x="121" y="37"/>
                    <a:pt x="138" y="60"/>
                    <a:pt x="138" y="87"/>
                  </a:cubicBezTo>
                  <a:cubicBezTo>
                    <a:pt x="138" y="119"/>
                    <a:pt x="114" y="146"/>
                    <a:pt x="83" y="146"/>
                  </a:cubicBezTo>
                  <a:cubicBezTo>
                    <a:pt x="53" y="146"/>
                    <a:pt x="29" y="119"/>
                    <a:pt x="29" y="87"/>
                  </a:cubicBezTo>
                  <a:cubicBezTo>
                    <a:pt x="29" y="61"/>
                    <a:pt x="45" y="38"/>
                    <a:pt x="68" y="31"/>
                  </a:cubicBezTo>
                  <a:cubicBezTo>
                    <a:pt x="69" y="31"/>
                    <a:pt x="70" y="30"/>
                    <a:pt x="70" y="29"/>
                  </a:cubicBezTo>
                  <a:cubicBezTo>
                    <a:pt x="70" y="3"/>
                    <a:pt x="70" y="3"/>
                    <a:pt x="70" y="3"/>
                  </a:cubicBezTo>
                  <a:cubicBezTo>
                    <a:pt x="70" y="1"/>
                    <a:pt x="69" y="0"/>
                    <a:pt x="67" y="0"/>
                  </a:cubicBezTo>
                  <a:cubicBezTo>
                    <a:pt x="67" y="0"/>
                    <a:pt x="67" y="0"/>
                    <a:pt x="6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25" name="Oval 11">
              <a:extLst>
                <a:ext uri="{FF2B5EF4-FFF2-40B4-BE49-F238E27FC236}">
                  <a16:creationId xmlns:a16="http://schemas.microsoft.com/office/drawing/2014/main" id="{873AF13F-0640-4C6D-8CAF-BB8A2322C17A}"/>
                </a:ext>
              </a:extLst>
            </p:cNvPr>
            <p:cNvSpPr>
              <a:spLocks noChangeArrowheads="1"/>
            </p:cNvSpPr>
            <p:nvPr userDrawn="1"/>
          </p:nvSpPr>
          <p:spPr bwMode="auto">
            <a:xfrm>
              <a:off x="284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26" name="Oval 12">
              <a:extLst>
                <a:ext uri="{FF2B5EF4-FFF2-40B4-BE49-F238E27FC236}">
                  <a16:creationId xmlns:a16="http://schemas.microsoft.com/office/drawing/2014/main" id="{982EC9D7-A8C0-4B37-9B60-32F310D91764}"/>
                </a:ext>
              </a:extLst>
            </p:cNvPr>
            <p:cNvSpPr>
              <a:spLocks noChangeArrowheads="1"/>
            </p:cNvSpPr>
            <p:nvPr userDrawn="1"/>
          </p:nvSpPr>
          <p:spPr bwMode="auto">
            <a:xfrm>
              <a:off x="387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27" name="Freeform 13">
              <a:extLst>
                <a:ext uri="{FF2B5EF4-FFF2-40B4-BE49-F238E27FC236}">
                  <a16:creationId xmlns:a16="http://schemas.microsoft.com/office/drawing/2014/main" id="{7D1A8101-5969-46D3-86E7-3F858A3779AD}"/>
                </a:ext>
              </a:extLst>
            </p:cNvPr>
            <p:cNvSpPr>
              <a:spLocks/>
            </p:cNvSpPr>
            <p:nvPr userDrawn="1"/>
          </p:nvSpPr>
          <p:spPr bwMode="auto">
            <a:xfrm>
              <a:off x="4062" y="1584"/>
              <a:ext cx="242" cy="462"/>
            </a:xfrm>
            <a:custGeom>
              <a:avLst/>
              <a:gdLst>
                <a:gd name="T0" fmla="*/ 39 w 128"/>
                <a:gd name="T1" fmla="*/ 55 h 244"/>
                <a:gd name="T2" fmla="*/ 39 w 128"/>
                <a:gd name="T3" fmla="*/ 76 h 244"/>
                <a:gd name="T4" fmla="*/ 4 w 128"/>
                <a:gd name="T5" fmla="*/ 76 h 244"/>
                <a:gd name="T6" fmla="*/ 0 w 128"/>
                <a:gd name="T7" fmla="*/ 81 h 244"/>
                <a:gd name="T8" fmla="*/ 0 w 128"/>
                <a:gd name="T9" fmla="*/ 99 h 244"/>
                <a:gd name="T10" fmla="*/ 4 w 128"/>
                <a:gd name="T11" fmla="*/ 103 h 244"/>
                <a:gd name="T12" fmla="*/ 39 w 128"/>
                <a:gd name="T13" fmla="*/ 103 h 244"/>
                <a:gd name="T14" fmla="*/ 39 w 128"/>
                <a:gd name="T15" fmla="*/ 239 h 244"/>
                <a:gd name="T16" fmla="*/ 44 w 128"/>
                <a:gd name="T17" fmla="*/ 244 h 244"/>
                <a:gd name="T18" fmla="*/ 62 w 128"/>
                <a:gd name="T19" fmla="*/ 244 h 244"/>
                <a:gd name="T20" fmla="*/ 67 w 128"/>
                <a:gd name="T21" fmla="*/ 239 h 244"/>
                <a:gd name="T22" fmla="*/ 67 w 128"/>
                <a:gd name="T23" fmla="*/ 103 h 244"/>
                <a:gd name="T24" fmla="*/ 120 w 128"/>
                <a:gd name="T25" fmla="*/ 103 h 244"/>
                <a:gd name="T26" fmla="*/ 125 w 128"/>
                <a:gd name="T27" fmla="*/ 99 h 244"/>
                <a:gd name="T28" fmla="*/ 125 w 128"/>
                <a:gd name="T29" fmla="*/ 81 h 244"/>
                <a:gd name="T30" fmla="*/ 120 w 128"/>
                <a:gd name="T31" fmla="*/ 76 h 244"/>
                <a:gd name="T32" fmla="*/ 67 w 128"/>
                <a:gd name="T33" fmla="*/ 76 h 244"/>
                <a:gd name="T34" fmla="*/ 67 w 128"/>
                <a:gd name="T35" fmla="*/ 55 h 244"/>
                <a:gd name="T36" fmla="*/ 91 w 128"/>
                <a:gd name="T37" fmla="*/ 27 h 244"/>
                <a:gd name="T38" fmla="*/ 122 w 128"/>
                <a:gd name="T39" fmla="*/ 37 h 244"/>
                <a:gd name="T40" fmla="*/ 125 w 128"/>
                <a:gd name="T41" fmla="*/ 38 h 244"/>
                <a:gd name="T42" fmla="*/ 128 w 128"/>
                <a:gd name="T43" fmla="*/ 33 h 244"/>
                <a:gd name="T44" fmla="*/ 128 w 128"/>
                <a:gd name="T45" fmla="*/ 16 h 244"/>
                <a:gd name="T46" fmla="*/ 125 w 128"/>
                <a:gd name="T47" fmla="*/ 9 h 244"/>
                <a:gd name="T48" fmla="*/ 89 w 128"/>
                <a:gd name="T49" fmla="*/ 0 h 244"/>
                <a:gd name="T50" fmla="*/ 39 w 128"/>
                <a:gd name="T51" fmla="*/ 5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244">
                  <a:moveTo>
                    <a:pt x="39" y="55"/>
                  </a:moveTo>
                  <a:cubicBezTo>
                    <a:pt x="39" y="76"/>
                    <a:pt x="39" y="76"/>
                    <a:pt x="39" y="76"/>
                  </a:cubicBezTo>
                  <a:cubicBezTo>
                    <a:pt x="4" y="76"/>
                    <a:pt x="4" y="76"/>
                    <a:pt x="4" y="76"/>
                  </a:cubicBezTo>
                  <a:cubicBezTo>
                    <a:pt x="1" y="76"/>
                    <a:pt x="0" y="78"/>
                    <a:pt x="0" y="81"/>
                  </a:cubicBezTo>
                  <a:cubicBezTo>
                    <a:pt x="0" y="99"/>
                    <a:pt x="0" y="99"/>
                    <a:pt x="0" y="99"/>
                  </a:cubicBezTo>
                  <a:cubicBezTo>
                    <a:pt x="0" y="102"/>
                    <a:pt x="1" y="103"/>
                    <a:pt x="4" y="103"/>
                  </a:cubicBezTo>
                  <a:cubicBezTo>
                    <a:pt x="39" y="103"/>
                    <a:pt x="39" y="103"/>
                    <a:pt x="39" y="103"/>
                  </a:cubicBezTo>
                  <a:cubicBezTo>
                    <a:pt x="39" y="239"/>
                    <a:pt x="39" y="239"/>
                    <a:pt x="39" y="239"/>
                  </a:cubicBezTo>
                  <a:cubicBezTo>
                    <a:pt x="39" y="242"/>
                    <a:pt x="41" y="244"/>
                    <a:pt x="44" y="244"/>
                  </a:cubicBezTo>
                  <a:cubicBezTo>
                    <a:pt x="62" y="244"/>
                    <a:pt x="62" y="244"/>
                    <a:pt x="62" y="244"/>
                  </a:cubicBezTo>
                  <a:cubicBezTo>
                    <a:pt x="65" y="244"/>
                    <a:pt x="67" y="242"/>
                    <a:pt x="67" y="239"/>
                  </a:cubicBezTo>
                  <a:cubicBezTo>
                    <a:pt x="67" y="103"/>
                    <a:pt x="67" y="103"/>
                    <a:pt x="67" y="103"/>
                  </a:cubicBezTo>
                  <a:cubicBezTo>
                    <a:pt x="120" y="103"/>
                    <a:pt x="120" y="103"/>
                    <a:pt x="120" y="103"/>
                  </a:cubicBezTo>
                  <a:cubicBezTo>
                    <a:pt x="123" y="103"/>
                    <a:pt x="125" y="102"/>
                    <a:pt x="125" y="99"/>
                  </a:cubicBezTo>
                  <a:cubicBezTo>
                    <a:pt x="125" y="81"/>
                    <a:pt x="125" y="81"/>
                    <a:pt x="125" y="81"/>
                  </a:cubicBezTo>
                  <a:cubicBezTo>
                    <a:pt x="125" y="78"/>
                    <a:pt x="123" y="76"/>
                    <a:pt x="120" y="76"/>
                  </a:cubicBezTo>
                  <a:cubicBezTo>
                    <a:pt x="67" y="76"/>
                    <a:pt x="67" y="76"/>
                    <a:pt x="67" y="76"/>
                  </a:cubicBezTo>
                  <a:cubicBezTo>
                    <a:pt x="67" y="55"/>
                    <a:pt x="67" y="55"/>
                    <a:pt x="67" y="55"/>
                  </a:cubicBezTo>
                  <a:cubicBezTo>
                    <a:pt x="67" y="38"/>
                    <a:pt x="76" y="27"/>
                    <a:pt x="91" y="27"/>
                  </a:cubicBezTo>
                  <a:cubicBezTo>
                    <a:pt x="102" y="27"/>
                    <a:pt x="110" y="30"/>
                    <a:pt x="122" y="37"/>
                  </a:cubicBezTo>
                  <a:cubicBezTo>
                    <a:pt x="123" y="38"/>
                    <a:pt x="124" y="38"/>
                    <a:pt x="125" y="38"/>
                  </a:cubicBezTo>
                  <a:cubicBezTo>
                    <a:pt x="127" y="38"/>
                    <a:pt x="128" y="36"/>
                    <a:pt x="128" y="33"/>
                  </a:cubicBezTo>
                  <a:cubicBezTo>
                    <a:pt x="128" y="16"/>
                    <a:pt x="128" y="16"/>
                    <a:pt x="128" y="16"/>
                  </a:cubicBezTo>
                  <a:cubicBezTo>
                    <a:pt x="128" y="13"/>
                    <a:pt x="128" y="11"/>
                    <a:pt x="125" y="9"/>
                  </a:cubicBezTo>
                  <a:cubicBezTo>
                    <a:pt x="114" y="3"/>
                    <a:pt x="103" y="0"/>
                    <a:pt x="89" y="0"/>
                  </a:cubicBezTo>
                  <a:cubicBezTo>
                    <a:pt x="54" y="0"/>
                    <a:pt x="39" y="29"/>
                    <a:pt x="39"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28" name="Freeform 14">
              <a:extLst>
                <a:ext uri="{FF2B5EF4-FFF2-40B4-BE49-F238E27FC236}">
                  <a16:creationId xmlns:a16="http://schemas.microsoft.com/office/drawing/2014/main" id="{3C52E1A8-F273-4077-90B8-12412F0A51D2}"/>
                </a:ext>
              </a:extLst>
            </p:cNvPr>
            <p:cNvSpPr>
              <a:spLocks/>
            </p:cNvSpPr>
            <p:nvPr userDrawn="1"/>
          </p:nvSpPr>
          <p:spPr bwMode="auto">
            <a:xfrm>
              <a:off x="2071" y="1578"/>
              <a:ext cx="632" cy="631"/>
            </a:xfrm>
            <a:custGeom>
              <a:avLst/>
              <a:gdLst>
                <a:gd name="T0" fmla="*/ 181 w 334"/>
                <a:gd name="T1" fmla="*/ 1 h 333"/>
                <a:gd name="T2" fmla="*/ 180 w 334"/>
                <a:gd name="T3" fmla="*/ 4 h 333"/>
                <a:gd name="T4" fmla="*/ 180 w 334"/>
                <a:gd name="T5" fmla="*/ 26 h 333"/>
                <a:gd name="T6" fmla="*/ 180 w 334"/>
                <a:gd name="T7" fmla="*/ 26 h 333"/>
                <a:gd name="T8" fmla="*/ 182 w 334"/>
                <a:gd name="T9" fmla="*/ 28 h 333"/>
                <a:gd name="T10" fmla="*/ 306 w 334"/>
                <a:gd name="T11" fmla="*/ 166 h 333"/>
                <a:gd name="T12" fmla="*/ 167 w 334"/>
                <a:gd name="T13" fmla="*/ 305 h 333"/>
                <a:gd name="T14" fmla="*/ 28 w 334"/>
                <a:gd name="T15" fmla="*/ 166 h 333"/>
                <a:gd name="T16" fmla="*/ 152 w 334"/>
                <a:gd name="T17" fmla="*/ 28 h 333"/>
                <a:gd name="T18" fmla="*/ 154 w 334"/>
                <a:gd name="T19" fmla="*/ 26 h 333"/>
                <a:gd name="T20" fmla="*/ 154 w 334"/>
                <a:gd name="T21" fmla="*/ 26 h 333"/>
                <a:gd name="T22" fmla="*/ 154 w 334"/>
                <a:gd name="T23" fmla="*/ 4 h 333"/>
                <a:gd name="T24" fmla="*/ 153 w 334"/>
                <a:gd name="T25" fmla="*/ 1 h 333"/>
                <a:gd name="T26" fmla="*/ 150 w 334"/>
                <a:gd name="T27" fmla="*/ 0 h 333"/>
                <a:gd name="T28" fmla="*/ 149 w 334"/>
                <a:gd name="T29" fmla="*/ 0 h 333"/>
                <a:gd name="T30" fmla="*/ 149 w 334"/>
                <a:gd name="T31" fmla="*/ 0 h 333"/>
                <a:gd name="T32" fmla="*/ 0 w 334"/>
                <a:gd name="T33" fmla="*/ 166 h 333"/>
                <a:gd name="T34" fmla="*/ 167 w 334"/>
                <a:gd name="T35" fmla="*/ 333 h 333"/>
                <a:gd name="T36" fmla="*/ 334 w 334"/>
                <a:gd name="T37" fmla="*/ 166 h 333"/>
                <a:gd name="T38" fmla="*/ 185 w 334"/>
                <a:gd name="T39" fmla="*/ 0 h 333"/>
                <a:gd name="T40" fmla="*/ 185 w 334"/>
                <a:gd name="T41" fmla="*/ 0 h 333"/>
                <a:gd name="T42" fmla="*/ 184 w 334"/>
                <a:gd name="T43" fmla="*/ 0 h 333"/>
                <a:gd name="T44" fmla="*/ 181 w 334"/>
                <a:gd name="T45" fmla="*/ 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4" h="333">
                  <a:moveTo>
                    <a:pt x="181" y="1"/>
                  </a:moveTo>
                  <a:cubicBezTo>
                    <a:pt x="180" y="2"/>
                    <a:pt x="180" y="3"/>
                    <a:pt x="180" y="4"/>
                  </a:cubicBezTo>
                  <a:cubicBezTo>
                    <a:pt x="180" y="26"/>
                    <a:pt x="180" y="26"/>
                    <a:pt x="180" y="26"/>
                  </a:cubicBezTo>
                  <a:cubicBezTo>
                    <a:pt x="180" y="26"/>
                    <a:pt x="180" y="26"/>
                    <a:pt x="180" y="26"/>
                  </a:cubicBezTo>
                  <a:cubicBezTo>
                    <a:pt x="180" y="27"/>
                    <a:pt x="181" y="28"/>
                    <a:pt x="182" y="28"/>
                  </a:cubicBezTo>
                  <a:cubicBezTo>
                    <a:pt x="251" y="35"/>
                    <a:pt x="306" y="94"/>
                    <a:pt x="306" y="166"/>
                  </a:cubicBezTo>
                  <a:cubicBezTo>
                    <a:pt x="306" y="243"/>
                    <a:pt x="244" y="305"/>
                    <a:pt x="167" y="305"/>
                  </a:cubicBezTo>
                  <a:cubicBezTo>
                    <a:pt x="90" y="305"/>
                    <a:pt x="28" y="243"/>
                    <a:pt x="28" y="166"/>
                  </a:cubicBezTo>
                  <a:cubicBezTo>
                    <a:pt x="28" y="94"/>
                    <a:pt x="82" y="35"/>
                    <a:pt x="152" y="28"/>
                  </a:cubicBezTo>
                  <a:cubicBezTo>
                    <a:pt x="153" y="28"/>
                    <a:pt x="154" y="27"/>
                    <a:pt x="154" y="26"/>
                  </a:cubicBezTo>
                  <a:cubicBezTo>
                    <a:pt x="154" y="26"/>
                    <a:pt x="154" y="26"/>
                    <a:pt x="154" y="26"/>
                  </a:cubicBezTo>
                  <a:cubicBezTo>
                    <a:pt x="154" y="4"/>
                    <a:pt x="154" y="4"/>
                    <a:pt x="154" y="4"/>
                  </a:cubicBezTo>
                  <a:cubicBezTo>
                    <a:pt x="154" y="3"/>
                    <a:pt x="154" y="2"/>
                    <a:pt x="153" y="1"/>
                  </a:cubicBezTo>
                  <a:cubicBezTo>
                    <a:pt x="152" y="0"/>
                    <a:pt x="151" y="0"/>
                    <a:pt x="150" y="0"/>
                  </a:cubicBezTo>
                  <a:cubicBezTo>
                    <a:pt x="149" y="0"/>
                    <a:pt x="149" y="0"/>
                    <a:pt x="149" y="0"/>
                  </a:cubicBezTo>
                  <a:cubicBezTo>
                    <a:pt x="149" y="0"/>
                    <a:pt x="149" y="0"/>
                    <a:pt x="149" y="0"/>
                  </a:cubicBezTo>
                  <a:cubicBezTo>
                    <a:pt x="65" y="9"/>
                    <a:pt x="0" y="80"/>
                    <a:pt x="0" y="166"/>
                  </a:cubicBezTo>
                  <a:cubicBezTo>
                    <a:pt x="0" y="258"/>
                    <a:pt x="75" y="333"/>
                    <a:pt x="167" y="333"/>
                  </a:cubicBezTo>
                  <a:cubicBezTo>
                    <a:pt x="259" y="333"/>
                    <a:pt x="334" y="258"/>
                    <a:pt x="334" y="166"/>
                  </a:cubicBezTo>
                  <a:cubicBezTo>
                    <a:pt x="334" y="80"/>
                    <a:pt x="269" y="9"/>
                    <a:pt x="185" y="0"/>
                  </a:cubicBezTo>
                  <a:cubicBezTo>
                    <a:pt x="185" y="0"/>
                    <a:pt x="185" y="0"/>
                    <a:pt x="185" y="0"/>
                  </a:cubicBezTo>
                  <a:cubicBezTo>
                    <a:pt x="185" y="0"/>
                    <a:pt x="184" y="0"/>
                    <a:pt x="184" y="0"/>
                  </a:cubicBezTo>
                  <a:cubicBezTo>
                    <a:pt x="183" y="0"/>
                    <a:pt x="182" y="0"/>
                    <a:pt x="18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grpSp>
    </p:spTree>
    <p:extLst>
      <p:ext uri="{BB962C8B-B14F-4D97-AF65-F5344CB8AC3E}">
        <p14:creationId xmlns:p14="http://schemas.microsoft.com/office/powerpoint/2010/main" val="250176135"/>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type="title" preserve="1">
  <p:cSld name="Title Slide Image">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806139"/>
            <a:ext cx="9144001" cy="3245724"/>
          </a:xfrm>
        </p:spPr>
        <p:txBody>
          <a:bodyPr anchor="ctr"/>
          <a:lstStyle>
            <a:lvl1pPr algn="ctr">
              <a:defRPr sz="4000">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524000" y="5714325"/>
            <a:ext cx="9144001" cy="453754"/>
          </a:xfrm>
        </p:spPr>
        <p:txBody>
          <a:bodyPr/>
          <a:lstStyle>
            <a:lvl1pPr marL="0" indent="0" algn="ctr">
              <a:buNone/>
              <a:defRPr sz="2400">
                <a:solidFill>
                  <a:schemeClr val="bg1"/>
                </a:solidFill>
              </a:defRPr>
            </a:lvl1pPr>
            <a:lvl2pPr marL="521258" indent="0" algn="ctr">
              <a:buNone/>
              <a:defRPr sz="2280"/>
            </a:lvl2pPr>
            <a:lvl3pPr marL="1042512" indent="0" algn="ctr">
              <a:buNone/>
              <a:defRPr sz="2052"/>
            </a:lvl3pPr>
            <a:lvl4pPr marL="1563773" indent="0" algn="ctr">
              <a:buNone/>
              <a:defRPr sz="1824"/>
            </a:lvl4pPr>
            <a:lvl5pPr marL="2085031" indent="0" algn="ctr">
              <a:buNone/>
              <a:defRPr sz="1824"/>
            </a:lvl5pPr>
            <a:lvl6pPr marL="2606285" indent="0" algn="ctr">
              <a:buNone/>
              <a:defRPr sz="1824"/>
            </a:lvl6pPr>
            <a:lvl7pPr marL="3127543" indent="0" algn="ctr">
              <a:buNone/>
              <a:defRPr sz="1824"/>
            </a:lvl7pPr>
            <a:lvl8pPr marL="3648803" indent="0" algn="ctr">
              <a:buNone/>
              <a:defRPr sz="1824"/>
            </a:lvl8pPr>
            <a:lvl9pPr marL="4170060" indent="0" algn="ctr">
              <a:buNone/>
              <a:defRPr sz="1824"/>
            </a:lvl9pPr>
          </a:lstStyle>
          <a:p>
            <a:r>
              <a:rPr lang="en-US"/>
              <a:t>Click to edit Master subtitle style</a:t>
            </a:r>
            <a:endParaRPr lang="en-US" dirty="0"/>
          </a:p>
        </p:txBody>
      </p:sp>
      <p:grpSp>
        <p:nvGrpSpPr>
          <p:cNvPr id="18" name="Group 4">
            <a:extLst>
              <a:ext uri="{FF2B5EF4-FFF2-40B4-BE49-F238E27FC236}">
                <a16:creationId xmlns:a16="http://schemas.microsoft.com/office/drawing/2014/main" id="{C9FB2DA8-4D6B-455E-8E80-67520B04D91C}"/>
              </a:ext>
            </a:extLst>
          </p:cNvPr>
          <p:cNvGrpSpPr>
            <a:grpSpLocks noChangeAspect="1"/>
          </p:cNvGrpSpPr>
          <p:nvPr userDrawn="1"/>
        </p:nvGrpSpPr>
        <p:grpSpPr bwMode="auto">
          <a:xfrm>
            <a:off x="5155508" y="685816"/>
            <a:ext cx="1880984" cy="458559"/>
            <a:chOff x="2071" y="1578"/>
            <a:chExt cx="2587" cy="631"/>
          </a:xfrm>
          <a:gradFill>
            <a:gsLst>
              <a:gs pos="50000">
                <a:srgbClr val="00E487"/>
              </a:gs>
              <a:gs pos="100000">
                <a:srgbClr val="1ECBD0"/>
              </a:gs>
            </a:gsLst>
            <a:lin ang="18900000" scaled="0"/>
          </a:gradFill>
        </p:grpSpPr>
        <p:sp>
          <p:nvSpPr>
            <p:cNvPr id="19" name="Freeform 5">
              <a:extLst>
                <a:ext uri="{FF2B5EF4-FFF2-40B4-BE49-F238E27FC236}">
                  <a16:creationId xmlns:a16="http://schemas.microsoft.com/office/drawing/2014/main" id="{F798D9CB-93C5-4BA2-929A-2CDD20D9AF84}"/>
                </a:ext>
              </a:extLst>
            </p:cNvPr>
            <p:cNvSpPr>
              <a:spLocks/>
            </p:cNvSpPr>
            <p:nvPr userDrawn="1"/>
          </p:nvSpPr>
          <p:spPr bwMode="auto">
            <a:xfrm>
              <a:off x="2765" y="1728"/>
              <a:ext cx="244" cy="318"/>
            </a:xfrm>
            <a:custGeom>
              <a:avLst/>
              <a:gdLst>
                <a:gd name="T0" fmla="*/ 12 w 129"/>
                <a:gd name="T1" fmla="*/ 0 h 168"/>
                <a:gd name="T2" fmla="*/ 8 w 129"/>
                <a:gd name="T3" fmla="*/ 4 h 168"/>
                <a:gd name="T4" fmla="*/ 8 w 129"/>
                <a:gd name="T5" fmla="*/ 25 h 168"/>
                <a:gd name="T6" fmla="*/ 12 w 129"/>
                <a:gd name="T7" fmla="*/ 29 h 168"/>
                <a:gd name="T8" fmla="*/ 48 w 129"/>
                <a:gd name="T9" fmla="*/ 29 h 168"/>
                <a:gd name="T10" fmla="*/ 48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2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2" y="0"/>
                  </a:moveTo>
                  <a:cubicBezTo>
                    <a:pt x="9" y="0"/>
                    <a:pt x="8" y="1"/>
                    <a:pt x="8" y="4"/>
                  </a:cubicBezTo>
                  <a:cubicBezTo>
                    <a:pt x="8" y="25"/>
                    <a:pt x="8" y="25"/>
                    <a:pt x="8" y="25"/>
                  </a:cubicBezTo>
                  <a:cubicBezTo>
                    <a:pt x="8" y="27"/>
                    <a:pt x="9" y="29"/>
                    <a:pt x="12" y="29"/>
                  </a:cubicBezTo>
                  <a:cubicBezTo>
                    <a:pt x="48" y="29"/>
                    <a:pt x="48" y="29"/>
                    <a:pt x="48" y="29"/>
                  </a:cubicBezTo>
                  <a:cubicBezTo>
                    <a:pt x="48" y="140"/>
                    <a:pt x="48" y="140"/>
                    <a:pt x="48"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8" y="140"/>
                    <a:pt x="125" y="140"/>
                  </a:cubicBezTo>
                  <a:cubicBezTo>
                    <a:pt x="76" y="140"/>
                    <a:pt x="76" y="140"/>
                    <a:pt x="76" y="140"/>
                  </a:cubicBezTo>
                  <a:cubicBezTo>
                    <a:pt x="76" y="4"/>
                    <a:pt x="76" y="4"/>
                    <a:pt x="76" y="4"/>
                  </a:cubicBezTo>
                  <a:cubicBezTo>
                    <a:pt x="76" y="1"/>
                    <a:pt x="75" y="0"/>
                    <a:pt x="72" y="0"/>
                  </a:cubicBez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20" name="Freeform 6">
              <a:extLst>
                <a:ext uri="{FF2B5EF4-FFF2-40B4-BE49-F238E27FC236}">
                  <a16:creationId xmlns:a16="http://schemas.microsoft.com/office/drawing/2014/main" id="{FCD076B7-6553-48C6-9C13-12A0A6B2D947}"/>
                </a:ext>
              </a:extLst>
            </p:cNvPr>
            <p:cNvSpPr>
              <a:spLocks/>
            </p:cNvSpPr>
            <p:nvPr userDrawn="1"/>
          </p:nvSpPr>
          <p:spPr bwMode="auto">
            <a:xfrm>
              <a:off x="3798" y="1728"/>
              <a:ext cx="244" cy="318"/>
            </a:xfrm>
            <a:custGeom>
              <a:avLst/>
              <a:gdLst>
                <a:gd name="T0" fmla="*/ 11 w 129"/>
                <a:gd name="T1" fmla="*/ 0 h 168"/>
                <a:gd name="T2" fmla="*/ 8 w 129"/>
                <a:gd name="T3" fmla="*/ 4 h 168"/>
                <a:gd name="T4" fmla="*/ 8 w 129"/>
                <a:gd name="T5" fmla="*/ 25 h 168"/>
                <a:gd name="T6" fmla="*/ 11 w 129"/>
                <a:gd name="T7" fmla="*/ 29 h 168"/>
                <a:gd name="T8" fmla="*/ 47 w 129"/>
                <a:gd name="T9" fmla="*/ 29 h 168"/>
                <a:gd name="T10" fmla="*/ 47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1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1" y="0"/>
                  </a:moveTo>
                  <a:cubicBezTo>
                    <a:pt x="9" y="0"/>
                    <a:pt x="8" y="1"/>
                    <a:pt x="8" y="4"/>
                  </a:cubicBezTo>
                  <a:cubicBezTo>
                    <a:pt x="8" y="25"/>
                    <a:pt x="8" y="25"/>
                    <a:pt x="8" y="25"/>
                  </a:cubicBezTo>
                  <a:cubicBezTo>
                    <a:pt x="8" y="27"/>
                    <a:pt x="9" y="29"/>
                    <a:pt x="11" y="29"/>
                  </a:cubicBezTo>
                  <a:cubicBezTo>
                    <a:pt x="47" y="29"/>
                    <a:pt x="47" y="29"/>
                    <a:pt x="47" y="29"/>
                  </a:cubicBezTo>
                  <a:cubicBezTo>
                    <a:pt x="47" y="140"/>
                    <a:pt x="47" y="140"/>
                    <a:pt x="47"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7" y="140"/>
                    <a:pt x="125" y="140"/>
                  </a:cubicBezTo>
                  <a:cubicBezTo>
                    <a:pt x="76" y="140"/>
                    <a:pt x="76" y="140"/>
                    <a:pt x="76" y="140"/>
                  </a:cubicBezTo>
                  <a:cubicBezTo>
                    <a:pt x="76" y="4"/>
                    <a:pt x="76" y="4"/>
                    <a:pt x="76" y="4"/>
                  </a:cubicBezTo>
                  <a:cubicBezTo>
                    <a:pt x="75" y="1"/>
                    <a:pt x="74" y="0"/>
                    <a:pt x="72" y="0"/>
                  </a:cubicBez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21" name="Freeform 7">
              <a:extLst>
                <a:ext uri="{FF2B5EF4-FFF2-40B4-BE49-F238E27FC236}">
                  <a16:creationId xmlns:a16="http://schemas.microsoft.com/office/drawing/2014/main" id="{A4C76CEC-16C2-4E2B-8318-C92100B82A3E}"/>
                </a:ext>
              </a:extLst>
            </p:cNvPr>
            <p:cNvSpPr>
              <a:spLocks/>
            </p:cNvSpPr>
            <p:nvPr userDrawn="1"/>
          </p:nvSpPr>
          <p:spPr bwMode="auto">
            <a:xfrm>
              <a:off x="4361" y="1728"/>
              <a:ext cx="297" cy="464"/>
            </a:xfrm>
            <a:custGeom>
              <a:avLst/>
              <a:gdLst>
                <a:gd name="T0" fmla="*/ 132 w 157"/>
                <a:gd name="T1" fmla="*/ 0 h 245"/>
                <a:gd name="T2" fmla="*/ 127 w 157"/>
                <a:gd name="T3" fmla="*/ 3 h 245"/>
                <a:gd name="T4" fmla="*/ 127 w 157"/>
                <a:gd name="T5" fmla="*/ 3 h 245"/>
                <a:gd name="T6" fmla="*/ 79 w 157"/>
                <a:gd name="T7" fmla="*/ 128 h 245"/>
                <a:gd name="T8" fmla="*/ 30 w 157"/>
                <a:gd name="T9" fmla="*/ 4 h 245"/>
                <a:gd name="T10" fmla="*/ 25 w 157"/>
                <a:gd name="T11" fmla="*/ 0 h 245"/>
                <a:gd name="T12" fmla="*/ 4 w 157"/>
                <a:gd name="T13" fmla="*/ 0 h 245"/>
                <a:gd name="T14" fmla="*/ 0 w 157"/>
                <a:gd name="T15" fmla="*/ 3 h 245"/>
                <a:gd name="T16" fmla="*/ 1 w 157"/>
                <a:gd name="T17" fmla="*/ 6 h 245"/>
                <a:gd name="T18" fmla="*/ 1 w 157"/>
                <a:gd name="T19" fmla="*/ 6 h 245"/>
                <a:gd name="T20" fmla="*/ 1 w 157"/>
                <a:gd name="T21" fmla="*/ 6 h 245"/>
                <a:gd name="T22" fmla="*/ 64 w 157"/>
                <a:gd name="T23" fmla="*/ 168 h 245"/>
                <a:gd name="T24" fmla="*/ 59 w 157"/>
                <a:gd name="T25" fmla="*/ 182 h 245"/>
                <a:gd name="T26" fmla="*/ 48 w 157"/>
                <a:gd name="T27" fmla="*/ 205 h 245"/>
                <a:gd name="T28" fmla="*/ 38 w 157"/>
                <a:gd name="T29" fmla="*/ 215 h 245"/>
                <a:gd name="T30" fmla="*/ 30 w 157"/>
                <a:gd name="T31" fmla="*/ 217 h 245"/>
                <a:gd name="T32" fmla="*/ 26 w 157"/>
                <a:gd name="T33" fmla="*/ 216 h 245"/>
                <a:gd name="T34" fmla="*/ 14 w 157"/>
                <a:gd name="T35" fmla="*/ 213 h 245"/>
                <a:gd name="T36" fmla="*/ 7 w 157"/>
                <a:gd name="T37" fmla="*/ 210 h 245"/>
                <a:gd name="T38" fmla="*/ 3 w 157"/>
                <a:gd name="T39" fmla="*/ 215 h 245"/>
                <a:gd name="T40" fmla="*/ 3 w 157"/>
                <a:gd name="T41" fmla="*/ 233 h 245"/>
                <a:gd name="T42" fmla="*/ 3 w 157"/>
                <a:gd name="T43" fmla="*/ 233 h 245"/>
                <a:gd name="T44" fmla="*/ 7 w 157"/>
                <a:gd name="T45" fmla="*/ 240 h 245"/>
                <a:gd name="T46" fmla="*/ 32 w 157"/>
                <a:gd name="T47" fmla="*/ 245 h 245"/>
                <a:gd name="T48" fmla="*/ 54 w 157"/>
                <a:gd name="T49" fmla="*/ 238 h 245"/>
                <a:gd name="T50" fmla="*/ 73 w 157"/>
                <a:gd name="T51" fmla="*/ 220 h 245"/>
                <a:gd name="T52" fmla="*/ 79 w 157"/>
                <a:gd name="T53" fmla="*/ 208 h 245"/>
                <a:gd name="T54" fmla="*/ 156 w 157"/>
                <a:gd name="T55" fmla="*/ 6 h 245"/>
                <a:gd name="T56" fmla="*/ 157 w 157"/>
                <a:gd name="T57" fmla="*/ 3 h 245"/>
                <a:gd name="T58" fmla="*/ 153 w 157"/>
                <a:gd name="T59" fmla="*/ 0 h 245"/>
                <a:gd name="T60" fmla="*/ 132 w 157"/>
                <a:gd name="T6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7" h="245">
                  <a:moveTo>
                    <a:pt x="132" y="0"/>
                  </a:moveTo>
                  <a:cubicBezTo>
                    <a:pt x="129" y="0"/>
                    <a:pt x="128" y="1"/>
                    <a:pt x="127" y="3"/>
                  </a:cubicBezTo>
                  <a:cubicBezTo>
                    <a:pt x="127" y="3"/>
                    <a:pt x="127" y="3"/>
                    <a:pt x="127" y="3"/>
                  </a:cubicBezTo>
                  <a:cubicBezTo>
                    <a:pt x="79" y="128"/>
                    <a:pt x="79" y="128"/>
                    <a:pt x="79" y="128"/>
                  </a:cubicBezTo>
                  <a:cubicBezTo>
                    <a:pt x="30" y="4"/>
                    <a:pt x="30" y="4"/>
                    <a:pt x="30" y="4"/>
                  </a:cubicBezTo>
                  <a:cubicBezTo>
                    <a:pt x="29" y="1"/>
                    <a:pt x="28" y="0"/>
                    <a:pt x="25" y="0"/>
                  </a:cubicBezTo>
                  <a:cubicBezTo>
                    <a:pt x="4" y="0"/>
                    <a:pt x="4" y="0"/>
                    <a:pt x="4" y="0"/>
                  </a:cubicBezTo>
                  <a:cubicBezTo>
                    <a:pt x="2" y="0"/>
                    <a:pt x="0" y="1"/>
                    <a:pt x="0" y="3"/>
                  </a:cubicBezTo>
                  <a:cubicBezTo>
                    <a:pt x="0" y="4"/>
                    <a:pt x="1" y="5"/>
                    <a:pt x="1" y="6"/>
                  </a:cubicBezTo>
                  <a:cubicBezTo>
                    <a:pt x="1" y="6"/>
                    <a:pt x="1" y="6"/>
                    <a:pt x="1" y="6"/>
                  </a:cubicBezTo>
                  <a:cubicBezTo>
                    <a:pt x="1" y="6"/>
                    <a:pt x="1" y="6"/>
                    <a:pt x="1" y="6"/>
                  </a:cubicBezTo>
                  <a:cubicBezTo>
                    <a:pt x="64" y="168"/>
                    <a:pt x="64" y="168"/>
                    <a:pt x="64" y="168"/>
                  </a:cubicBezTo>
                  <a:cubicBezTo>
                    <a:pt x="59" y="182"/>
                    <a:pt x="59" y="182"/>
                    <a:pt x="59" y="182"/>
                  </a:cubicBezTo>
                  <a:cubicBezTo>
                    <a:pt x="57" y="187"/>
                    <a:pt x="53" y="199"/>
                    <a:pt x="48" y="205"/>
                  </a:cubicBezTo>
                  <a:cubicBezTo>
                    <a:pt x="44" y="211"/>
                    <a:pt x="42" y="213"/>
                    <a:pt x="38" y="215"/>
                  </a:cubicBezTo>
                  <a:cubicBezTo>
                    <a:pt x="35" y="216"/>
                    <a:pt x="33" y="217"/>
                    <a:pt x="30" y="217"/>
                  </a:cubicBezTo>
                  <a:cubicBezTo>
                    <a:pt x="28" y="217"/>
                    <a:pt x="27" y="217"/>
                    <a:pt x="26" y="216"/>
                  </a:cubicBezTo>
                  <a:cubicBezTo>
                    <a:pt x="22" y="216"/>
                    <a:pt x="18" y="214"/>
                    <a:pt x="14" y="213"/>
                  </a:cubicBezTo>
                  <a:cubicBezTo>
                    <a:pt x="11" y="212"/>
                    <a:pt x="9" y="210"/>
                    <a:pt x="7" y="210"/>
                  </a:cubicBezTo>
                  <a:cubicBezTo>
                    <a:pt x="5" y="210"/>
                    <a:pt x="3" y="212"/>
                    <a:pt x="3" y="215"/>
                  </a:cubicBezTo>
                  <a:cubicBezTo>
                    <a:pt x="3" y="233"/>
                    <a:pt x="3" y="233"/>
                    <a:pt x="3" y="233"/>
                  </a:cubicBezTo>
                  <a:cubicBezTo>
                    <a:pt x="3" y="233"/>
                    <a:pt x="3" y="233"/>
                    <a:pt x="3" y="233"/>
                  </a:cubicBezTo>
                  <a:cubicBezTo>
                    <a:pt x="3" y="236"/>
                    <a:pt x="4" y="238"/>
                    <a:pt x="7" y="240"/>
                  </a:cubicBezTo>
                  <a:cubicBezTo>
                    <a:pt x="15" y="243"/>
                    <a:pt x="21" y="245"/>
                    <a:pt x="32" y="245"/>
                  </a:cubicBezTo>
                  <a:cubicBezTo>
                    <a:pt x="41" y="244"/>
                    <a:pt x="47" y="242"/>
                    <a:pt x="54" y="238"/>
                  </a:cubicBezTo>
                  <a:cubicBezTo>
                    <a:pt x="61" y="233"/>
                    <a:pt x="67" y="227"/>
                    <a:pt x="73" y="220"/>
                  </a:cubicBezTo>
                  <a:cubicBezTo>
                    <a:pt x="75" y="216"/>
                    <a:pt x="77" y="212"/>
                    <a:pt x="79" y="208"/>
                  </a:cubicBezTo>
                  <a:cubicBezTo>
                    <a:pt x="83" y="200"/>
                    <a:pt x="144" y="40"/>
                    <a:pt x="156" y="6"/>
                  </a:cubicBezTo>
                  <a:cubicBezTo>
                    <a:pt x="157" y="5"/>
                    <a:pt x="157" y="4"/>
                    <a:pt x="157" y="3"/>
                  </a:cubicBezTo>
                  <a:cubicBezTo>
                    <a:pt x="157" y="1"/>
                    <a:pt x="155" y="0"/>
                    <a:pt x="153" y="0"/>
                  </a:cubicBezTo>
                  <a:lnTo>
                    <a:pt x="1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22" name="Freeform 8">
              <a:extLst>
                <a:ext uri="{FF2B5EF4-FFF2-40B4-BE49-F238E27FC236}">
                  <a16:creationId xmlns:a16="http://schemas.microsoft.com/office/drawing/2014/main" id="{7619E1B8-E4FD-4146-AF84-8F1DBB0AAB0D}"/>
                </a:ext>
              </a:extLst>
            </p:cNvPr>
            <p:cNvSpPr>
              <a:spLocks/>
            </p:cNvSpPr>
            <p:nvPr userDrawn="1"/>
          </p:nvSpPr>
          <p:spPr bwMode="auto">
            <a:xfrm>
              <a:off x="3457" y="1726"/>
              <a:ext cx="263" cy="322"/>
            </a:xfrm>
            <a:custGeom>
              <a:avLst/>
              <a:gdLst>
                <a:gd name="T0" fmla="*/ 28 w 139"/>
                <a:gd name="T1" fmla="*/ 21 h 170"/>
                <a:gd name="T2" fmla="*/ 28 w 139"/>
                <a:gd name="T3" fmla="*/ 6 h 170"/>
                <a:gd name="T4" fmla="*/ 25 w 139"/>
                <a:gd name="T5" fmla="*/ 3 h 170"/>
                <a:gd name="T6" fmla="*/ 4 w 139"/>
                <a:gd name="T7" fmla="*/ 3 h 170"/>
                <a:gd name="T8" fmla="*/ 0 w 139"/>
                <a:gd name="T9" fmla="*/ 6 h 170"/>
                <a:gd name="T10" fmla="*/ 0 w 139"/>
                <a:gd name="T11" fmla="*/ 167 h 170"/>
                <a:gd name="T12" fmla="*/ 4 w 139"/>
                <a:gd name="T13" fmla="*/ 170 h 170"/>
                <a:gd name="T14" fmla="*/ 25 w 139"/>
                <a:gd name="T15" fmla="*/ 170 h 170"/>
                <a:gd name="T16" fmla="*/ 28 w 139"/>
                <a:gd name="T17" fmla="*/ 167 h 170"/>
                <a:gd name="T18" fmla="*/ 28 w 139"/>
                <a:gd name="T19" fmla="*/ 68 h 170"/>
                <a:gd name="T20" fmla="*/ 70 w 139"/>
                <a:gd name="T21" fmla="*/ 28 h 170"/>
                <a:gd name="T22" fmla="*/ 111 w 139"/>
                <a:gd name="T23" fmla="*/ 68 h 170"/>
                <a:gd name="T24" fmla="*/ 111 w 139"/>
                <a:gd name="T25" fmla="*/ 167 h 170"/>
                <a:gd name="T26" fmla="*/ 111 w 139"/>
                <a:gd name="T27" fmla="*/ 167 h 170"/>
                <a:gd name="T28" fmla="*/ 114 w 139"/>
                <a:gd name="T29" fmla="*/ 170 h 170"/>
                <a:gd name="T30" fmla="*/ 136 w 139"/>
                <a:gd name="T31" fmla="*/ 170 h 170"/>
                <a:gd name="T32" fmla="*/ 139 w 139"/>
                <a:gd name="T33" fmla="*/ 167 h 170"/>
                <a:gd name="T34" fmla="*/ 139 w 139"/>
                <a:gd name="T35" fmla="*/ 68 h 170"/>
                <a:gd name="T36" fmla="*/ 139 w 139"/>
                <a:gd name="T37" fmla="*/ 68 h 170"/>
                <a:gd name="T38" fmla="*/ 139 w 139"/>
                <a:gd name="T39" fmla="*/ 68 h 170"/>
                <a:gd name="T40" fmla="*/ 120 w 139"/>
                <a:gd name="T41" fmla="*/ 20 h 170"/>
                <a:gd name="T42" fmla="*/ 70 w 139"/>
                <a:gd name="T43" fmla="*/ 0 h 170"/>
                <a:gd name="T44" fmla="*/ 28 w 139"/>
                <a:gd name="T45" fmla="*/ 2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170">
                  <a:moveTo>
                    <a:pt x="28" y="21"/>
                  </a:moveTo>
                  <a:cubicBezTo>
                    <a:pt x="28" y="6"/>
                    <a:pt x="28" y="6"/>
                    <a:pt x="28" y="6"/>
                  </a:cubicBezTo>
                  <a:cubicBezTo>
                    <a:pt x="28" y="4"/>
                    <a:pt x="27" y="3"/>
                    <a:pt x="25" y="3"/>
                  </a:cubicBezTo>
                  <a:cubicBezTo>
                    <a:pt x="4" y="3"/>
                    <a:pt x="4" y="3"/>
                    <a:pt x="4" y="3"/>
                  </a:cubicBezTo>
                  <a:cubicBezTo>
                    <a:pt x="1" y="3"/>
                    <a:pt x="0" y="4"/>
                    <a:pt x="0" y="6"/>
                  </a:cubicBezTo>
                  <a:cubicBezTo>
                    <a:pt x="0" y="167"/>
                    <a:pt x="0" y="167"/>
                    <a:pt x="0" y="167"/>
                  </a:cubicBezTo>
                  <a:cubicBezTo>
                    <a:pt x="0" y="169"/>
                    <a:pt x="1" y="170"/>
                    <a:pt x="4" y="170"/>
                  </a:cubicBezTo>
                  <a:cubicBezTo>
                    <a:pt x="25" y="170"/>
                    <a:pt x="25" y="170"/>
                    <a:pt x="25" y="170"/>
                  </a:cubicBezTo>
                  <a:cubicBezTo>
                    <a:pt x="27" y="170"/>
                    <a:pt x="28" y="169"/>
                    <a:pt x="28" y="167"/>
                  </a:cubicBezTo>
                  <a:cubicBezTo>
                    <a:pt x="28" y="68"/>
                    <a:pt x="28" y="68"/>
                    <a:pt x="28" y="68"/>
                  </a:cubicBezTo>
                  <a:cubicBezTo>
                    <a:pt x="28" y="49"/>
                    <a:pt x="42" y="28"/>
                    <a:pt x="70" y="28"/>
                  </a:cubicBezTo>
                  <a:cubicBezTo>
                    <a:pt x="97" y="28"/>
                    <a:pt x="111" y="49"/>
                    <a:pt x="111" y="68"/>
                  </a:cubicBezTo>
                  <a:cubicBezTo>
                    <a:pt x="111" y="167"/>
                    <a:pt x="111" y="167"/>
                    <a:pt x="111" y="167"/>
                  </a:cubicBezTo>
                  <a:cubicBezTo>
                    <a:pt x="111" y="167"/>
                    <a:pt x="111" y="167"/>
                    <a:pt x="111" y="167"/>
                  </a:cubicBezTo>
                  <a:cubicBezTo>
                    <a:pt x="111" y="169"/>
                    <a:pt x="112" y="170"/>
                    <a:pt x="114" y="170"/>
                  </a:cubicBezTo>
                  <a:cubicBezTo>
                    <a:pt x="136" y="170"/>
                    <a:pt x="136" y="170"/>
                    <a:pt x="136" y="170"/>
                  </a:cubicBezTo>
                  <a:cubicBezTo>
                    <a:pt x="138" y="170"/>
                    <a:pt x="139" y="169"/>
                    <a:pt x="139" y="167"/>
                  </a:cubicBezTo>
                  <a:cubicBezTo>
                    <a:pt x="139" y="68"/>
                    <a:pt x="139" y="68"/>
                    <a:pt x="139" y="68"/>
                  </a:cubicBezTo>
                  <a:cubicBezTo>
                    <a:pt x="139" y="68"/>
                    <a:pt x="139" y="68"/>
                    <a:pt x="139" y="68"/>
                  </a:cubicBezTo>
                  <a:cubicBezTo>
                    <a:pt x="139" y="68"/>
                    <a:pt x="139" y="68"/>
                    <a:pt x="139" y="68"/>
                  </a:cubicBezTo>
                  <a:cubicBezTo>
                    <a:pt x="139" y="51"/>
                    <a:pt x="133" y="35"/>
                    <a:pt x="120" y="20"/>
                  </a:cubicBezTo>
                  <a:cubicBezTo>
                    <a:pt x="109" y="7"/>
                    <a:pt x="88" y="0"/>
                    <a:pt x="70" y="0"/>
                  </a:cubicBezTo>
                  <a:cubicBezTo>
                    <a:pt x="41" y="0"/>
                    <a:pt x="28" y="21"/>
                    <a:pt x="28"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23" name="Freeform 9">
              <a:extLst>
                <a:ext uri="{FF2B5EF4-FFF2-40B4-BE49-F238E27FC236}">
                  <a16:creationId xmlns:a16="http://schemas.microsoft.com/office/drawing/2014/main" id="{4FF9C5E1-8FFE-4C45-8CEC-68E52F3E5DC7}"/>
                </a:ext>
              </a:extLst>
            </p:cNvPr>
            <p:cNvSpPr>
              <a:spLocks/>
            </p:cNvSpPr>
            <p:nvPr userDrawn="1"/>
          </p:nvSpPr>
          <p:spPr bwMode="auto">
            <a:xfrm>
              <a:off x="2264" y="1724"/>
              <a:ext cx="246" cy="328"/>
            </a:xfrm>
            <a:custGeom>
              <a:avLst/>
              <a:gdLst>
                <a:gd name="T0" fmla="*/ 4 w 130"/>
                <a:gd name="T1" fmla="*/ 48 h 173"/>
                <a:gd name="T2" fmla="*/ 56 w 130"/>
                <a:gd name="T3" fmla="*/ 97 h 173"/>
                <a:gd name="T4" fmla="*/ 57 w 130"/>
                <a:gd name="T5" fmla="*/ 98 h 173"/>
                <a:gd name="T6" fmla="*/ 101 w 130"/>
                <a:gd name="T7" fmla="*/ 124 h 173"/>
                <a:gd name="T8" fmla="*/ 66 w 130"/>
                <a:gd name="T9" fmla="*/ 146 h 173"/>
                <a:gd name="T10" fmla="*/ 30 w 130"/>
                <a:gd name="T11" fmla="*/ 118 h 173"/>
                <a:gd name="T12" fmla="*/ 26 w 130"/>
                <a:gd name="T13" fmla="*/ 114 h 173"/>
                <a:gd name="T14" fmla="*/ 5 w 130"/>
                <a:gd name="T15" fmla="*/ 114 h 173"/>
                <a:gd name="T16" fmla="*/ 0 w 130"/>
                <a:gd name="T17" fmla="*/ 118 h 173"/>
                <a:gd name="T18" fmla="*/ 65 w 130"/>
                <a:gd name="T19" fmla="*/ 173 h 173"/>
                <a:gd name="T20" fmla="*/ 130 w 130"/>
                <a:gd name="T21" fmla="*/ 120 h 173"/>
                <a:gd name="T22" fmla="*/ 72 w 130"/>
                <a:gd name="T23" fmla="*/ 74 h 173"/>
                <a:gd name="T24" fmla="*/ 32 w 130"/>
                <a:gd name="T25" fmla="*/ 48 h 173"/>
                <a:gd name="T26" fmla="*/ 63 w 130"/>
                <a:gd name="T27" fmla="*/ 27 h 173"/>
                <a:gd name="T28" fmla="*/ 97 w 130"/>
                <a:gd name="T29" fmla="*/ 49 h 173"/>
                <a:gd name="T30" fmla="*/ 102 w 130"/>
                <a:gd name="T31" fmla="*/ 53 h 173"/>
                <a:gd name="T32" fmla="*/ 120 w 130"/>
                <a:gd name="T33" fmla="*/ 53 h 173"/>
                <a:gd name="T34" fmla="*/ 125 w 130"/>
                <a:gd name="T35" fmla="*/ 48 h 173"/>
                <a:gd name="T36" fmla="*/ 63 w 130"/>
                <a:gd name="T37" fmla="*/ 0 h 173"/>
                <a:gd name="T38" fmla="*/ 4 w 130"/>
                <a:gd name="T39" fmla="*/ 4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173">
                  <a:moveTo>
                    <a:pt x="4" y="48"/>
                  </a:moveTo>
                  <a:cubicBezTo>
                    <a:pt x="4" y="77"/>
                    <a:pt x="19" y="91"/>
                    <a:pt x="56" y="97"/>
                  </a:cubicBezTo>
                  <a:cubicBezTo>
                    <a:pt x="57" y="98"/>
                    <a:pt x="57" y="98"/>
                    <a:pt x="57" y="98"/>
                  </a:cubicBezTo>
                  <a:cubicBezTo>
                    <a:pt x="83" y="102"/>
                    <a:pt x="101" y="105"/>
                    <a:pt x="101" y="124"/>
                  </a:cubicBezTo>
                  <a:cubicBezTo>
                    <a:pt x="101" y="139"/>
                    <a:pt x="83" y="146"/>
                    <a:pt x="66" y="146"/>
                  </a:cubicBezTo>
                  <a:cubicBezTo>
                    <a:pt x="46" y="146"/>
                    <a:pt x="33" y="136"/>
                    <a:pt x="30" y="118"/>
                  </a:cubicBezTo>
                  <a:cubicBezTo>
                    <a:pt x="30" y="116"/>
                    <a:pt x="29" y="114"/>
                    <a:pt x="26" y="114"/>
                  </a:cubicBezTo>
                  <a:cubicBezTo>
                    <a:pt x="5" y="114"/>
                    <a:pt x="5" y="114"/>
                    <a:pt x="5" y="114"/>
                  </a:cubicBezTo>
                  <a:cubicBezTo>
                    <a:pt x="2" y="114"/>
                    <a:pt x="0" y="116"/>
                    <a:pt x="0" y="118"/>
                  </a:cubicBezTo>
                  <a:cubicBezTo>
                    <a:pt x="0" y="150"/>
                    <a:pt x="27" y="173"/>
                    <a:pt x="65" y="173"/>
                  </a:cubicBezTo>
                  <a:cubicBezTo>
                    <a:pt x="104" y="173"/>
                    <a:pt x="130" y="151"/>
                    <a:pt x="130" y="120"/>
                  </a:cubicBezTo>
                  <a:cubicBezTo>
                    <a:pt x="130" y="86"/>
                    <a:pt x="100" y="79"/>
                    <a:pt x="72" y="74"/>
                  </a:cubicBezTo>
                  <a:cubicBezTo>
                    <a:pt x="37" y="68"/>
                    <a:pt x="32" y="58"/>
                    <a:pt x="32" y="48"/>
                  </a:cubicBezTo>
                  <a:cubicBezTo>
                    <a:pt x="32" y="32"/>
                    <a:pt x="49" y="27"/>
                    <a:pt x="63" y="27"/>
                  </a:cubicBezTo>
                  <a:cubicBezTo>
                    <a:pt x="82" y="27"/>
                    <a:pt x="94" y="34"/>
                    <a:pt x="97" y="49"/>
                  </a:cubicBezTo>
                  <a:cubicBezTo>
                    <a:pt x="98" y="51"/>
                    <a:pt x="98" y="53"/>
                    <a:pt x="102" y="53"/>
                  </a:cubicBezTo>
                  <a:cubicBezTo>
                    <a:pt x="120" y="53"/>
                    <a:pt x="120" y="53"/>
                    <a:pt x="120" y="53"/>
                  </a:cubicBezTo>
                  <a:cubicBezTo>
                    <a:pt x="123" y="53"/>
                    <a:pt x="125" y="51"/>
                    <a:pt x="125" y="48"/>
                  </a:cubicBezTo>
                  <a:cubicBezTo>
                    <a:pt x="125" y="19"/>
                    <a:pt x="100" y="0"/>
                    <a:pt x="63" y="0"/>
                  </a:cubicBezTo>
                  <a:cubicBezTo>
                    <a:pt x="22" y="0"/>
                    <a:pt x="4" y="25"/>
                    <a:pt x="4" y="4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24" name="Freeform 10">
              <a:extLst>
                <a:ext uri="{FF2B5EF4-FFF2-40B4-BE49-F238E27FC236}">
                  <a16:creationId xmlns:a16="http://schemas.microsoft.com/office/drawing/2014/main" id="{C321A392-CD70-4533-ACCC-383D8BB92B82}"/>
                </a:ext>
              </a:extLst>
            </p:cNvPr>
            <p:cNvSpPr>
              <a:spLocks/>
            </p:cNvSpPr>
            <p:nvPr userDrawn="1"/>
          </p:nvSpPr>
          <p:spPr bwMode="auto">
            <a:xfrm>
              <a:off x="3062" y="1722"/>
              <a:ext cx="312" cy="474"/>
            </a:xfrm>
            <a:custGeom>
              <a:avLst/>
              <a:gdLst>
                <a:gd name="T0" fmla="*/ 67 w 165"/>
                <a:gd name="T1" fmla="*/ 0 h 250"/>
                <a:gd name="T2" fmla="*/ 0 w 165"/>
                <a:gd name="T3" fmla="*/ 86 h 250"/>
                <a:gd name="T4" fmla="*/ 82 w 165"/>
                <a:gd name="T5" fmla="*/ 174 h 250"/>
                <a:gd name="T6" fmla="*/ 137 w 165"/>
                <a:gd name="T7" fmla="*/ 152 h 250"/>
                <a:gd name="T8" fmla="*/ 137 w 165"/>
                <a:gd name="T9" fmla="*/ 173 h 250"/>
                <a:gd name="T10" fmla="*/ 89 w 165"/>
                <a:gd name="T11" fmla="*/ 222 h 250"/>
                <a:gd name="T12" fmla="*/ 48 w 165"/>
                <a:gd name="T13" fmla="*/ 194 h 250"/>
                <a:gd name="T14" fmla="*/ 43 w 165"/>
                <a:gd name="T15" fmla="*/ 190 h 250"/>
                <a:gd name="T16" fmla="*/ 24 w 165"/>
                <a:gd name="T17" fmla="*/ 190 h 250"/>
                <a:gd name="T18" fmla="*/ 19 w 165"/>
                <a:gd name="T19" fmla="*/ 195 h 250"/>
                <a:gd name="T20" fmla="*/ 89 w 165"/>
                <a:gd name="T21" fmla="*/ 250 h 250"/>
                <a:gd name="T22" fmla="*/ 165 w 165"/>
                <a:gd name="T23" fmla="*/ 174 h 250"/>
                <a:gd name="T24" fmla="*/ 165 w 165"/>
                <a:gd name="T25" fmla="*/ 7 h 250"/>
                <a:gd name="T26" fmla="*/ 162 w 165"/>
                <a:gd name="T27" fmla="*/ 4 h 250"/>
                <a:gd name="T28" fmla="*/ 140 w 165"/>
                <a:gd name="T29" fmla="*/ 4 h 250"/>
                <a:gd name="T30" fmla="*/ 137 w 165"/>
                <a:gd name="T31" fmla="*/ 7 h 250"/>
                <a:gd name="T32" fmla="*/ 137 w 165"/>
                <a:gd name="T33" fmla="*/ 21 h 250"/>
                <a:gd name="T34" fmla="*/ 99 w 165"/>
                <a:gd name="T35" fmla="*/ 0 h 250"/>
                <a:gd name="T36" fmla="*/ 96 w 165"/>
                <a:gd name="T37" fmla="*/ 3 h 250"/>
                <a:gd name="T38" fmla="*/ 96 w 165"/>
                <a:gd name="T39" fmla="*/ 28 h 250"/>
                <a:gd name="T40" fmla="*/ 97 w 165"/>
                <a:gd name="T41" fmla="*/ 31 h 250"/>
                <a:gd name="T42" fmla="*/ 138 w 165"/>
                <a:gd name="T43" fmla="*/ 87 h 250"/>
                <a:gd name="T44" fmla="*/ 83 w 165"/>
                <a:gd name="T45" fmla="*/ 146 h 250"/>
                <a:gd name="T46" fmla="*/ 29 w 165"/>
                <a:gd name="T47" fmla="*/ 87 h 250"/>
                <a:gd name="T48" fmla="*/ 68 w 165"/>
                <a:gd name="T49" fmla="*/ 31 h 250"/>
                <a:gd name="T50" fmla="*/ 70 w 165"/>
                <a:gd name="T51" fmla="*/ 29 h 250"/>
                <a:gd name="T52" fmla="*/ 70 w 165"/>
                <a:gd name="T53" fmla="*/ 3 h 250"/>
                <a:gd name="T54" fmla="*/ 67 w 165"/>
                <a:gd name="T55" fmla="*/ 0 h 250"/>
                <a:gd name="T56" fmla="*/ 67 w 165"/>
                <a:gd name="T57"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5" h="250">
                  <a:moveTo>
                    <a:pt x="67" y="0"/>
                  </a:moveTo>
                  <a:cubicBezTo>
                    <a:pt x="29" y="8"/>
                    <a:pt x="0" y="44"/>
                    <a:pt x="0" y="86"/>
                  </a:cubicBezTo>
                  <a:cubicBezTo>
                    <a:pt x="0" y="135"/>
                    <a:pt x="37" y="174"/>
                    <a:pt x="82" y="174"/>
                  </a:cubicBezTo>
                  <a:cubicBezTo>
                    <a:pt x="103" y="174"/>
                    <a:pt x="122" y="166"/>
                    <a:pt x="137" y="152"/>
                  </a:cubicBezTo>
                  <a:cubicBezTo>
                    <a:pt x="137" y="173"/>
                    <a:pt x="137" y="173"/>
                    <a:pt x="137" y="173"/>
                  </a:cubicBezTo>
                  <a:cubicBezTo>
                    <a:pt x="137" y="205"/>
                    <a:pt x="120" y="222"/>
                    <a:pt x="89" y="222"/>
                  </a:cubicBezTo>
                  <a:cubicBezTo>
                    <a:pt x="66" y="222"/>
                    <a:pt x="52" y="213"/>
                    <a:pt x="48" y="194"/>
                  </a:cubicBezTo>
                  <a:cubicBezTo>
                    <a:pt x="47" y="192"/>
                    <a:pt x="46" y="190"/>
                    <a:pt x="43" y="190"/>
                  </a:cubicBezTo>
                  <a:cubicBezTo>
                    <a:pt x="24" y="190"/>
                    <a:pt x="24" y="190"/>
                    <a:pt x="24" y="190"/>
                  </a:cubicBezTo>
                  <a:cubicBezTo>
                    <a:pt x="21" y="190"/>
                    <a:pt x="19" y="192"/>
                    <a:pt x="19" y="195"/>
                  </a:cubicBezTo>
                  <a:cubicBezTo>
                    <a:pt x="22" y="228"/>
                    <a:pt x="51" y="250"/>
                    <a:pt x="89" y="250"/>
                  </a:cubicBezTo>
                  <a:cubicBezTo>
                    <a:pt x="135" y="250"/>
                    <a:pt x="165" y="219"/>
                    <a:pt x="165" y="174"/>
                  </a:cubicBezTo>
                  <a:cubicBezTo>
                    <a:pt x="165" y="7"/>
                    <a:pt x="165" y="7"/>
                    <a:pt x="165" y="7"/>
                  </a:cubicBezTo>
                  <a:cubicBezTo>
                    <a:pt x="165" y="5"/>
                    <a:pt x="164" y="4"/>
                    <a:pt x="162" y="4"/>
                  </a:cubicBezTo>
                  <a:cubicBezTo>
                    <a:pt x="140" y="4"/>
                    <a:pt x="140" y="4"/>
                    <a:pt x="140" y="4"/>
                  </a:cubicBezTo>
                  <a:cubicBezTo>
                    <a:pt x="138" y="4"/>
                    <a:pt x="137" y="5"/>
                    <a:pt x="137" y="7"/>
                  </a:cubicBezTo>
                  <a:cubicBezTo>
                    <a:pt x="137" y="21"/>
                    <a:pt x="137" y="21"/>
                    <a:pt x="137" y="21"/>
                  </a:cubicBezTo>
                  <a:cubicBezTo>
                    <a:pt x="126" y="11"/>
                    <a:pt x="113" y="4"/>
                    <a:pt x="99" y="0"/>
                  </a:cubicBezTo>
                  <a:cubicBezTo>
                    <a:pt x="97" y="0"/>
                    <a:pt x="96" y="1"/>
                    <a:pt x="96" y="3"/>
                  </a:cubicBezTo>
                  <a:cubicBezTo>
                    <a:pt x="96" y="28"/>
                    <a:pt x="96" y="28"/>
                    <a:pt x="96" y="28"/>
                  </a:cubicBezTo>
                  <a:cubicBezTo>
                    <a:pt x="96" y="29"/>
                    <a:pt x="96" y="30"/>
                    <a:pt x="97" y="31"/>
                  </a:cubicBezTo>
                  <a:cubicBezTo>
                    <a:pt x="121" y="37"/>
                    <a:pt x="138" y="60"/>
                    <a:pt x="138" y="87"/>
                  </a:cubicBezTo>
                  <a:cubicBezTo>
                    <a:pt x="138" y="119"/>
                    <a:pt x="114" y="146"/>
                    <a:pt x="83" y="146"/>
                  </a:cubicBezTo>
                  <a:cubicBezTo>
                    <a:pt x="53" y="146"/>
                    <a:pt x="29" y="119"/>
                    <a:pt x="29" y="87"/>
                  </a:cubicBezTo>
                  <a:cubicBezTo>
                    <a:pt x="29" y="61"/>
                    <a:pt x="45" y="38"/>
                    <a:pt x="68" y="31"/>
                  </a:cubicBezTo>
                  <a:cubicBezTo>
                    <a:pt x="69" y="31"/>
                    <a:pt x="70" y="30"/>
                    <a:pt x="70" y="29"/>
                  </a:cubicBezTo>
                  <a:cubicBezTo>
                    <a:pt x="70" y="3"/>
                    <a:pt x="70" y="3"/>
                    <a:pt x="70" y="3"/>
                  </a:cubicBezTo>
                  <a:cubicBezTo>
                    <a:pt x="70" y="1"/>
                    <a:pt x="69" y="0"/>
                    <a:pt x="67" y="0"/>
                  </a:cubicBezTo>
                  <a:cubicBezTo>
                    <a:pt x="67" y="0"/>
                    <a:pt x="67" y="0"/>
                    <a:pt x="6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25" name="Oval 11">
              <a:extLst>
                <a:ext uri="{FF2B5EF4-FFF2-40B4-BE49-F238E27FC236}">
                  <a16:creationId xmlns:a16="http://schemas.microsoft.com/office/drawing/2014/main" id="{C73A465C-03FB-40DA-A381-544599743F7D}"/>
                </a:ext>
              </a:extLst>
            </p:cNvPr>
            <p:cNvSpPr>
              <a:spLocks noChangeArrowheads="1"/>
            </p:cNvSpPr>
            <p:nvPr userDrawn="1"/>
          </p:nvSpPr>
          <p:spPr bwMode="auto">
            <a:xfrm>
              <a:off x="284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26" name="Oval 12">
              <a:extLst>
                <a:ext uri="{FF2B5EF4-FFF2-40B4-BE49-F238E27FC236}">
                  <a16:creationId xmlns:a16="http://schemas.microsoft.com/office/drawing/2014/main" id="{9FFE5527-2DF9-4A01-9E29-E2A442B566E3}"/>
                </a:ext>
              </a:extLst>
            </p:cNvPr>
            <p:cNvSpPr>
              <a:spLocks noChangeArrowheads="1"/>
            </p:cNvSpPr>
            <p:nvPr userDrawn="1"/>
          </p:nvSpPr>
          <p:spPr bwMode="auto">
            <a:xfrm>
              <a:off x="387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27" name="Freeform 13">
              <a:extLst>
                <a:ext uri="{FF2B5EF4-FFF2-40B4-BE49-F238E27FC236}">
                  <a16:creationId xmlns:a16="http://schemas.microsoft.com/office/drawing/2014/main" id="{C27E165C-619B-4F48-8C43-C8AEBFD58E90}"/>
                </a:ext>
              </a:extLst>
            </p:cNvPr>
            <p:cNvSpPr>
              <a:spLocks/>
            </p:cNvSpPr>
            <p:nvPr userDrawn="1"/>
          </p:nvSpPr>
          <p:spPr bwMode="auto">
            <a:xfrm>
              <a:off x="4062" y="1584"/>
              <a:ext cx="242" cy="462"/>
            </a:xfrm>
            <a:custGeom>
              <a:avLst/>
              <a:gdLst>
                <a:gd name="T0" fmla="*/ 39 w 128"/>
                <a:gd name="T1" fmla="*/ 55 h 244"/>
                <a:gd name="T2" fmla="*/ 39 w 128"/>
                <a:gd name="T3" fmla="*/ 76 h 244"/>
                <a:gd name="T4" fmla="*/ 4 w 128"/>
                <a:gd name="T5" fmla="*/ 76 h 244"/>
                <a:gd name="T6" fmla="*/ 0 w 128"/>
                <a:gd name="T7" fmla="*/ 81 h 244"/>
                <a:gd name="T8" fmla="*/ 0 w 128"/>
                <a:gd name="T9" fmla="*/ 99 h 244"/>
                <a:gd name="T10" fmla="*/ 4 w 128"/>
                <a:gd name="T11" fmla="*/ 103 h 244"/>
                <a:gd name="T12" fmla="*/ 39 w 128"/>
                <a:gd name="T13" fmla="*/ 103 h 244"/>
                <a:gd name="T14" fmla="*/ 39 w 128"/>
                <a:gd name="T15" fmla="*/ 239 h 244"/>
                <a:gd name="T16" fmla="*/ 44 w 128"/>
                <a:gd name="T17" fmla="*/ 244 h 244"/>
                <a:gd name="T18" fmla="*/ 62 w 128"/>
                <a:gd name="T19" fmla="*/ 244 h 244"/>
                <a:gd name="T20" fmla="*/ 67 w 128"/>
                <a:gd name="T21" fmla="*/ 239 h 244"/>
                <a:gd name="T22" fmla="*/ 67 w 128"/>
                <a:gd name="T23" fmla="*/ 103 h 244"/>
                <a:gd name="T24" fmla="*/ 120 w 128"/>
                <a:gd name="T25" fmla="*/ 103 h 244"/>
                <a:gd name="T26" fmla="*/ 125 w 128"/>
                <a:gd name="T27" fmla="*/ 99 h 244"/>
                <a:gd name="T28" fmla="*/ 125 w 128"/>
                <a:gd name="T29" fmla="*/ 81 h 244"/>
                <a:gd name="T30" fmla="*/ 120 w 128"/>
                <a:gd name="T31" fmla="*/ 76 h 244"/>
                <a:gd name="T32" fmla="*/ 67 w 128"/>
                <a:gd name="T33" fmla="*/ 76 h 244"/>
                <a:gd name="T34" fmla="*/ 67 w 128"/>
                <a:gd name="T35" fmla="*/ 55 h 244"/>
                <a:gd name="T36" fmla="*/ 91 w 128"/>
                <a:gd name="T37" fmla="*/ 27 h 244"/>
                <a:gd name="T38" fmla="*/ 122 w 128"/>
                <a:gd name="T39" fmla="*/ 37 h 244"/>
                <a:gd name="T40" fmla="*/ 125 w 128"/>
                <a:gd name="T41" fmla="*/ 38 h 244"/>
                <a:gd name="T42" fmla="*/ 128 w 128"/>
                <a:gd name="T43" fmla="*/ 33 h 244"/>
                <a:gd name="T44" fmla="*/ 128 w 128"/>
                <a:gd name="T45" fmla="*/ 16 h 244"/>
                <a:gd name="T46" fmla="*/ 125 w 128"/>
                <a:gd name="T47" fmla="*/ 9 h 244"/>
                <a:gd name="T48" fmla="*/ 89 w 128"/>
                <a:gd name="T49" fmla="*/ 0 h 244"/>
                <a:gd name="T50" fmla="*/ 39 w 128"/>
                <a:gd name="T51" fmla="*/ 5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244">
                  <a:moveTo>
                    <a:pt x="39" y="55"/>
                  </a:moveTo>
                  <a:cubicBezTo>
                    <a:pt x="39" y="76"/>
                    <a:pt x="39" y="76"/>
                    <a:pt x="39" y="76"/>
                  </a:cubicBezTo>
                  <a:cubicBezTo>
                    <a:pt x="4" y="76"/>
                    <a:pt x="4" y="76"/>
                    <a:pt x="4" y="76"/>
                  </a:cubicBezTo>
                  <a:cubicBezTo>
                    <a:pt x="1" y="76"/>
                    <a:pt x="0" y="78"/>
                    <a:pt x="0" y="81"/>
                  </a:cubicBezTo>
                  <a:cubicBezTo>
                    <a:pt x="0" y="99"/>
                    <a:pt x="0" y="99"/>
                    <a:pt x="0" y="99"/>
                  </a:cubicBezTo>
                  <a:cubicBezTo>
                    <a:pt x="0" y="102"/>
                    <a:pt x="1" y="103"/>
                    <a:pt x="4" y="103"/>
                  </a:cubicBezTo>
                  <a:cubicBezTo>
                    <a:pt x="39" y="103"/>
                    <a:pt x="39" y="103"/>
                    <a:pt x="39" y="103"/>
                  </a:cubicBezTo>
                  <a:cubicBezTo>
                    <a:pt x="39" y="239"/>
                    <a:pt x="39" y="239"/>
                    <a:pt x="39" y="239"/>
                  </a:cubicBezTo>
                  <a:cubicBezTo>
                    <a:pt x="39" y="242"/>
                    <a:pt x="41" y="244"/>
                    <a:pt x="44" y="244"/>
                  </a:cubicBezTo>
                  <a:cubicBezTo>
                    <a:pt x="62" y="244"/>
                    <a:pt x="62" y="244"/>
                    <a:pt x="62" y="244"/>
                  </a:cubicBezTo>
                  <a:cubicBezTo>
                    <a:pt x="65" y="244"/>
                    <a:pt x="67" y="242"/>
                    <a:pt x="67" y="239"/>
                  </a:cubicBezTo>
                  <a:cubicBezTo>
                    <a:pt x="67" y="103"/>
                    <a:pt x="67" y="103"/>
                    <a:pt x="67" y="103"/>
                  </a:cubicBezTo>
                  <a:cubicBezTo>
                    <a:pt x="120" y="103"/>
                    <a:pt x="120" y="103"/>
                    <a:pt x="120" y="103"/>
                  </a:cubicBezTo>
                  <a:cubicBezTo>
                    <a:pt x="123" y="103"/>
                    <a:pt x="125" y="102"/>
                    <a:pt x="125" y="99"/>
                  </a:cubicBezTo>
                  <a:cubicBezTo>
                    <a:pt x="125" y="81"/>
                    <a:pt x="125" y="81"/>
                    <a:pt x="125" y="81"/>
                  </a:cubicBezTo>
                  <a:cubicBezTo>
                    <a:pt x="125" y="78"/>
                    <a:pt x="123" y="76"/>
                    <a:pt x="120" y="76"/>
                  </a:cubicBezTo>
                  <a:cubicBezTo>
                    <a:pt x="67" y="76"/>
                    <a:pt x="67" y="76"/>
                    <a:pt x="67" y="76"/>
                  </a:cubicBezTo>
                  <a:cubicBezTo>
                    <a:pt x="67" y="55"/>
                    <a:pt x="67" y="55"/>
                    <a:pt x="67" y="55"/>
                  </a:cubicBezTo>
                  <a:cubicBezTo>
                    <a:pt x="67" y="38"/>
                    <a:pt x="76" y="27"/>
                    <a:pt x="91" y="27"/>
                  </a:cubicBezTo>
                  <a:cubicBezTo>
                    <a:pt x="102" y="27"/>
                    <a:pt x="110" y="30"/>
                    <a:pt x="122" y="37"/>
                  </a:cubicBezTo>
                  <a:cubicBezTo>
                    <a:pt x="123" y="38"/>
                    <a:pt x="124" y="38"/>
                    <a:pt x="125" y="38"/>
                  </a:cubicBezTo>
                  <a:cubicBezTo>
                    <a:pt x="127" y="38"/>
                    <a:pt x="128" y="36"/>
                    <a:pt x="128" y="33"/>
                  </a:cubicBezTo>
                  <a:cubicBezTo>
                    <a:pt x="128" y="16"/>
                    <a:pt x="128" y="16"/>
                    <a:pt x="128" y="16"/>
                  </a:cubicBezTo>
                  <a:cubicBezTo>
                    <a:pt x="128" y="13"/>
                    <a:pt x="128" y="11"/>
                    <a:pt x="125" y="9"/>
                  </a:cubicBezTo>
                  <a:cubicBezTo>
                    <a:pt x="114" y="3"/>
                    <a:pt x="103" y="0"/>
                    <a:pt x="89" y="0"/>
                  </a:cubicBezTo>
                  <a:cubicBezTo>
                    <a:pt x="54" y="0"/>
                    <a:pt x="39" y="29"/>
                    <a:pt x="39"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28" name="Freeform 14">
              <a:extLst>
                <a:ext uri="{FF2B5EF4-FFF2-40B4-BE49-F238E27FC236}">
                  <a16:creationId xmlns:a16="http://schemas.microsoft.com/office/drawing/2014/main" id="{55BAEF4C-20E0-4F60-A41D-DA6C12A98B45}"/>
                </a:ext>
              </a:extLst>
            </p:cNvPr>
            <p:cNvSpPr>
              <a:spLocks/>
            </p:cNvSpPr>
            <p:nvPr userDrawn="1"/>
          </p:nvSpPr>
          <p:spPr bwMode="auto">
            <a:xfrm>
              <a:off x="2071" y="1578"/>
              <a:ext cx="632" cy="631"/>
            </a:xfrm>
            <a:custGeom>
              <a:avLst/>
              <a:gdLst>
                <a:gd name="T0" fmla="*/ 181 w 334"/>
                <a:gd name="T1" fmla="*/ 1 h 333"/>
                <a:gd name="T2" fmla="*/ 180 w 334"/>
                <a:gd name="T3" fmla="*/ 4 h 333"/>
                <a:gd name="T4" fmla="*/ 180 w 334"/>
                <a:gd name="T5" fmla="*/ 26 h 333"/>
                <a:gd name="T6" fmla="*/ 180 w 334"/>
                <a:gd name="T7" fmla="*/ 26 h 333"/>
                <a:gd name="T8" fmla="*/ 182 w 334"/>
                <a:gd name="T9" fmla="*/ 28 h 333"/>
                <a:gd name="T10" fmla="*/ 306 w 334"/>
                <a:gd name="T11" fmla="*/ 166 h 333"/>
                <a:gd name="T12" fmla="*/ 167 w 334"/>
                <a:gd name="T13" fmla="*/ 305 h 333"/>
                <a:gd name="T14" fmla="*/ 28 w 334"/>
                <a:gd name="T15" fmla="*/ 166 h 333"/>
                <a:gd name="T16" fmla="*/ 152 w 334"/>
                <a:gd name="T17" fmla="*/ 28 h 333"/>
                <a:gd name="T18" fmla="*/ 154 w 334"/>
                <a:gd name="T19" fmla="*/ 26 h 333"/>
                <a:gd name="T20" fmla="*/ 154 w 334"/>
                <a:gd name="T21" fmla="*/ 26 h 333"/>
                <a:gd name="T22" fmla="*/ 154 w 334"/>
                <a:gd name="T23" fmla="*/ 4 h 333"/>
                <a:gd name="T24" fmla="*/ 153 w 334"/>
                <a:gd name="T25" fmla="*/ 1 h 333"/>
                <a:gd name="T26" fmla="*/ 150 w 334"/>
                <a:gd name="T27" fmla="*/ 0 h 333"/>
                <a:gd name="T28" fmla="*/ 149 w 334"/>
                <a:gd name="T29" fmla="*/ 0 h 333"/>
                <a:gd name="T30" fmla="*/ 149 w 334"/>
                <a:gd name="T31" fmla="*/ 0 h 333"/>
                <a:gd name="T32" fmla="*/ 0 w 334"/>
                <a:gd name="T33" fmla="*/ 166 h 333"/>
                <a:gd name="T34" fmla="*/ 167 w 334"/>
                <a:gd name="T35" fmla="*/ 333 h 333"/>
                <a:gd name="T36" fmla="*/ 334 w 334"/>
                <a:gd name="T37" fmla="*/ 166 h 333"/>
                <a:gd name="T38" fmla="*/ 185 w 334"/>
                <a:gd name="T39" fmla="*/ 0 h 333"/>
                <a:gd name="T40" fmla="*/ 185 w 334"/>
                <a:gd name="T41" fmla="*/ 0 h 333"/>
                <a:gd name="T42" fmla="*/ 184 w 334"/>
                <a:gd name="T43" fmla="*/ 0 h 333"/>
                <a:gd name="T44" fmla="*/ 181 w 334"/>
                <a:gd name="T45" fmla="*/ 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4" h="333">
                  <a:moveTo>
                    <a:pt x="181" y="1"/>
                  </a:moveTo>
                  <a:cubicBezTo>
                    <a:pt x="180" y="2"/>
                    <a:pt x="180" y="3"/>
                    <a:pt x="180" y="4"/>
                  </a:cubicBezTo>
                  <a:cubicBezTo>
                    <a:pt x="180" y="26"/>
                    <a:pt x="180" y="26"/>
                    <a:pt x="180" y="26"/>
                  </a:cubicBezTo>
                  <a:cubicBezTo>
                    <a:pt x="180" y="26"/>
                    <a:pt x="180" y="26"/>
                    <a:pt x="180" y="26"/>
                  </a:cubicBezTo>
                  <a:cubicBezTo>
                    <a:pt x="180" y="27"/>
                    <a:pt x="181" y="28"/>
                    <a:pt x="182" y="28"/>
                  </a:cubicBezTo>
                  <a:cubicBezTo>
                    <a:pt x="251" y="35"/>
                    <a:pt x="306" y="94"/>
                    <a:pt x="306" y="166"/>
                  </a:cubicBezTo>
                  <a:cubicBezTo>
                    <a:pt x="306" y="243"/>
                    <a:pt x="244" y="305"/>
                    <a:pt x="167" y="305"/>
                  </a:cubicBezTo>
                  <a:cubicBezTo>
                    <a:pt x="90" y="305"/>
                    <a:pt x="28" y="243"/>
                    <a:pt x="28" y="166"/>
                  </a:cubicBezTo>
                  <a:cubicBezTo>
                    <a:pt x="28" y="94"/>
                    <a:pt x="82" y="35"/>
                    <a:pt x="152" y="28"/>
                  </a:cubicBezTo>
                  <a:cubicBezTo>
                    <a:pt x="153" y="28"/>
                    <a:pt x="154" y="27"/>
                    <a:pt x="154" y="26"/>
                  </a:cubicBezTo>
                  <a:cubicBezTo>
                    <a:pt x="154" y="26"/>
                    <a:pt x="154" y="26"/>
                    <a:pt x="154" y="26"/>
                  </a:cubicBezTo>
                  <a:cubicBezTo>
                    <a:pt x="154" y="4"/>
                    <a:pt x="154" y="4"/>
                    <a:pt x="154" y="4"/>
                  </a:cubicBezTo>
                  <a:cubicBezTo>
                    <a:pt x="154" y="3"/>
                    <a:pt x="154" y="2"/>
                    <a:pt x="153" y="1"/>
                  </a:cubicBezTo>
                  <a:cubicBezTo>
                    <a:pt x="152" y="0"/>
                    <a:pt x="151" y="0"/>
                    <a:pt x="150" y="0"/>
                  </a:cubicBezTo>
                  <a:cubicBezTo>
                    <a:pt x="149" y="0"/>
                    <a:pt x="149" y="0"/>
                    <a:pt x="149" y="0"/>
                  </a:cubicBezTo>
                  <a:cubicBezTo>
                    <a:pt x="149" y="0"/>
                    <a:pt x="149" y="0"/>
                    <a:pt x="149" y="0"/>
                  </a:cubicBezTo>
                  <a:cubicBezTo>
                    <a:pt x="65" y="9"/>
                    <a:pt x="0" y="80"/>
                    <a:pt x="0" y="166"/>
                  </a:cubicBezTo>
                  <a:cubicBezTo>
                    <a:pt x="0" y="258"/>
                    <a:pt x="75" y="333"/>
                    <a:pt x="167" y="333"/>
                  </a:cubicBezTo>
                  <a:cubicBezTo>
                    <a:pt x="259" y="333"/>
                    <a:pt x="334" y="258"/>
                    <a:pt x="334" y="166"/>
                  </a:cubicBezTo>
                  <a:cubicBezTo>
                    <a:pt x="334" y="80"/>
                    <a:pt x="269" y="9"/>
                    <a:pt x="185" y="0"/>
                  </a:cubicBezTo>
                  <a:cubicBezTo>
                    <a:pt x="185" y="0"/>
                    <a:pt x="185" y="0"/>
                    <a:pt x="185" y="0"/>
                  </a:cubicBezTo>
                  <a:cubicBezTo>
                    <a:pt x="185" y="0"/>
                    <a:pt x="184" y="0"/>
                    <a:pt x="184" y="0"/>
                  </a:cubicBezTo>
                  <a:cubicBezTo>
                    <a:pt x="183" y="0"/>
                    <a:pt x="182" y="0"/>
                    <a:pt x="18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grpSp>
    </p:spTree>
    <p:extLst>
      <p:ext uri="{BB962C8B-B14F-4D97-AF65-F5344CB8AC3E}">
        <p14:creationId xmlns:p14="http://schemas.microsoft.com/office/powerpoint/2010/main" val="3036016111"/>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10880" y="1521184"/>
            <a:ext cx="6178854" cy="3817442"/>
          </a:xfrm>
        </p:spPr>
        <p:txBody>
          <a:bodyPr anchor="ctr"/>
          <a:lstStyle>
            <a:lvl1pPr marL="0" indent="0">
              <a:buNone/>
              <a:defRPr sz="3000" b="0">
                <a:solidFill>
                  <a:schemeClr val="tx2"/>
                </a:solidFill>
                <a:latin typeface="+mj-lt"/>
              </a:defRPr>
            </a:lvl1pPr>
            <a:lvl2pPr marL="521258" indent="0">
              <a:buNone/>
              <a:defRPr sz="2280">
                <a:solidFill>
                  <a:schemeClr val="tx1">
                    <a:tint val="75000"/>
                  </a:schemeClr>
                </a:solidFill>
              </a:defRPr>
            </a:lvl2pPr>
            <a:lvl3pPr marL="1042512" indent="0">
              <a:buNone/>
              <a:defRPr sz="2052">
                <a:solidFill>
                  <a:schemeClr val="tx1">
                    <a:tint val="75000"/>
                  </a:schemeClr>
                </a:solidFill>
              </a:defRPr>
            </a:lvl3pPr>
            <a:lvl4pPr marL="1563773" indent="0">
              <a:buNone/>
              <a:defRPr sz="1824">
                <a:solidFill>
                  <a:schemeClr val="tx1">
                    <a:tint val="75000"/>
                  </a:schemeClr>
                </a:solidFill>
              </a:defRPr>
            </a:lvl4pPr>
            <a:lvl5pPr marL="2085031" indent="0">
              <a:buNone/>
              <a:defRPr sz="1824">
                <a:solidFill>
                  <a:schemeClr val="tx1">
                    <a:tint val="75000"/>
                  </a:schemeClr>
                </a:solidFill>
              </a:defRPr>
            </a:lvl5pPr>
            <a:lvl6pPr marL="2606285" indent="0">
              <a:buNone/>
              <a:defRPr sz="1824">
                <a:solidFill>
                  <a:schemeClr val="tx1">
                    <a:tint val="75000"/>
                  </a:schemeClr>
                </a:solidFill>
              </a:defRPr>
            </a:lvl6pPr>
            <a:lvl7pPr marL="3127543" indent="0">
              <a:buNone/>
              <a:defRPr sz="1824">
                <a:solidFill>
                  <a:schemeClr val="tx1">
                    <a:tint val="75000"/>
                  </a:schemeClr>
                </a:solidFill>
              </a:defRPr>
            </a:lvl7pPr>
            <a:lvl8pPr marL="3648803" indent="0">
              <a:buNone/>
              <a:defRPr sz="1824">
                <a:solidFill>
                  <a:schemeClr val="tx1">
                    <a:tint val="75000"/>
                  </a:schemeClr>
                </a:solidFill>
              </a:defRPr>
            </a:lvl8pPr>
            <a:lvl9pPr marL="4170060" indent="0">
              <a:buNone/>
              <a:defRPr sz="1824">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p:txBody>
          <a:bodyPr/>
          <a:lstStyle/>
          <a:p>
            <a:r>
              <a:rPr lang="en-GB" dirty="0"/>
              <a:t>Footer (Insert &gt; Header &amp; Footer to edit) - CONFIDENTIAL</a:t>
            </a:r>
            <a:endParaRPr lang="en-US" dirty="0"/>
          </a:p>
        </p:txBody>
      </p:sp>
      <p:sp>
        <p:nvSpPr>
          <p:cNvPr id="6" name="Slide Number Placeholder 5"/>
          <p:cNvSpPr>
            <a:spLocks noGrp="1"/>
          </p:cNvSpPr>
          <p:nvPr>
            <p:ph type="sldNum" sz="quarter" idx="12"/>
          </p:nvPr>
        </p:nvSpPr>
        <p:spPr/>
        <p:txBody>
          <a:bodyPr/>
          <a:lstStyle/>
          <a:p>
            <a:fld id="{32B354EE-31EA-4FC2-9496-7B6202183237}" type="slidenum">
              <a:rPr lang="en-US" smtClean="0"/>
              <a:t>‹#›</a:t>
            </a:fld>
            <a:endParaRPr lang="en-US" dirty="0"/>
          </a:p>
        </p:txBody>
      </p:sp>
      <p:sp>
        <p:nvSpPr>
          <p:cNvPr id="19" name="Title 18">
            <a:extLst>
              <a:ext uri="{FF2B5EF4-FFF2-40B4-BE49-F238E27FC236}">
                <a16:creationId xmlns:a16="http://schemas.microsoft.com/office/drawing/2014/main" id="{B47DF7D0-E13C-497A-8A71-C5A8B4D7F67C}"/>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008003197"/>
      </p:ext>
    </p:extLst>
  </p:cSld>
  <p:clrMapOvr>
    <a:masterClrMapping/>
  </p:clrMapOvr>
  <p:transition>
    <p:fade/>
  </p:transition>
  <p:extLst>
    <p:ext uri="{DCECCB84-F9BA-43D5-87BE-67443E8EF086}">
      <p15:sldGuideLst xmlns:p15="http://schemas.microsoft.com/office/powerpoint/2012/main">
        <p15:guide id="1" pos="4150">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chemeClr val="tx2"/>
        </a:solid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lvl1pPr>
              <a:defRPr>
                <a:solidFill>
                  <a:schemeClr val="bg1"/>
                </a:solidFill>
              </a:defRPr>
            </a:lvl1pPr>
          </a:lstStyle>
          <a:p>
            <a:r>
              <a:rPr lang="en-GB" dirty="0"/>
              <a:t>Footer (Insert &gt; Header &amp; Footer to edit) - CONFIDENTIAL</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32B354EE-31EA-4FC2-9496-7B6202183237}" type="slidenum">
              <a:rPr lang="en-US" smtClean="0"/>
              <a:pPr/>
              <a:t>‹#›</a:t>
            </a:fld>
            <a:endParaRPr lang="en-US" dirty="0"/>
          </a:p>
        </p:txBody>
      </p:sp>
      <p:sp>
        <p:nvSpPr>
          <p:cNvPr id="7" name="Title 6">
            <a:extLst>
              <a:ext uri="{FF2B5EF4-FFF2-40B4-BE49-F238E27FC236}">
                <a16:creationId xmlns:a16="http://schemas.microsoft.com/office/drawing/2014/main" id="{EE9D7C87-D037-4797-9A6A-B999C6F026D8}"/>
              </a:ext>
            </a:extLst>
          </p:cNvPr>
          <p:cNvSpPr>
            <a:spLocks noGrp="1"/>
          </p:cNvSpPr>
          <p:nvPr>
            <p:ph type="title"/>
          </p:nvPr>
        </p:nvSpPr>
        <p:spPr>
          <a:xfrm>
            <a:off x="410879" y="1521185"/>
            <a:ext cx="11368018" cy="3815631"/>
          </a:xfrm>
        </p:spPr>
        <p:txBody>
          <a:bodyPr anchor="ctr"/>
          <a:lstStyle>
            <a:lvl1pPr algn="ctr">
              <a:defRPr sz="6000">
                <a:solidFill>
                  <a:schemeClr val="accent1"/>
                </a:solidFill>
              </a:defRPr>
            </a:lvl1pPr>
          </a:lstStyle>
          <a:p>
            <a:r>
              <a:rPr lang="en-US"/>
              <a:t>Click to edit Master title style</a:t>
            </a:r>
            <a:endParaRPr lang="en-US" dirty="0"/>
          </a:p>
        </p:txBody>
      </p:sp>
    </p:spTree>
    <p:extLst>
      <p:ext uri="{BB962C8B-B14F-4D97-AF65-F5344CB8AC3E}">
        <p14:creationId xmlns:p14="http://schemas.microsoft.com/office/powerpoint/2010/main" val="237131186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70C1E90-B22E-4BFF-9028-EF438619120A}" type="datetimeFigureOut">
              <a:rPr lang="en-BE" smtClean="0"/>
              <a:t>26/09/2023</a:t>
            </a:fld>
            <a:endParaRPr lang="en-BE"/>
          </a:p>
        </p:txBody>
      </p:sp>
      <p:sp>
        <p:nvSpPr>
          <p:cNvPr id="3" name="Footer Placeholder 2"/>
          <p:cNvSpPr>
            <a:spLocks noGrp="1"/>
          </p:cNvSpPr>
          <p:nvPr>
            <p:ph type="ftr" sz="quarter" idx="11"/>
          </p:nvPr>
        </p:nvSpPr>
        <p:spPr/>
        <p:txBody>
          <a:bodyPr/>
          <a:lstStyle/>
          <a:p>
            <a:endParaRPr lang="en-BE"/>
          </a:p>
        </p:txBody>
      </p:sp>
      <p:sp>
        <p:nvSpPr>
          <p:cNvPr id="4" name="Slide Number Placeholder 3"/>
          <p:cNvSpPr>
            <a:spLocks noGrp="1"/>
          </p:cNvSpPr>
          <p:nvPr>
            <p:ph type="sldNum" sz="quarter" idx="12"/>
          </p:nvPr>
        </p:nvSpPr>
        <p:spPr/>
        <p:txBody>
          <a:bodyPr/>
          <a:lstStyle/>
          <a:p>
            <a:fld id="{9F5F79E4-174E-4D15-B5B9-2923F86E0116}" type="slidenum">
              <a:rPr lang="en-BE" smtClean="0"/>
              <a:t>‹#›</a:t>
            </a:fld>
            <a:endParaRPr lang="en-BE"/>
          </a:p>
        </p:txBody>
      </p:sp>
    </p:spTree>
    <p:extLst>
      <p:ext uri="{BB962C8B-B14F-4D97-AF65-F5344CB8AC3E}">
        <p14:creationId xmlns:p14="http://schemas.microsoft.com/office/powerpoint/2010/main" val="1258636126"/>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ection Header Light Grey">
    <p:bg>
      <p:bgPr>
        <a:solidFill>
          <a:schemeClr val="accent2"/>
        </a:solid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lvl1pPr>
              <a:defRPr>
                <a:solidFill>
                  <a:schemeClr val="tx2"/>
                </a:solidFill>
              </a:defRPr>
            </a:lvl1pPr>
          </a:lstStyle>
          <a:p>
            <a:r>
              <a:rPr lang="en-GB" dirty="0"/>
              <a:t>Footer (Insert &gt; Header &amp; Footer to edit) - CONFIDENTIAL</a:t>
            </a:r>
            <a:endParaRPr lang="en-US" dirty="0"/>
          </a:p>
        </p:txBody>
      </p:sp>
      <p:sp>
        <p:nvSpPr>
          <p:cNvPr id="6" name="Slide Number Placeholder 5"/>
          <p:cNvSpPr>
            <a:spLocks noGrp="1"/>
          </p:cNvSpPr>
          <p:nvPr>
            <p:ph type="sldNum" sz="quarter" idx="12"/>
          </p:nvPr>
        </p:nvSpPr>
        <p:spPr/>
        <p:txBody>
          <a:bodyPr/>
          <a:lstStyle>
            <a:lvl1pPr>
              <a:defRPr>
                <a:solidFill>
                  <a:schemeClr val="tx2"/>
                </a:solidFill>
              </a:defRPr>
            </a:lvl1pPr>
          </a:lstStyle>
          <a:p>
            <a:fld id="{32B354EE-31EA-4FC2-9496-7B6202183237}" type="slidenum">
              <a:rPr lang="en-US" smtClean="0"/>
              <a:pPr/>
              <a:t>‹#›</a:t>
            </a:fld>
            <a:endParaRPr lang="en-US" dirty="0"/>
          </a:p>
        </p:txBody>
      </p:sp>
      <p:sp>
        <p:nvSpPr>
          <p:cNvPr id="7" name="Title 6">
            <a:extLst>
              <a:ext uri="{FF2B5EF4-FFF2-40B4-BE49-F238E27FC236}">
                <a16:creationId xmlns:a16="http://schemas.microsoft.com/office/drawing/2014/main" id="{EE9D7C87-D037-4797-9A6A-B999C6F026D8}"/>
              </a:ext>
            </a:extLst>
          </p:cNvPr>
          <p:cNvSpPr>
            <a:spLocks noGrp="1"/>
          </p:cNvSpPr>
          <p:nvPr>
            <p:ph type="title"/>
          </p:nvPr>
        </p:nvSpPr>
        <p:spPr>
          <a:xfrm>
            <a:off x="410879" y="1521185"/>
            <a:ext cx="11368018" cy="3815631"/>
          </a:xfrm>
        </p:spPr>
        <p:txBody>
          <a:bodyPr anchor="ctr"/>
          <a:lstStyle>
            <a:lvl1pPr algn="ctr">
              <a:defRPr sz="6000">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203466581"/>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ection Header Image">
    <p:bg>
      <p:bgPr>
        <a:solidFill>
          <a:schemeClr val="bg1">
            <a:lumMod val="85000"/>
          </a:schemeClr>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13105" y="1521184"/>
            <a:ext cx="6176627" cy="3817442"/>
          </a:xfrm>
        </p:spPr>
        <p:txBody>
          <a:bodyPr anchor="ctr"/>
          <a:lstStyle>
            <a:lvl1pPr marL="0" indent="0">
              <a:buNone/>
              <a:defRPr sz="4000" b="0">
                <a:solidFill>
                  <a:schemeClr val="bg1"/>
                </a:solidFill>
                <a:latin typeface="+mj-lt"/>
              </a:defRPr>
            </a:lvl1pPr>
            <a:lvl2pPr marL="521258" indent="0">
              <a:buNone/>
              <a:defRPr sz="2280">
                <a:solidFill>
                  <a:schemeClr val="tx1">
                    <a:tint val="75000"/>
                  </a:schemeClr>
                </a:solidFill>
              </a:defRPr>
            </a:lvl2pPr>
            <a:lvl3pPr marL="1042512" indent="0">
              <a:buNone/>
              <a:defRPr sz="2052">
                <a:solidFill>
                  <a:schemeClr val="tx1">
                    <a:tint val="75000"/>
                  </a:schemeClr>
                </a:solidFill>
              </a:defRPr>
            </a:lvl3pPr>
            <a:lvl4pPr marL="1563773" indent="0">
              <a:buNone/>
              <a:defRPr sz="1824">
                <a:solidFill>
                  <a:schemeClr val="tx1">
                    <a:tint val="75000"/>
                  </a:schemeClr>
                </a:solidFill>
              </a:defRPr>
            </a:lvl4pPr>
            <a:lvl5pPr marL="2085031" indent="0">
              <a:buNone/>
              <a:defRPr sz="1824">
                <a:solidFill>
                  <a:schemeClr val="tx1">
                    <a:tint val="75000"/>
                  </a:schemeClr>
                </a:solidFill>
              </a:defRPr>
            </a:lvl5pPr>
            <a:lvl6pPr marL="2606285" indent="0">
              <a:buNone/>
              <a:defRPr sz="1824">
                <a:solidFill>
                  <a:schemeClr val="tx1">
                    <a:tint val="75000"/>
                  </a:schemeClr>
                </a:solidFill>
              </a:defRPr>
            </a:lvl6pPr>
            <a:lvl7pPr marL="3127543" indent="0">
              <a:buNone/>
              <a:defRPr sz="1824">
                <a:solidFill>
                  <a:schemeClr val="tx1">
                    <a:tint val="75000"/>
                  </a:schemeClr>
                </a:solidFill>
              </a:defRPr>
            </a:lvl7pPr>
            <a:lvl8pPr marL="3648803" indent="0">
              <a:buNone/>
              <a:defRPr sz="1824">
                <a:solidFill>
                  <a:schemeClr val="tx1">
                    <a:tint val="75000"/>
                  </a:schemeClr>
                </a:solidFill>
              </a:defRPr>
            </a:lvl8pPr>
            <a:lvl9pPr marL="4170060" indent="0">
              <a:buNone/>
              <a:defRPr sz="1824">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dirty="0"/>
              <a:t>Footer (Insert &gt; Header &amp; Footer to edit) - CONFIDENTIAL</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32B354EE-31EA-4FC2-9496-7B6202183237}" type="slidenum">
              <a:rPr lang="en-US" smtClean="0"/>
              <a:pPr/>
              <a:t>‹#›</a:t>
            </a:fld>
            <a:endParaRPr lang="en-US" dirty="0"/>
          </a:p>
        </p:txBody>
      </p:sp>
      <p:sp>
        <p:nvSpPr>
          <p:cNvPr id="19" name="Title 18">
            <a:extLst>
              <a:ext uri="{FF2B5EF4-FFF2-40B4-BE49-F238E27FC236}">
                <a16:creationId xmlns:a16="http://schemas.microsoft.com/office/drawing/2014/main" id="{B47DF7D0-E13C-497A-8A71-C5A8B4D7F67C}"/>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40534939"/>
      </p:ext>
    </p:extLst>
  </p:cSld>
  <p:clrMapOvr>
    <a:masterClrMapping/>
  </p:clrMapOvr>
  <p:transition>
    <p:fade/>
  </p:transition>
  <p:extLst>
    <p:ext uri="{DCECCB84-F9BA-43D5-87BE-67443E8EF086}">
      <p15:sldGuideLst xmlns:p15="http://schemas.microsoft.com/office/powerpoint/2012/main">
        <p15:guide id="1" pos="4150">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GB" dirty="0"/>
              <a:t>Footer (Insert &gt; Header &amp; Footer to edit) - CONFIDENTIAL</a:t>
            </a:r>
            <a:endParaRPr lang="en-US" dirty="0"/>
          </a:p>
        </p:txBody>
      </p:sp>
      <p:sp>
        <p:nvSpPr>
          <p:cNvPr id="6" name="Slide Number Placeholder 5"/>
          <p:cNvSpPr>
            <a:spLocks noGrp="1"/>
          </p:cNvSpPr>
          <p:nvPr>
            <p:ph type="sldNum" sz="quarter" idx="12"/>
          </p:nvPr>
        </p:nvSpPr>
        <p:spPr/>
        <p:txBody>
          <a:bodyPr/>
          <a:lstStyle/>
          <a:p>
            <a:fld id="{32B354EE-31EA-4FC2-9496-7B6202183237}" type="slidenum">
              <a:rPr lang="en-US" smtClean="0"/>
              <a:t>‹#›</a:t>
            </a:fld>
            <a:endParaRPr lang="en-US" dirty="0"/>
          </a:p>
        </p:txBody>
      </p:sp>
      <p:sp>
        <p:nvSpPr>
          <p:cNvPr id="9" name="Content Placeholder 8">
            <a:extLst>
              <a:ext uri="{FF2B5EF4-FFF2-40B4-BE49-F238E27FC236}">
                <a16:creationId xmlns:a16="http://schemas.microsoft.com/office/drawing/2014/main" id="{AD5FF552-6074-447D-AD5E-8C1C43CCBFB0}"/>
              </a:ext>
            </a:extLst>
          </p:cNvPr>
          <p:cNvSpPr>
            <a:spLocks noGrp="1"/>
          </p:cNvSpPr>
          <p:nvPr>
            <p:ph sz="quarter" idx="13"/>
          </p:nvPr>
        </p:nvSpPr>
        <p:spPr>
          <a:xfrm>
            <a:off x="412920" y="1521184"/>
            <a:ext cx="6762580" cy="4494733"/>
          </a:xfrm>
        </p:spPr>
        <p:txBody>
          <a:bodyPr/>
          <a:lstStyle>
            <a:lvl1pPr>
              <a:defRPr sz="2400"/>
            </a:lvl1pPr>
            <a:lvl2pPr>
              <a:defRPr sz="2400"/>
            </a:lvl2pPr>
            <a:lvl3pPr>
              <a:defRPr sz="2400"/>
            </a:lvl3pPr>
            <a:lvl4pPr>
              <a:defRPr sz="2200"/>
            </a:lvl4pPr>
            <a:lvl5pP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itle 9">
            <a:extLst>
              <a:ext uri="{FF2B5EF4-FFF2-40B4-BE49-F238E27FC236}">
                <a16:creationId xmlns:a16="http://schemas.microsoft.com/office/drawing/2014/main" id="{977F6106-20AC-4F4E-811D-6D4EBFC2BE1B}"/>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691289325"/>
      </p:ext>
    </p:extLst>
  </p:cSld>
  <p:clrMapOvr>
    <a:masterClrMapping/>
  </p:clrMapOvr>
  <p:transition>
    <p:fade/>
  </p:transition>
  <p:extLst>
    <p:ext uri="{DCECCB84-F9BA-43D5-87BE-67443E8EF086}">
      <p15:sldGuideLst xmlns:p15="http://schemas.microsoft.com/office/powerpoint/2012/main">
        <p15:guide id="1" pos="4520">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nd Content Dark">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10881" y="411083"/>
            <a:ext cx="11368018" cy="776038"/>
          </a:xfrm>
        </p:spPr>
        <p:txBody>
          <a:bodyPr/>
          <a:lstStyle>
            <a:lvl1pPr>
              <a:defRPr>
                <a:solidFill>
                  <a:schemeClr val="bg1"/>
                </a:solidFill>
              </a:defRPr>
            </a:lvl1pPr>
          </a:lstStyle>
          <a:p>
            <a:r>
              <a:rPr lang="en-US"/>
              <a:t>Click to edit Master title style</a:t>
            </a:r>
            <a:endParaRPr lang="en-US"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dirty="0"/>
              <a:t>Footer (Insert &gt; Header &amp; Footer to edit) - CONFIDENTIAL</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32B354EE-31EA-4FC2-9496-7B6202183237}" type="slidenum">
              <a:rPr lang="en-US" smtClean="0"/>
              <a:pPr/>
              <a:t>‹#›</a:t>
            </a:fld>
            <a:endParaRPr lang="en-US" dirty="0"/>
          </a:p>
        </p:txBody>
      </p:sp>
      <p:sp>
        <p:nvSpPr>
          <p:cNvPr id="7" name="Content Placeholder 8">
            <a:extLst>
              <a:ext uri="{FF2B5EF4-FFF2-40B4-BE49-F238E27FC236}">
                <a16:creationId xmlns:a16="http://schemas.microsoft.com/office/drawing/2014/main" id="{8E40116B-71CA-472D-8400-6F4605D9D057}"/>
              </a:ext>
            </a:extLst>
          </p:cNvPr>
          <p:cNvSpPr>
            <a:spLocks noGrp="1"/>
          </p:cNvSpPr>
          <p:nvPr>
            <p:ph sz="quarter" idx="13"/>
          </p:nvPr>
        </p:nvSpPr>
        <p:spPr>
          <a:xfrm>
            <a:off x="412920" y="1521184"/>
            <a:ext cx="6762580" cy="4494733"/>
          </a:xfrm>
        </p:spPr>
        <p:txBody>
          <a:bodyPr/>
          <a:lstStyle>
            <a:lvl1pPr>
              <a:defRPr sz="2400">
                <a:solidFill>
                  <a:schemeClr val="bg1"/>
                </a:solidFill>
              </a:defRPr>
            </a:lvl1pPr>
            <a:lvl2pPr>
              <a:defRPr sz="2400">
                <a:solidFill>
                  <a:schemeClr val="bg1"/>
                </a:solidFill>
              </a:defRPr>
            </a:lvl2pPr>
            <a:lvl3pPr>
              <a:defRPr sz="2400">
                <a:solidFill>
                  <a:schemeClr val="accent3"/>
                </a:solidFill>
              </a:defRPr>
            </a:lvl3pPr>
            <a:lvl4pPr>
              <a:buClr>
                <a:schemeClr val="accent3"/>
              </a:buClr>
              <a:defRPr sz="2200">
                <a:solidFill>
                  <a:schemeClr val="bg1"/>
                </a:solidFill>
              </a:defRPr>
            </a:lvl4pPr>
            <a:lvl5pPr>
              <a:buClr>
                <a:schemeClr val="accent3"/>
              </a:buClr>
              <a:defRPr sz="2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359051853"/>
      </p:ext>
    </p:extLst>
  </p:cSld>
  <p:clrMapOvr>
    <a:masterClrMapping/>
  </p:clrMapOvr>
  <p:transition>
    <p:fade/>
  </p:transition>
  <p:extLst>
    <p:ext uri="{DCECCB84-F9BA-43D5-87BE-67443E8EF086}">
      <p15:sldGuideLst xmlns:p15="http://schemas.microsoft.com/office/powerpoint/2012/main">
        <p15:guide id="1" pos="4520">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10878" y="1521184"/>
            <a:ext cx="5292112" cy="44947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486790" y="1521184"/>
            <a:ext cx="5292112" cy="44947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p>
            <a:r>
              <a:rPr lang="en-GB" dirty="0"/>
              <a:t>Footer (Insert &gt; Header &amp; Footer to edit) - CONFIDENTIAL</a:t>
            </a:r>
            <a:endParaRPr lang="en-US" dirty="0"/>
          </a:p>
        </p:txBody>
      </p:sp>
      <p:sp>
        <p:nvSpPr>
          <p:cNvPr id="7" name="Slide Number Placeholder 6"/>
          <p:cNvSpPr>
            <a:spLocks noGrp="1"/>
          </p:cNvSpPr>
          <p:nvPr>
            <p:ph type="sldNum" sz="quarter" idx="12"/>
          </p:nvPr>
        </p:nvSpPr>
        <p:spPr/>
        <p:txBody>
          <a:bodyPr/>
          <a:lstStyle/>
          <a:p>
            <a:fld id="{32B354EE-31EA-4FC2-9496-7B6202183237}" type="slidenum">
              <a:rPr lang="en-US" smtClean="0"/>
              <a:t>‹#›</a:t>
            </a:fld>
            <a:endParaRPr lang="en-US" dirty="0"/>
          </a:p>
        </p:txBody>
      </p:sp>
      <p:sp>
        <p:nvSpPr>
          <p:cNvPr id="8" name="Title 7">
            <a:extLst>
              <a:ext uri="{FF2B5EF4-FFF2-40B4-BE49-F238E27FC236}">
                <a16:creationId xmlns:a16="http://schemas.microsoft.com/office/drawing/2014/main" id="{2BEC790B-BB37-46AF-9CC2-582F081B6401}"/>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247116522"/>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ext and 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623EE699-16B4-4E6C-852E-7A2C3D133E42}"/>
              </a:ext>
            </a:extLst>
          </p:cNvPr>
          <p:cNvSpPr>
            <a:spLocks noGrp="1"/>
          </p:cNvSpPr>
          <p:nvPr>
            <p:ph type="pic" sz="quarter" idx="13"/>
          </p:nvPr>
        </p:nvSpPr>
        <p:spPr>
          <a:xfrm>
            <a:off x="6096906" y="4"/>
            <a:ext cx="6095094" cy="6858000"/>
          </a:xfrm>
          <a:solidFill>
            <a:schemeClr val="bg1">
              <a:lumMod val="85000"/>
            </a:schemeClr>
          </a:solidFill>
        </p:spPr>
        <p:txBody>
          <a:bodyPr/>
          <a:lstStyle/>
          <a:p>
            <a:r>
              <a:rPr lang="en-US" dirty="0"/>
              <a:t>Click icon to add picture</a:t>
            </a:r>
            <a:endParaRPr lang="en-GB" dirty="0"/>
          </a:p>
        </p:txBody>
      </p:sp>
      <p:sp>
        <p:nvSpPr>
          <p:cNvPr id="2" name="Title 1"/>
          <p:cNvSpPr>
            <a:spLocks noGrp="1"/>
          </p:cNvSpPr>
          <p:nvPr>
            <p:ph type="title"/>
          </p:nvPr>
        </p:nvSpPr>
        <p:spPr>
          <a:xfrm>
            <a:off x="410878" y="411083"/>
            <a:ext cx="5292112" cy="776038"/>
          </a:xfrm>
        </p:spPr>
        <p:txBody>
          <a:bodyPr/>
          <a:lstStyle/>
          <a:p>
            <a:r>
              <a:rPr lang="en-US"/>
              <a:t>Click to edit Master title style</a:t>
            </a:r>
            <a:endParaRPr lang="en-US" dirty="0"/>
          </a:p>
        </p:txBody>
      </p:sp>
      <p:sp>
        <p:nvSpPr>
          <p:cNvPr id="3" name="Content Placeholder 2"/>
          <p:cNvSpPr>
            <a:spLocks noGrp="1"/>
          </p:cNvSpPr>
          <p:nvPr>
            <p:ph sz="half" idx="1"/>
          </p:nvPr>
        </p:nvSpPr>
        <p:spPr>
          <a:xfrm>
            <a:off x="410878" y="1521184"/>
            <a:ext cx="5292112" cy="44947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p>
            <a:r>
              <a:rPr lang="en-GB" dirty="0"/>
              <a:t>Footer (Insert &gt; Header &amp; Footer to edit) - CONFIDENTIAL</a:t>
            </a:r>
            <a:endParaRPr lang="en-US" dirty="0"/>
          </a:p>
        </p:txBody>
      </p:sp>
      <p:sp>
        <p:nvSpPr>
          <p:cNvPr id="7" name="Slide Number Placeholder 6"/>
          <p:cNvSpPr>
            <a:spLocks noGrp="1"/>
          </p:cNvSpPr>
          <p:nvPr>
            <p:ph type="sldNum" sz="quarter" idx="12"/>
          </p:nvPr>
        </p:nvSpPr>
        <p:spPr/>
        <p:txBody>
          <a:bodyPr/>
          <a:lstStyle/>
          <a:p>
            <a:fld id="{32B354EE-31EA-4FC2-9496-7B6202183237}" type="slidenum">
              <a:rPr lang="en-US" smtClean="0"/>
              <a:t>‹#›</a:t>
            </a:fld>
            <a:endParaRPr lang="en-US" dirty="0"/>
          </a:p>
        </p:txBody>
      </p:sp>
    </p:spTree>
    <p:extLst>
      <p:ext uri="{BB962C8B-B14F-4D97-AF65-F5344CB8AC3E}">
        <p14:creationId xmlns:p14="http://schemas.microsoft.com/office/powerpoint/2010/main" val="3690028921"/>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ext and Image Lef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623EE699-16B4-4E6C-852E-7A2C3D133E42}"/>
              </a:ext>
            </a:extLst>
          </p:cNvPr>
          <p:cNvSpPr>
            <a:spLocks noGrp="1"/>
          </p:cNvSpPr>
          <p:nvPr>
            <p:ph type="pic" sz="quarter" idx="13"/>
          </p:nvPr>
        </p:nvSpPr>
        <p:spPr>
          <a:xfrm>
            <a:off x="3" y="-1"/>
            <a:ext cx="6095094" cy="6858000"/>
          </a:xfrm>
          <a:solidFill>
            <a:schemeClr val="bg1">
              <a:lumMod val="85000"/>
            </a:schemeClr>
          </a:solidFill>
        </p:spPr>
        <p:txBody>
          <a:bodyPr/>
          <a:lstStyle/>
          <a:p>
            <a:r>
              <a:rPr lang="en-US" dirty="0"/>
              <a:t>Click icon to add picture</a:t>
            </a:r>
            <a:endParaRPr lang="en-GB" dirty="0"/>
          </a:p>
        </p:txBody>
      </p:sp>
      <p:sp>
        <p:nvSpPr>
          <p:cNvPr id="2" name="Title 1"/>
          <p:cNvSpPr>
            <a:spLocks noGrp="1"/>
          </p:cNvSpPr>
          <p:nvPr>
            <p:ph type="title"/>
          </p:nvPr>
        </p:nvSpPr>
        <p:spPr>
          <a:xfrm>
            <a:off x="6504205" y="411083"/>
            <a:ext cx="5274693" cy="776038"/>
          </a:xfrm>
        </p:spPr>
        <p:txBody>
          <a:bodyPr/>
          <a:lstStyle/>
          <a:p>
            <a:r>
              <a:rPr lang="en-US"/>
              <a:t>Click to edit Master title style</a:t>
            </a:r>
            <a:endParaRPr lang="en-US" dirty="0"/>
          </a:p>
        </p:txBody>
      </p:sp>
      <p:sp>
        <p:nvSpPr>
          <p:cNvPr id="3" name="Content Placeholder 2"/>
          <p:cNvSpPr>
            <a:spLocks noGrp="1"/>
          </p:cNvSpPr>
          <p:nvPr>
            <p:ph sz="half" idx="1"/>
          </p:nvPr>
        </p:nvSpPr>
        <p:spPr>
          <a:xfrm>
            <a:off x="6504205" y="1521184"/>
            <a:ext cx="5274693" cy="44947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p>
            <a:r>
              <a:rPr lang="en-GB" dirty="0"/>
              <a:t>Footer (Insert &gt; Header &amp; Footer to edit) - CONFIDENTIAL</a:t>
            </a:r>
            <a:endParaRPr lang="en-US" dirty="0"/>
          </a:p>
        </p:txBody>
      </p:sp>
      <p:sp>
        <p:nvSpPr>
          <p:cNvPr id="7" name="Slide Number Placeholder 6"/>
          <p:cNvSpPr>
            <a:spLocks noGrp="1"/>
          </p:cNvSpPr>
          <p:nvPr>
            <p:ph type="sldNum" sz="quarter" idx="12"/>
          </p:nvPr>
        </p:nvSpPr>
        <p:spPr/>
        <p:txBody>
          <a:bodyPr/>
          <a:lstStyle/>
          <a:p>
            <a:fld id="{32B354EE-31EA-4FC2-9496-7B6202183237}" type="slidenum">
              <a:rPr lang="en-US" smtClean="0"/>
              <a:t>‹#›</a:t>
            </a:fld>
            <a:endParaRPr lang="en-US" dirty="0"/>
          </a:p>
        </p:txBody>
      </p:sp>
    </p:spTree>
    <p:extLst>
      <p:ext uri="{BB962C8B-B14F-4D97-AF65-F5344CB8AC3E}">
        <p14:creationId xmlns:p14="http://schemas.microsoft.com/office/powerpoint/2010/main" val="247357999"/>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ext, Key Info and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623EE699-16B4-4E6C-852E-7A2C3D133E42}"/>
              </a:ext>
            </a:extLst>
          </p:cNvPr>
          <p:cNvSpPr>
            <a:spLocks noGrp="1"/>
          </p:cNvSpPr>
          <p:nvPr>
            <p:ph type="pic" sz="quarter" idx="13"/>
          </p:nvPr>
        </p:nvSpPr>
        <p:spPr>
          <a:xfrm>
            <a:off x="6096906" y="3429905"/>
            <a:ext cx="6095094" cy="3428095"/>
          </a:xfrm>
          <a:solidFill>
            <a:schemeClr val="bg1">
              <a:lumMod val="85000"/>
            </a:schemeClr>
          </a:solidFill>
        </p:spPr>
        <p:txBody>
          <a:bodyPr/>
          <a:lstStyle/>
          <a:p>
            <a:r>
              <a:rPr lang="en-US" dirty="0"/>
              <a:t>Click icon to add picture</a:t>
            </a:r>
            <a:endParaRPr lang="en-GB" dirty="0"/>
          </a:p>
        </p:txBody>
      </p:sp>
      <p:sp>
        <p:nvSpPr>
          <p:cNvPr id="3" name="Content Placeholder 2"/>
          <p:cNvSpPr>
            <a:spLocks noGrp="1"/>
          </p:cNvSpPr>
          <p:nvPr>
            <p:ph sz="half" idx="1"/>
          </p:nvPr>
        </p:nvSpPr>
        <p:spPr>
          <a:xfrm>
            <a:off x="410878" y="1521184"/>
            <a:ext cx="5292112" cy="4494733"/>
          </a:xfrm>
        </p:spPr>
        <p:txBody>
          <a:bodyPr/>
          <a:lstStyle>
            <a:lvl1pPr>
              <a:defRPr sz="1597"/>
            </a:lvl1pPr>
            <a:lvl2pPr>
              <a:defRPr sz="1597"/>
            </a:lvl2pPr>
            <a:lvl3pPr>
              <a:defRPr sz="1597"/>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p>
            <a:r>
              <a:rPr lang="en-GB" dirty="0"/>
              <a:t>Footer (Insert &gt; Header &amp; Footer to edit) - CONFIDENTIAL</a:t>
            </a:r>
            <a:endParaRPr lang="en-US" dirty="0"/>
          </a:p>
        </p:txBody>
      </p:sp>
      <p:sp>
        <p:nvSpPr>
          <p:cNvPr id="7" name="Slide Number Placeholder 6"/>
          <p:cNvSpPr>
            <a:spLocks noGrp="1"/>
          </p:cNvSpPr>
          <p:nvPr>
            <p:ph type="sldNum" sz="quarter" idx="12"/>
          </p:nvPr>
        </p:nvSpPr>
        <p:spPr/>
        <p:txBody>
          <a:bodyPr/>
          <a:lstStyle/>
          <a:p>
            <a:fld id="{32B354EE-31EA-4FC2-9496-7B6202183237}" type="slidenum">
              <a:rPr lang="en-US" smtClean="0"/>
              <a:t>‹#›</a:t>
            </a:fld>
            <a:endParaRPr lang="en-US" dirty="0"/>
          </a:p>
        </p:txBody>
      </p:sp>
      <p:sp>
        <p:nvSpPr>
          <p:cNvPr id="5" name="Text Placeholder 4">
            <a:extLst>
              <a:ext uri="{FF2B5EF4-FFF2-40B4-BE49-F238E27FC236}">
                <a16:creationId xmlns:a16="http://schemas.microsoft.com/office/drawing/2014/main" id="{F57219E9-6258-4F28-A57E-2D2A7A1479EF}"/>
              </a:ext>
            </a:extLst>
          </p:cNvPr>
          <p:cNvSpPr>
            <a:spLocks noGrp="1"/>
          </p:cNvSpPr>
          <p:nvPr>
            <p:ph type="body" sz="quarter" idx="14"/>
          </p:nvPr>
        </p:nvSpPr>
        <p:spPr>
          <a:xfrm>
            <a:off x="6096906" y="4"/>
            <a:ext cx="6095094" cy="3429905"/>
          </a:xfrm>
          <a:gradFill>
            <a:gsLst>
              <a:gs pos="50000">
                <a:srgbClr val="00E487"/>
              </a:gs>
              <a:gs pos="100000">
                <a:srgbClr val="1ECBD0"/>
              </a:gs>
            </a:gsLst>
            <a:lin ang="18900000" scaled="0"/>
          </a:gradFill>
        </p:spPr>
        <p:txBody>
          <a:bodyPr lIns="360000" tIns="360000" rIns="360000" bIns="360000" anchor="ctr"/>
          <a:lstStyle>
            <a:lvl1pPr algn="ctr">
              <a:defRPr sz="3400">
                <a:solidFill>
                  <a:schemeClr val="tx2"/>
                </a:solidFill>
                <a:latin typeface="+mj-lt"/>
              </a:defRPr>
            </a:lvl1pPr>
          </a:lstStyle>
          <a:p>
            <a:pPr lvl="0"/>
            <a:r>
              <a:rPr lang="en-US"/>
              <a:t>Click to edit Master text styles</a:t>
            </a:r>
          </a:p>
        </p:txBody>
      </p:sp>
      <p:sp>
        <p:nvSpPr>
          <p:cNvPr id="4" name="Title 3">
            <a:extLst>
              <a:ext uri="{FF2B5EF4-FFF2-40B4-BE49-F238E27FC236}">
                <a16:creationId xmlns:a16="http://schemas.microsoft.com/office/drawing/2014/main" id="{73F85738-4ACC-4932-9AC9-54B0CFBC9C5F}"/>
              </a:ext>
            </a:extLst>
          </p:cNvPr>
          <p:cNvSpPr>
            <a:spLocks noGrp="1"/>
          </p:cNvSpPr>
          <p:nvPr>
            <p:ph type="title"/>
          </p:nvPr>
        </p:nvSpPr>
        <p:spPr>
          <a:xfrm>
            <a:off x="410879" y="410669"/>
            <a:ext cx="5292111" cy="776038"/>
          </a:xfrm>
        </p:spPr>
        <p:txBody>
          <a:bodyPr/>
          <a:lstStyle/>
          <a:p>
            <a:r>
              <a:rPr lang="en-US"/>
              <a:t>Click to edit Master title style</a:t>
            </a:r>
            <a:endParaRPr lang="en-GB"/>
          </a:p>
        </p:txBody>
      </p:sp>
    </p:spTree>
    <p:extLst>
      <p:ext uri="{BB962C8B-B14F-4D97-AF65-F5344CB8AC3E}">
        <p14:creationId xmlns:p14="http://schemas.microsoft.com/office/powerpoint/2010/main" val="3352347969"/>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Key Figure and Content">
    <p:spTree>
      <p:nvGrpSpPr>
        <p:cNvPr id="1" name=""/>
        <p:cNvGrpSpPr/>
        <p:nvPr/>
      </p:nvGrpSpPr>
      <p:grpSpPr>
        <a:xfrm>
          <a:off x="0" y="0"/>
          <a:ext cx="0" cy="0"/>
          <a:chOff x="0" y="0"/>
          <a:chExt cx="0" cy="0"/>
        </a:xfrm>
      </p:grpSpPr>
      <p:sp>
        <p:nvSpPr>
          <p:cNvPr id="9" name="Text Placeholder 4">
            <a:extLst>
              <a:ext uri="{FF2B5EF4-FFF2-40B4-BE49-F238E27FC236}">
                <a16:creationId xmlns:a16="http://schemas.microsoft.com/office/drawing/2014/main" id="{2AF37378-9CE3-46C1-80C8-30215DE1AF63}"/>
              </a:ext>
            </a:extLst>
          </p:cNvPr>
          <p:cNvSpPr>
            <a:spLocks noGrp="1"/>
          </p:cNvSpPr>
          <p:nvPr>
            <p:ph type="body" sz="quarter" idx="14"/>
          </p:nvPr>
        </p:nvSpPr>
        <p:spPr>
          <a:xfrm>
            <a:off x="906" y="-905"/>
            <a:ext cx="6095094" cy="6858905"/>
          </a:xfrm>
          <a:solidFill>
            <a:schemeClr val="accent3"/>
          </a:solidFill>
        </p:spPr>
        <p:txBody>
          <a:bodyPr lIns="360000" tIns="360000" rIns="360000" bIns="360000" anchor="ctr"/>
          <a:lstStyle>
            <a:lvl1pPr algn="ctr">
              <a:defRPr sz="4600">
                <a:solidFill>
                  <a:schemeClr val="tx2"/>
                </a:solidFill>
                <a:latin typeface="+mj-lt"/>
              </a:defRPr>
            </a:lvl1pPr>
          </a:lstStyle>
          <a:p>
            <a:pPr lvl="0"/>
            <a:r>
              <a:rPr lang="en-US"/>
              <a:t>Click to edit Master text styles</a:t>
            </a:r>
          </a:p>
        </p:txBody>
      </p:sp>
      <p:sp>
        <p:nvSpPr>
          <p:cNvPr id="2" name="Title 1"/>
          <p:cNvSpPr>
            <a:spLocks noGrp="1"/>
          </p:cNvSpPr>
          <p:nvPr>
            <p:ph type="title"/>
          </p:nvPr>
        </p:nvSpPr>
        <p:spPr>
          <a:xfrm>
            <a:off x="6504205" y="411083"/>
            <a:ext cx="5274693" cy="776038"/>
          </a:xfrm>
        </p:spPr>
        <p:txBody>
          <a:bodyPr/>
          <a:lstStyle/>
          <a:p>
            <a:r>
              <a:rPr lang="en-US"/>
              <a:t>Click to edit Master title style</a:t>
            </a:r>
            <a:endParaRPr lang="en-US" dirty="0"/>
          </a:p>
        </p:txBody>
      </p:sp>
      <p:sp>
        <p:nvSpPr>
          <p:cNvPr id="3" name="Content Placeholder 2"/>
          <p:cNvSpPr>
            <a:spLocks noGrp="1"/>
          </p:cNvSpPr>
          <p:nvPr>
            <p:ph sz="half" idx="1"/>
          </p:nvPr>
        </p:nvSpPr>
        <p:spPr>
          <a:xfrm>
            <a:off x="6504205" y="1521184"/>
            <a:ext cx="5274693" cy="44947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p>
            <a:r>
              <a:rPr lang="en-GB" dirty="0"/>
              <a:t>Footer (Insert &gt; Header &amp; Footer to edit) - CONFIDENTIAL</a:t>
            </a:r>
            <a:endParaRPr lang="en-US" dirty="0"/>
          </a:p>
        </p:txBody>
      </p:sp>
      <p:sp>
        <p:nvSpPr>
          <p:cNvPr id="7" name="Slide Number Placeholder 6"/>
          <p:cNvSpPr>
            <a:spLocks noGrp="1"/>
          </p:cNvSpPr>
          <p:nvPr>
            <p:ph type="sldNum" sz="quarter" idx="12"/>
          </p:nvPr>
        </p:nvSpPr>
        <p:spPr/>
        <p:txBody>
          <a:bodyPr/>
          <a:lstStyle/>
          <a:p>
            <a:fld id="{32B354EE-31EA-4FC2-9496-7B6202183237}" type="slidenum">
              <a:rPr lang="en-US" smtClean="0"/>
              <a:t>‹#›</a:t>
            </a:fld>
            <a:endParaRPr lang="en-US" dirty="0"/>
          </a:p>
        </p:txBody>
      </p:sp>
    </p:spTree>
    <p:extLst>
      <p:ext uri="{BB962C8B-B14F-4D97-AF65-F5344CB8AC3E}">
        <p14:creationId xmlns:p14="http://schemas.microsoft.com/office/powerpoint/2010/main" val="487147265"/>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ext and Large Image">
    <p:bg>
      <p:bgPr>
        <a:solidFill>
          <a:schemeClr val="tx2"/>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C1E61418-E972-40CA-AF1C-5059724D8739}"/>
              </a:ext>
            </a:extLst>
          </p:cNvPr>
          <p:cNvSpPr>
            <a:spLocks noGrp="1"/>
          </p:cNvSpPr>
          <p:nvPr>
            <p:ph type="pic" sz="quarter" idx="14"/>
          </p:nvPr>
        </p:nvSpPr>
        <p:spPr>
          <a:xfrm>
            <a:off x="3660000" y="0"/>
            <a:ext cx="8532000" cy="6858000"/>
          </a:xfrm>
          <a:solidFill>
            <a:schemeClr val="bg1">
              <a:lumMod val="85000"/>
            </a:schemeClr>
          </a:solidFill>
        </p:spPr>
        <p:txBody>
          <a:bodyPr/>
          <a:lstStyle/>
          <a:p>
            <a:r>
              <a:rPr lang="en-US" dirty="0"/>
              <a:t>Click icon to add picture</a:t>
            </a:r>
            <a:endParaRPr lang="en-GB" dirty="0"/>
          </a:p>
        </p:txBody>
      </p:sp>
      <p:sp>
        <p:nvSpPr>
          <p:cNvPr id="4" name="Footer Placeholder 3">
            <a:extLst>
              <a:ext uri="{FF2B5EF4-FFF2-40B4-BE49-F238E27FC236}">
                <a16:creationId xmlns:a16="http://schemas.microsoft.com/office/drawing/2014/main" id="{265266B1-3B43-413F-B581-A2BA7F232AAD}"/>
              </a:ext>
            </a:extLst>
          </p:cNvPr>
          <p:cNvSpPr>
            <a:spLocks noGrp="1"/>
          </p:cNvSpPr>
          <p:nvPr>
            <p:ph type="ftr" sz="quarter" idx="11"/>
          </p:nvPr>
        </p:nvSpPr>
        <p:spPr/>
        <p:txBody>
          <a:bodyPr/>
          <a:lstStyle>
            <a:lvl1pPr>
              <a:defRPr>
                <a:solidFill>
                  <a:schemeClr val="bg1"/>
                </a:solidFill>
              </a:defRPr>
            </a:lvl1pPr>
          </a:lstStyle>
          <a:p>
            <a:r>
              <a:rPr lang="en-GB" dirty="0"/>
              <a:t>Footer (Insert &gt; Header &amp; Footer to edit) - CONFIDENTIAL</a:t>
            </a:r>
            <a:endParaRPr lang="en-US" dirty="0"/>
          </a:p>
        </p:txBody>
      </p:sp>
      <p:sp>
        <p:nvSpPr>
          <p:cNvPr id="5" name="Slide Number Placeholder 4">
            <a:extLst>
              <a:ext uri="{FF2B5EF4-FFF2-40B4-BE49-F238E27FC236}">
                <a16:creationId xmlns:a16="http://schemas.microsoft.com/office/drawing/2014/main" id="{114087E5-4709-465C-88EF-C43AFDD767F1}"/>
              </a:ext>
            </a:extLst>
          </p:cNvPr>
          <p:cNvSpPr>
            <a:spLocks noGrp="1"/>
          </p:cNvSpPr>
          <p:nvPr>
            <p:ph type="sldNum" sz="quarter" idx="12"/>
          </p:nvPr>
        </p:nvSpPr>
        <p:spPr/>
        <p:txBody>
          <a:bodyPr/>
          <a:lstStyle>
            <a:lvl1pPr>
              <a:defRPr>
                <a:solidFill>
                  <a:schemeClr val="bg1"/>
                </a:solidFill>
              </a:defRPr>
            </a:lvl1pPr>
          </a:lstStyle>
          <a:p>
            <a:fld id="{32B354EE-31EA-4FC2-9496-7B6202183237}" type="slidenum">
              <a:rPr lang="en-US" smtClean="0"/>
              <a:pPr/>
              <a:t>‹#›</a:t>
            </a:fld>
            <a:endParaRPr lang="en-US" dirty="0"/>
          </a:p>
        </p:txBody>
      </p:sp>
      <p:sp>
        <p:nvSpPr>
          <p:cNvPr id="7" name="Text Placeholder 6">
            <a:extLst>
              <a:ext uri="{FF2B5EF4-FFF2-40B4-BE49-F238E27FC236}">
                <a16:creationId xmlns:a16="http://schemas.microsoft.com/office/drawing/2014/main" id="{D7F08074-975D-439A-8214-343997E50101}"/>
              </a:ext>
            </a:extLst>
          </p:cNvPr>
          <p:cNvSpPr>
            <a:spLocks noGrp="1"/>
          </p:cNvSpPr>
          <p:nvPr>
            <p:ph type="body" sz="quarter" idx="13"/>
          </p:nvPr>
        </p:nvSpPr>
        <p:spPr>
          <a:xfrm>
            <a:off x="413104" y="1521184"/>
            <a:ext cx="2830327" cy="4494733"/>
          </a:xfrm>
        </p:spPr>
        <p:txBody>
          <a:bodyPr/>
          <a:lstStyle>
            <a:lvl1pPr>
              <a:defRPr>
                <a:solidFill>
                  <a:schemeClr val="bg1"/>
                </a:solidFill>
              </a:defRPr>
            </a:lvl1pPr>
            <a:lvl2pPr>
              <a:defRPr>
                <a:solidFill>
                  <a:schemeClr val="bg1"/>
                </a:solidFill>
              </a:defRPr>
            </a:lvl2pPr>
            <a:lvl3pPr>
              <a:defRPr>
                <a:solidFill>
                  <a:schemeClr val="accent3"/>
                </a:solidFill>
              </a:defRPr>
            </a:lvl3pPr>
            <a:lvl4pPr>
              <a:buClr>
                <a:schemeClr val="accent3"/>
              </a:buClr>
              <a:defRPr>
                <a:solidFill>
                  <a:schemeClr val="bg1"/>
                </a:solidFill>
              </a:defRPr>
            </a:lvl4pPr>
            <a:lvl5pPr>
              <a:buClr>
                <a:schemeClr val="accent3"/>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C4B74708-2400-4449-A566-F6158A62A027}"/>
              </a:ext>
            </a:extLst>
          </p:cNvPr>
          <p:cNvSpPr>
            <a:spLocks noGrp="1"/>
          </p:cNvSpPr>
          <p:nvPr>
            <p:ph type="title"/>
          </p:nvPr>
        </p:nvSpPr>
        <p:spPr>
          <a:xfrm>
            <a:off x="410879" y="410669"/>
            <a:ext cx="2830327" cy="776038"/>
          </a:xfrm>
        </p:spPr>
        <p:txBody>
          <a:bodyPr/>
          <a:lstStyle>
            <a:lvl1pPr>
              <a:defRPr>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216533278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877BCB-27AE-4834-B192-4D7E398A218F}"/>
              </a:ext>
            </a:extLst>
          </p:cNvPr>
          <p:cNvSpPr>
            <a:spLocks noGrp="1"/>
          </p:cNvSpPr>
          <p:nvPr>
            <p:ph type="title"/>
          </p:nvPr>
        </p:nvSpPr>
        <p:spPr/>
        <p:txBody>
          <a:bodyPr/>
          <a:lstStyle/>
          <a:p>
            <a:r>
              <a:rPr lang="en-US"/>
              <a:t>Click to edit Master title style</a:t>
            </a:r>
            <a:endParaRPr lang="en-BE"/>
          </a:p>
        </p:txBody>
      </p:sp>
      <p:sp>
        <p:nvSpPr>
          <p:cNvPr id="3" name="Content Placeholder 2">
            <a:extLst>
              <a:ext uri="{FF2B5EF4-FFF2-40B4-BE49-F238E27FC236}">
                <a16:creationId xmlns:a16="http://schemas.microsoft.com/office/drawing/2014/main" id="{B404C6E9-F27B-4F2E-B259-6FD95AD9622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a:p>
        </p:txBody>
      </p:sp>
      <p:sp>
        <p:nvSpPr>
          <p:cNvPr id="4" name="Date Placeholder 3">
            <a:extLst>
              <a:ext uri="{FF2B5EF4-FFF2-40B4-BE49-F238E27FC236}">
                <a16:creationId xmlns:a16="http://schemas.microsoft.com/office/drawing/2014/main" id="{4A93D182-A20C-4738-8E87-4407AA4787A9}"/>
              </a:ext>
            </a:extLst>
          </p:cNvPr>
          <p:cNvSpPr>
            <a:spLocks noGrp="1"/>
          </p:cNvSpPr>
          <p:nvPr>
            <p:ph type="dt" sz="half" idx="10"/>
          </p:nvPr>
        </p:nvSpPr>
        <p:spPr/>
        <p:txBody>
          <a:bodyPr/>
          <a:lstStyle/>
          <a:p>
            <a:fld id="{A70C1E90-B22E-4BFF-9028-EF438619120A}" type="datetimeFigureOut">
              <a:rPr lang="en-BE" smtClean="0"/>
              <a:t>26/09/2023</a:t>
            </a:fld>
            <a:endParaRPr lang="en-BE"/>
          </a:p>
        </p:txBody>
      </p:sp>
      <p:sp>
        <p:nvSpPr>
          <p:cNvPr id="5" name="Footer Placeholder 4">
            <a:extLst>
              <a:ext uri="{FF2B5EF4-FFF2-40B4-BE49-F238E27FC236}">
                <a16:creationId xmlns:a16="http://schemas.microsoft.com/office/drawing/2014/main" id="{6FAA71AB-B3E6-4DE8-97EA-170FC3EC8696}"/>
              </a:ext>
            </a:extLst>
          </p:cNvPr>
          <p:cNvSpPr>
            <a:spLocks noGrp="1"/>
          </p:cNvSpPr>
          <p:nvPr>
            <p:ph type="ftr" sz="quarter" idx="11"/>
          </p:nvPr>
        </p:nvSpPr>
        <p:spPr/>
        <p:txBody>
          <a:bodyPr/>
          <a:lstStyle/>
          <a:p>
            <a:endParaRPr lang="en-BE"/>
          </a:p>
        </p:txBody>
      </p:sp>
      <p:sp>
        <p:nvSpPr>
          <p:cNvPr id="6" name="Slide Number Placeholder 5">
            <a:extLst>
              <a:ext uri="{FF2B5EF4-FFF2-40B4-BE49-F238E27FC236}">
                <a16:creationId xmlns:a16="http://schemas.microsoft.com/office/drawing/2014/main" id="{7B291AAA-531D-461A-B18E-CACD151672DD}"/>
              </a:ext>
            </a:extLst>
          </p:cNvPr>
          <p:cNvSpPr>
            <a:spLocks noGrp="1"/>
          </p:cNvSpPr>
          <p:nvPr>
            <p:ph type="sldNum" sz="quarter" idx="12"/>
          </p:nvPr>
        </p:nvSpPr>
        <p:spPr/>
        <p:txBody>
          <a:bodyPr/>
          <a:lstStyle/>
          <a:p>
            <a:fld id="{9F5F79E4-174E-4D15-B5B9-2923F86E0116}" type="slidenum">
              <a:rPr lang="en-BE" smtClean="0"/>
              <a:t>‹#›</a:t>
            </a:fld>
            <a:endParaRPr lang="en-BE"/>
          </a:p>
        </p:txBody>
      </p:sp>
    </p:spTree>
    <p:extLst>
      <p:ext uri="{BB962C8B-B14F-4D97-AF65-F5344CB8AC3E}">
        <p14:creationId xmlns:p14="http://schemas.microsoft.com/office/powerpoint/2010/main" val="1852717799"/>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wo Content Dark Righ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D86AC41-762B-4924-A899-F81343A12E1E}"/>
              </a:ext>
            </a:extLst>
          </p:cNvPr>
          <p:cNvSpPr/>
          <p:nvPr userDrawn="1"/>
        </p:nvSpPr>
        <p:spPr>
          <a:xfrm>
            <a:off x="6096001" y="4"/>
            <a:ext cx="6096000" cy="6858000"/>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42" dirty="0"/>
          </a:p>
        </p:txBody>
      </p:sp>
      <p:sp>
        <p:nvSpPr>
          <p:cNvPr id="3" name="Content Placeholder 2"/>
          <p:cNvSpPr>
            <a:spLocks noGrp="1"/>
          </p:cNvSpPr>
          <p:nvPr>
            <p:ph sz="half" idx="1"/>
          </p:nvPr>
        </p:nvSpPr>
        <p:spPr>
          <a:xfrm>
            <a:off x="410878" y="1521184"/>
            <a:ext cx="5292112" cy="44947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486790" y="1521184"/>
            <a:ext cx="5292112" cy="4494733"/>
          </a:xfrm>
        </p:spPr>
        <p:txBody>
          <a:bodyPr/>
          <a:lstStyle>
            <a:lvl1pPr>
              <a:defRPr>
                <a:solidFill>
                  <a:schemeClr val="bg1"/>
                </a:solidFill>
              </a:defRPr>
            </a:lvl1pPr>
            <a:lvl2pPr>
              <a:defRPr>
                <a:solidFill>
                  <a:schemeClr val="bg1"/>
                </a:solidFill>
              </a:defRPr>
            </a:lvl2pPr>
            <a:lvl3pPr>
              <a:defRPr>
                <a:solidFill>
                  <a:schemeClr val="accent3"/>
                </a:solidFill>
              </a:defRPr>
            </a:lvl3pPr>
            <a:lvl4pPr>
              <a:buClr>
                <a:schemeClr val="accent3"/>
              </a:buClr>
              <a:defRPr>
                <a:solidFill>
                  <a:schemeClr val="bg1"/>
                </a:solidFill>
              </a:defRPr>
            </a:lvl4pPr>
            <a:lvl5pPr>
              <a:buClr>
                <a:schemeClr val="accent3"/>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p>
            <a:r>
              <a:rPr lang="en-GB" dirty="0"/>
              <a:t>Footer (Insert &gt; Header &amp; Footer to edit) - CONFIDENTIAL</a:t>
            </a:r>
            <a:endParaRPr lang="en-US" dirty="0"/>
          </a:p>
        </p:txBody>
      </p:sp>
      <p:sp>
        <p:nvSpPr>
          <p:cNvPr id="7" name="Slide Number Placeholder 6"/>
          <p:cNvSpPr>
            <a:spLocks noGrp="1"/>
          </p:cNvSpPr>
          <p:nvPr>
            <p:ph type="sldNum" sz="quarter" idx="12"/>
          </p:nvPr>
        </p:nvSpPr>
        <p:spPr/>
        <p:txBody>
          <a:bodyPr/>
          <a:lstStyle/>
          <a:p>
            <a:fld id="{32B354EE-31EA-4FC2-9496-7B6202183237}" type="slidenum">
              <a:rPr lang="en-US" smtClean="0"/>
              <a:t>‹#›</a:t>
            </a:fld>
            <a:endParaRPr lang="en-US" dirty="0"/>
          </a:p>
        </p:txBody>
      </p:sp>
      <p:sp>
        <p:nvSpPr>
          <p:cNvPr id="8" name="Title 7">
            <a:extLst>
              <a:ext uri="{FF2B5EF4-FFF2-40B4-BE49-F238E27FC236}">
                <a16:creationId xmlns:a16="http://schemas.microsoft.com/office/drawing/2014/main" id="{97185569-060C-4071-87A6-3F288164C3BB}"/>
              </a:ext>
            </a:extLst>
          </p:cNvPr>
          <p:cNvSpPr>
            <a:spLocks noGrp="1"/>
          </p:cNvSpPr>
          <p:nvPr>
            <p:ph type="title"/>
          </p:nvPr>
        </p:nvSpPr>
        <p:spPr>
          <a:xfrm>
            <a:off x="410879" y="410669"/>
            <a:ext cx="5292111" cy="776038"/>
          </a:xfrm>
        </p:spPr>
        <p:txBody>
          <a:bodyPr/>
          <a:lstStyle/>
          <a:p>
            <a:r>
              <a:rPr lang="en-US"/>
              <a:t>Click to edit Master title style</a:t>
            </a:r>
            <a:endParaRPr lang="en-GB" dirty="0"/>
          </a:p>
        </p:txBody>
      </p:sp>
      <p:grpSp>
        <p:nvGrpSpPr>
          <p:cNvPr id="20" name="Group 4">
            <a:extLst>
              <a:ext uri="{FF2B5EF4-FFF2-40B4-BE49-F238E27FC236}">
                <a16:creationId xmlns:a16="http://schemas.microsoft.com/office/drawing/2014/main" id="{AC999FBB-C1D6-4B26-85DA-C35A9AE89FCD}"/>
              </a:ext>
            </a:extLst>
          </p:cNvPr>
          <p:cNvGrpSpPr>
            <a:grpSpLocks noChangeAspect="1"/>
          </p:cNvGrpSpPr>
          <p:nvPr userDrawn="1"/>
        </p:nvGrpSpPr>
        <p:grpSpPr bwMode="auto">
          <a:xfrm>
            <a:off x="11179123" y="6332830"/>
            <a:ext cx="607829" cy="148182"/>
            <a:chOff x="2071" y="1578"/>
            <a:chExt cx="2587" cy="631"/>
          </a:xfrm>
          <a:gradFill>
            <a:gsLst>
              <a:gs pos="50000">
                <a:srgbClr val="00E487"/>
              </a:gs>
              <a:gs pos="100000">
                <a:srgbClr val="1ECBD0"/>
              </a:gs>
            </a:gsLst>
            <a:lin ang="18900000" scaled="0"/>
          </a:gradFill>
        </p:grpSpPr>
        <p:sp>
          <p:nvSpPr>
            <p:cNvPr id="21" name="Freeform 5">
              <a:extLst>
                <a:ext uri="{FF2B5EF4-FFF2-40B4-BE49-F238E27FC236}">
                  <a16:creationId xmlns:a16="http://schemas.microsoft.com/office/drawing/2014/main" id="{1EF72B13-9B15-4498-BB43-905E33674BDE}"/>
                </a:ext>
              </a:extLst>
            </p:cNvPr>
            <p:cNvSpPr>
              <a:spLocks/>
            </p:cNvSpPr>
            <p:nvPr userDrawn="1"/>
          </p:nvSpPr>
          <p:spPr bwMode="auto">
            <a:xfrm>
              <a:off x="2765" y="1728"/>
              <a:ext cx="244" cy="318"/>
            </a:xfrm>
            <a:custGeom>
              <a:avLst/>
              <a:gdLst>
                <a:gd name="T0" fmla="*/ 12 w 129"/>
                <a:gd name="T1" fmla="*/ 0 h 168"/>
                <a:gd name="T2" fmla="*/ 8 w 129"/>
                <a:gd name="T3" fmla="*/ 4 h 168"/>
                <a:gd name="T4" fmla="*/ 8 w 129"/>
                <a:gd name="T5" fmla="*/ 25 h 168"/>
                <a:gd name="T6" fmla="*/ 12 w 129"/>
                <a:gd name="T7" fmla="*/ 29 h 168"/>
                <a:gd name="T8" fmla="*/ 48 w 129"/>
                <a:gd name="T9" fmla="*/ 29 h 168"/>
                <a:gd name="T10" fmla="*/ 48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2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2" y="0"/>
                  </a:moveTo>
                  <a:cubicBezTo>
                    <a:pt x="9" y="0"/>
                    <a:pt x="8" y="1"/>
                    <a:pt x="8" y="4"/>
                  </a:cubicBezTo>
                  <a:cubicBezTo>
                    <a:pt x="8" y="25"/>
                    <a:pt x="8" y="25"/>
                    <a:pt x="8" y="25"/>
                  </a:cubicBezTo>
                  <a:cubicBezTo>
                    <a:pt x="8" y="27"/>
                    <a:pt x="9" y="29"/>
                    <a:pt x="12" y="29"/>
                  </a:cubicBezTo>
                  <a:cubicBezTo>
                    <a:pt x="48" y="29"/>
                    <a:pt x="48" y="29"/>
                    <a:pt x="48" y="29"/>
                  </a:cubicBezTo>
                  <a:cubicBezTo>
                    <a:pt x="48" y="140"/>
                    <a:pt x="48" y="140"/>
                    <a:pt x="48"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8" y="140"/>
                    <a:pt x="125" y="140"/>
                  </a:cubicBezTo>
                  <a:cubicBezTo>
                    <a:pt x="76" y="140"/>
                    <a:pt x="76" y="140"/>
                    <a:pt x="76" y="140"/>
                  </a:cubicBezTo>
                  <a:cubicBezTo>
                    <a:pt x="76" y="4"/>
                    <a:pt x="76" y="4"/>
                    <a:pt x="76" y="4"/>
                  </a:cubicBezTo>
                  <a:cubicBezTo>
                    <a:pt x="76" y="1"/>
                    <a:pt x="75" y="0"/>
                    <a:pt x="72" y="0"/>
                  </a:cubicBez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dirty="0"/>
            </a:p>
          </p:txBody>
        </p:sp>
        <p:sp>
          <p:nvSpPr>
            <p:cNvPr id="22" name="Freeform 6">
              <a:extLst>
                <a:ext uri="{FF2B5EF4-FFF2-40B4-BE49-F238E27FC236}">
                  <a16:creationId xmlns:a16="http://schemas.microsoft.com/office/drawing/2014/main" id="{B395E17D-434D-496F-ACED-68402E0837A9}"/>
                </a:ext>
              </a:extLst>
            </p:cNvPr>
            <p:cNvSpPr>
              <a:spLocks/>
            </p:cNvSpPr>
            <p:nvPr userDrawn="1"/>
          </p:nvSpPr>
          <p:spPr bwMode="auto">
            <a:xfrm>
              <a:off x="3798" y="1728"/>
              <a:ext cx="244" cy="318"/>
            </a:xfrm>
            <a:custGeom>
              <a:avLst/>
              <a:gdLst>
                <a:gd name="T0" fmla="*/ 11 w 129"/>
                <a:gd name="T1" fmla="*/ 0 h 168"/>
                <a:gd name="T2" fmla="*/ 8 w 129"/>
                <a:gd name="T3" fmla="*/ 4 h 168"/>
                <a:gd name="T4" fmla="*/ 8 w 129"/>
                <a:gd name="T5" fmla="*/ 25 h 168"/>
                <a:gd name="T6" fmla="*/ 11 w 129"/>
                <a:gd name="T7" fmla="*/ 29 h 168"/>
                <a:gd name="T8" fmla="*/ 47 w 129"/>
                <a:gd name="T9" fmla="*/ 29 h 168"/>
                <a:gd name="T10" fmla="*/ 47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1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1" y="0"/>
                  </a:moveTo>
                  <a:cubicBezTo>
                    <a:pt x="9" y="0"/>
                    <a:pt x="8" y="1"/>
                    <a:pt x="8" y="4"/>
                  </a:cubicBezTo>
                  <a:cubicBezTo>
                    <a:pt x="8" y="25"/>
                    <a:pt x="8" y="25"/>
                    <a:pt x="8" y="25"/>
                  </a:cubicBezTo>
                  <a:cubicBezTo>
                    <a:pt x="8" y="27"/>
                    <a:pt x="9" y="29"/>
                    <a:pt x="11" y="29"/>
                  </a:cubicBezTo>
                  <a:cubicBezTo>
                    <a:pt x="47" y="29"/>
                    <a:pt x="47" y="29"/>
                    <a:pt x="47" y="29"/>
                  </a:cubicBezTo>
                  <a:cubicBezTo>
                    <a:pt x="47" y="140"/>
                    <a:pt x="47" y="140"/>
                    <a:pt x="47"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7" y="140"/>
                    <a:pt x="125" y="140"/>
                  </a:cubicBezTo>
                  <a:cubicBezTo>
                    <a:pt x="76" y="140"/>
                    <a:pt x="76" y="140"/>
                    <a:pt x="76" y="140"/>
                  </a:cubicBezTo>
                  <a:cubicBezTo>
                    <a:pt x="76" y="4"/>
                    <a:pt x="76" y="4"/>
                    <a:pt x="76" y="4"/>
                  </a:cubicBezTo>
                  <a:cubicBezTo>
                    <a:pt x="75" y="1"/>
                    <a:pt x="74" y="0"/>
                    <a:pt x="72" y="0"/>
                  </a:cubicBez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dirty="0"/>
            </a:p>
          </p:txBody>
        </p:sp>
        <p:sp>
          <p:nvSpPr>
            <p:cNvPr id="23" name="Freeform 7">
              <a:extLst>
                <a:ext uri="{FF2B5EF4-FFF2-40B4-BE49-F238E27FC236}">
                  <a16:creationId xmlns:a16="http://schemas.microsoft.com/office/drawing/2014/main" id="{A5E2052B-5DD0-4BE1-B45C-38CD489F4334}"/>
                </a:ext>
              </a:extLst>
            </p:cNvPr>
            <p:cNvSpPr>
              <a:spLocks/>
            </p:cNvSpPr>
            <p:nvPr userDrawn="1"/>
          </p:nvSpPr>
          <p:spPr bwMode="auto">
            <a:xfrm>
              <a:off x="4361" y="1728"/>
              <a:ext cx="297" cy="464"/>
            </a:xfrm>
            <a:custGeom>
              <a:avLst/>
              <a:gdLst>
                <a:gd name="T0" fmla="*/ 132 w 157"/>
                <a:gd name="T1" fmla="*/ 0 h 245"/>
                <a:gd name="T2" fmla="*/ 127 w 157"/>
                <a:gd name="T3" fmla="*/ 3 h 245"/>
                <a:gd name="T4" fmla="*/ 127 w 157"/>
                <a:gd name="T5" fmla="*/ 3 h 245"/>
                <a:gd name="T6" fmla="*/ 79 w 157"/>
                <a:gd name="T7" fmla="*/ 128 h 245"/>
                <a:gd name="T8" fmla="*/ 30 w 157"/>
                <a:gd name="T9" fmla="*/ 4 h 245"/>
                <a:gd name="T10" fmla="*/ 25 w 157"/>
                <a:gd name="T11" fmla="*/ 0 h 245"/>
                <a:gd name="T12" fmla="*/ 4 w 157"/>
                <a:gd name="T13" fmla="*/ 0 h 245"/>
                <a:gd name="T14" fmla="*/ 0 w 157"/>
                <a:gd name="T15" fmla="*/ 3 h 245"/>
                <a:gd name="T16" fmla="*/ 1 w 157"/>
                <a:gd name="T17" fmla="*/ 6 h 245"/>
                <a:gd name="T18" fmla="*/ 1 w 157"/>
                <a:gd name="T19" fmla="*/ 6 h 245"/>
                <a:gd name="T20" fmla="*/ 1 w 157"/>
                <a:gd name="T21" fmla="*/ 6 h 245"/>
                <a:gd name="T22" fmla="*/ 64 w 157"/>
                <a:gd name="T23" fmla="*/ 168 h 245"/>
                <a:gd name="T24" fmla="*/ 59 w 157"/>
                <a:gd name="T25" fmla="*/ 182 h 245"/>
                <a:gd name="T26" fmla="*/ 48 w 157"/>
                <a:gd name="T27" fmla="*/ 205 h 245"/>
                <a:gd name="T28" fmla="*/ 38 w 157"/>
                <a:gd name="T29" fmla="*/ 215 h 245"/>
                <a:gd name="T30" fmla="*/ 30 w 157"/>
                <a:gd name="T31" fmla="*/ 217 h 245"/>
                <a:gd name="T32" fmla="*/ 26 w 157"/>
                <a:gd name="T33" fmla="*/ 216 h 245"/>
                <a:gd name="T34" fmla="*/ 14 w 157"/>
                <a:gd name="T35" fmla="*/ 213 h 245"/>
                <a:gd name="T36" fmla="*/ 7 w 157"/>
                <a:gd name="T37" fmla="*/ 210 h 245"/>
                <a:gd name="T38" fmla="*/ 3 w 157"/>
                <a:gd name="T39" fmla="*/ 215 h 245"/>
                <a:gd name="T40" fmla="*/ 3 w 157"/>
                <a:gd name="T41" fmla="*/ 233 h 245"/>
                <a:gd name="T42" fmla="*/ 3 w 157"/>
                <a:gd name="T43" fmla="*/ 233 h 245"/>
                <a:gd name="T44" fmla="*/ 7 w 157"/>
                <a:gd name="T45" fmla="*/ 240 h 245"/>
                <a:gd name="T46" fmla="*/ 32 w 157"/>
                <a:gd name="T47" fmla="*/ 245 h 245"/>
                <a:gd name="T48" fmla="*/ 54 w 157"/>
                <a:gd name="T49" fmla="*/ 238 h 245"/>
                <a:gd name="T50" fmla="*/ 73 w 157"/>
                <a:gd name="T51" fmla="*/ 220 h 245"/>
                <a:gd name="T52" fmla="*/ 79 w 157"/>
                <a:gd name="T53" fmla="*/ 208 h 245"/>
                <a:gd name="T54" fmla="*/ 156 w 157"/>
                <a:gd name="T55" fmla="*/ 6 h 245"/>
                <a:gd name="T56" fmla="*/ 157 w 157"/>
                <a:gd name="T57" fmla="*/ 3 h 245"/>
                <a:gd name="T58" fmla="*/ 153 w 157"/>
                <a:gd name="T59" fmla="*/ 0 h 245"/>
                <a:gd name="T60" fmla="*/ 132 w 157"/>
                <a:gd name="T6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7" h="245">
                  <a:moveTo>
                    <a:pt x="132" y="0"/>
                  </a:moveTo>
                  <a:cubicBezTo>
                    <a:pt x="129" y="0"/>
                    <a:pt x="128" y="1"/>
                    <a:pt x="127" y="3"/>
                  </a:cubicBezTo>
                  <a:cubicBezTo>
                    <a:pt x="127" y="3"/>
                    <a:pt x="127" y="3"/>
                    <a:pt x="127" y="3"/>
                  </a:cubicBezTo>
                  <a:cubicBezTo>
                    <a:pt x="79" y="128"/>
                    <a:pt x="79" y="128"/>
                    <a:pt x="79" y="128"/>
                  </a:cubicBezTo>
                  <a:cubicBezTo>
                    <a:pt x="30" y="4"/>
                    <a:pt x="30" y="4"/>
                    <a:pt x="30" y="4"/>
                  </a:cubicBezTo>
                  <a:cubicBezTo>
                    <a:pt x="29" y="1"/>
                    <a:pt x="28" y="0"/>
                    <a:pt x="25" y="0"/>
                  </a:cubicBezTo>
                  <a:cubicBezTo>
                    <a:pt x="4" y="0"/>
                    <a:pt x="4" y="0"/>
                    <a:pt x="4" y="0"/>
                  </a:cubicBezTo>
                  <a:cubicBezTo>
                    <a:pt x="2" y="0"/>
                    <a:pt x="0" y="1"/>
                    <a:pt x="0" y="3"/>
                  </a:cubicBezTo>
                  <a:cubicBezTo>
                    <a:pt x="0" y="4"/>
                    <a:pt x="1" y="5"/>
                    <a:pt x="1" y="6"/>
                  </a:cubicBezTo>
                  <a:cubicBezTo>
                    <a:pt x="1" y="6"/>
                    <a:pt x="1" y="6"/>
                    <a:pt x="1" y="6"/>
                  </a:cubicBezTo>
                  <a:cubicBezTo>
                    <a:pt x="1" y="6"/>
                    <a:pt x="1" y="6"/>
                    <a:pt x="1" y="6"/>
                  </a:cubicBezTo>
                  <a:cubicBezTo>
                    <a:pt x="64" y="168"/>
                    <a:pt x="64" y="168"/>
                    <a:pt x="64" y="168"/>
                  </a:cubicBezTo>
                  <a:cubicBezTo>
                    <a:pt x="59" y="182"/>
                    <a:pt x="59" y="182"/>
                    <a:pt x="59" y="182"/>
                  </a:cubicBezTo>
                  <a:cubicBezTo>
                    <a:pt x="57" y="187"/>
                    <a:pt x="53" y="199"/>
                    <a:pt x="48" y="205"/>
                  </a:cubicBezTo>
                  <a:cubicBezTo>
                    <a:pt x="44" y="211"/>
                    <a:pt x="42" y="213"/>
                    <a:pt x="38" y="215"/>
                  </a:cubicBezTo>
                  <a:cubicBezTo>
                    <a:pt x="35" y="216"/>
                    <a:pt x="33" y="217"/>
                    <a:pt x="30" y="217"/>
                  </a:cubicBezTo>
                  <a:cubicBezTo>
                    <a:pt x="28" y="217"/>
                    <a:pt x="27" y="217"/>
                    <a:pt x="26" y="216"/>
                  </a:cubicBezTo>
                  <a:cubicBezTo>
                    <a:pt x="22" y="216"/>
                    <a:pt x="18" y="214"/>
                    <a:pt x="14" y="213"/>
                  </a:cubicBezTo>
                  <a:cubicBezTo>
                    <a:pt x="11" y="212"/>
                    <a:pt x="9" y="210"/>
                    <a:pt x="7" y="210"/>
                  </a:cubicBezTo>
                  <a:cubicBezTo>
                    <a:pt x="5" y="210"/>
                    <a:pt x="3" y="212"/>
                    <a:pt x="3" y="215"/>
                  </a:cubicBezTo>
                  <a:cubicBezTo>
                    <a:pt x="3" y="233"/>
                    <a:pt x="3" y="233"/>
                    <a:pt x="3" y="233"/>
                  </a:cubicBezTo>
                  <a:cubicBezTo>
                    <a:pt x="3" y="233"/>
                    <a:pt x="3" y="233"/>
                    <a:pt x="3" y="233"/>
                  </a:cubicBezTo>
                  <a:cubicBezTo>
                    <a:pt x="3" y="236"/>
                    <a:pt x="4" y="238"/>
                    <a:pt x="7" y="240"/>
                  </a:cubicBezTo>
                  <a:cubicBezTo>
                    <a:pt x="15" y="243"/>
                    <a:pt x="21" y="245"/>
                    <a:pt x="32" y="245"/>
                  </a:cubicBezTo>
                  <a:cubicBezTo>
                    <a:pt x="41" y="244"/>
                    <a:pt x="47" y="242"/>
                    <a:pt x="54" y="238"/>
                  </a:cubicBezTo>
                  <a:cubicBezTo>
                    <a:pt x="61" y="233"/>
                    <a:pt x="67" y="227"/>
                    <a:pt x="73" y="220"/>
                  </a:cubicBezTo>
                  <a:cubicBezTo>
                    <a:pt x="75" y="216"/>
                    <a:pt x="77" y="212"/>
                    <a:pt x="79" y="208"/>
                  </a:cubicBezTo>
                  <a:cubicBezTo>
                    <a:pt x="83" y="200"/>
                    <a:pt x="144" y="40"/>
                    <a:pt x="156" y="6"/>
                  </a:cubicBezTo>
                  <a:cubicBezTo>
                    <a:pt x="157" y="5"/>
                    <a:pt x="157" y="4"/>
                    <a:pt x="157" y="3"/>
                  </a:cubicBezTo>
                  <a:cubicBezTo>
                    <a:pt x="157" y="1"/>
                    <a:pt x="155" y="0"/>
                    <a:pt x="153" y="0"/>
                  </a:cubicBezTo>
                  <a:lnTo>
                    <a:pt x="1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dirty="0"/>
            </a:p>
          </p:txBody>
        </p:sp>
        <p:sp>
          <p:nvSpPr>
            <p:cNvPr id="24" name="Freeform 8">
              <a:extLst>
                <a:ext uri="{FF2B5EF4-FFF2-40B4-BE49-F238E27FC236}">
                  <a16:creationId xmlns:a16="http://schemas.microsoft.com/office/drawing/2014/main" id="{29E97861-81A0-48C0-8AEF-CACA7732ED6E}"/>
                </a:ext>
              </a:extLst>
            </p:cNvPr>
            <p:cNvSpPr>
              <a:spLocks/>
            </p:cNvSpPr>
            <p:nvPr userDrawn="1"/>
          </p:nvSpPr>
          <p:spPr bwMode="auto">
            <a:xfrm>
              <a:off x="3457" y="1726"/>
              <a:ext cx="263" cy="322"/>
            </a:xfrm>
            <a:custGeom>
              <a:avLst/>
              <a:gdLst>
                <a:gd name="T0" fmla="*/ 28 w 139"/>
                <a:gd name="T1" fmla="*/ 21 h 170"/>
                <a:gd name="T2" fmla="*/ 28 w 139"/>
                <a:gd name="T3" fmla="*/ 6 h 170"/>
                <a:gd name="T4" fmla="*/ 25 w 139"/>
                <a:gd name="T5" fmla="*/ 3 h 170"/>
                <a:gd name="T6" fmla="*/ 4 w 139"/>
                <a:gd name="T7" fmla="*/ 3 h 170"/>
                <a:gd name="T8" fmla="*/ 0 w 139"/>
                <a:gd name="T9" fmla="*/ 6 h 170"/>
                <a:gd name="T10" fmla="*/ 0 w 139"/>
                <a:gd name="T11" fmla="*/ 167 h 170"/>
                <a:gd name="T12" fmla="*/ 4 w 139"/>
                <a:gd name="T13" fmla="*/ 170 h 170"/>
                <a:gd name="T14" fmla="*/ 25 w 139"/>
                <a:gd name="T15" fmla="*/ 170 h 170"/>
                <a:gd name="T16" fmla="*/ 28 w 139"/>
                <a:gd name="T17" fmla="*/ 167 h 170"/>
                <a:gd name="T18" fmla="*/ 28 w 139"/>
                <a:gd name="T19" fmla="*/ 68 h 170"/>
                <a:gd name="T20" fmla="*/ 70 w 139"/>
                <a:gd name="T21" fmla="*/ 28 h 170"/>
                <a:gd name="T22" fmla="*/ 111 w 139"/>
                <a:gd name="T23" fmla="*/ 68 h 170"/>
                <a:gd name="T24" fmla="*/ 111 w 139"/>
                <a:gd name="T25" fmla="*/ 167 h 170"/>
                <a:gd name="T26" fmla="*/ 111 w 139"/>
                <a:gd name="T27" fmla="*/ 167 h 170"/>
                <a:gd name="T28" fmla="*/ 114 w 139"/>
                <a:gd name="T29" fmla="*/ 170 h 170"/>
                <a:gd name="T30" fmla="*/ 136 w 139"/>
                <a:gd name="T31" fmla="*/ 170 h 170"/>
                <a:gd name="T32" fmla="*/ 139 w 139"/>
                <a:gd name="T33" fmla="*/ 167 h 170"/>
                <a:gd name="T34" fmla="*/ 139 w 139"/>
                <a:gd name="T35" fmla="*/ 68 h 170"/>
                <a:gd name="T36" fmla="*/ 139 w 139"/>
                <a:gd name="T37" fmla="*/ 68 h 170"/>
                <a:gd name="T38" fmla="*/ 139 w 139"/>
                <a:gd name="T39" fmla="*/ 68 h 170"/>
                <a:gd name="T40" fmla="*/ 120 w 139"/>
                <a:gd name="T41" fmla="*/ 20 h 170"/>
                <a:gd name="T42" fmla="*/ 70 w 139"/>
                <a:gd name="T43" fmla="*/ 0 h 170"/>
                <a:gd name="T44" fmla="*/ 28 w 139"/>
                <a:gd name="T45" fmla="*/ 2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170">
                  <a:moveTo>
                    <a:pt x="28" y="21"/>
                  </a:moveTo>
                  <a:cubicBezTo>
                    <a:pt x="28" y="6"/>
                    <a:pt x="28" y="6"/>
                    <a:pt x="28" y="6"/>
                  </a:cubicBezTo>
                  <a:cubicBezTo>
                    <a:pt x="28" y="4"/>
                    <a:pt x="27" y="3"/>
                    <a:pt x="25" y="3"/>
                  </a:cubicBezTo>
                  <a:cubicBezTo>
                    <a:pt x="4" y="3"/>
                    <a:pt x="4" y="3"/>
                    <a:pt x="4" y="3"/>
                  </a:cubicBezTo>
                  <a:cubicBezTo>
                    <a:pt x="1" y="3"/>
                    <a:pt x="0" y="4"/>
                    <a:pt x="0" y="6"/>
                  </a:cubicBezTo>
                  <a:cubicBezTo>
                    <a:pt x="0" y="167"/>
                    <a:pt x="0" y="167"/>
                    <a:pt x="0" y="167"/>
                  </a:cubicBezTo>
                  <a:cubicBezTo>
                    <a:pt x="0" y="169"/>
                    <a:pt x="1" y="170"/>
                    <a:pt x="4" y="170"/>
                  </a:cubicBezTo>
                  <a:cubicBezTo>
                    <a:pt x="25" y="170"/>
                    <a:pt x="25" y="170"/>
                    <a:pt x="25" y="170"/>
                  </a:cubicBezTo>
                  <a:cubicBezTo>
                    <a:pt x="27" y="170"/>
                    <a:pt x="28" y="169"/>
                    <a:pt x="28" y="167"/>
                  </a:cubicBezTo>
                  <a:cubicBezTo>
                    <a:pt x="28" y="68"/>
                    <a:pt x="28" y="68"/>
                    <a:pt x="28" y="68"/>
                  </a:cubicBezTo>
                  <a:cubicBezTo>
                    <a:pt x="28" y="49"/>
                    <a:pt x="42" y="28"/>
                    <a:pt x="70" y="28"/>
                  </a:cubicBezTo>
                  <a:cubicBezTo>
                    <a:pt x="97" y="28"/>
                    <a:pt x="111" y="49"/>
                    <a:pt x="111" y="68"/>
                  </a:cubicBezTo>
                  <a:cubicBezTo>
                    <a:pt x="111" y="167"/>
                    <a:pt x="111" y="167"/>
                    <a:pt x="111" y="167"/>
                  </a:cubicBezTo>
                  <a:cubicBezTo>
                    <a:pt x="111" y="167"/>
                    <a:pt x="111" y="167"/>
                    <a:pt x="111" y="167"/>
                  </a:cubicBezTo>
                  <a:cubicBezTo>
                    <a:pt x="111" y="169"/>
                    <a:pt x="112" y="170"/>
                    <a:pt x="114" y="170"/>
                  </a:cubicBezTo>
                  <a:cubicBezTo>
                    <a:pt x="136" y="170"/>
                    <a:pt x="136" y="170"/>
                    <a:pt x="136" y="170"/>
                  </a:cubicBezTo>
                  <a:cubicBezTo>
                    <a:pt x="138" y="170"/>
                    <a:pt x="139" y="169"/>
                    <a:pt x="139" y="167"/>
                  </a:cubicBezTo>
                  <a:cubicBezTo>
                    <a:pt x="139" y="68"/>
                    <a:pt x="139" y="68"/>
                    <a:pt x="139" y="68"/>
                  </a:cubicBezTo>
                  <a:cubicBezTo>
                    <a:pt x="139" y="68"/>
                    <a:pt x="139" y="68"/>
                    <a:pt x="139" y="68"/>
                  </a:cubicBezTo>
                  <a:cubicBezTo>
                    <a:pt x="139" y="68"/>
                    <a:pt x="139" y="68"/>
                    <a:pt x="139" y="68"/>
                  </a:cubicBezTo>
                  <a:cubicBezTo>
                    <a:pt x="139" y="51"/>
                    <a:pt x="133" y="35"/>
                    <a:pt x="120" y="20"/>
                  </a:cubicBezTo>
                  <a:cubicBezTo>
                    <a:pt x="109" y="7"/>
                    <a:pt x="88" y="0"/>
                    <a:pt x="70" y="0"/>
                  </a:cubicBezTo>
                  <a:cubicBezTo>
                    <a:pt x="41" y="0"/>
                    <a:pt x="28" y="21"/>
                    <a:pt x="28"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dirty="0"/>
            </a:p>
          </p:txBody>
        </p:sp>
        <p:sp>
          <p:nvSpPr>
            <p:cNvPr id="25" name="Freeform 9">
              <a:extLst>
                <a:ext uri="{FF2B5EF4-FFF2-40B4-BE49-F238E27FC236}">
                  <a16:creationId xmlns:a16="http://schemas.microsoft.com/office/drawing/2014/main" id="{0D779E3A-0123-49DB-8413-A23AC0E07A51}"/>
                </a:ext>
              </a:extLst>
            </p:cNvPr>
            <p:cNvSpPr>
              <a:spLocks/>
            </p:cNvSpPr>
            <p:nvPr userDrawn="1"/>
          </p:nvSpPr>
          <p:spPr bwMode="auto">
            <a:xfrm>
              <a:off x="2264" y="1724"/>
              <a:ext cx="246" cy="328"/>
            </a:xfrm>
            <a:custGeom>
              <a:avLst/>
              <a:gdLst>
                <a:gd name="T0" fmla="*/ 4 w 130"/>
                <a:gd name="T1" fmla="*/ 48 h 173"/>
                <a:gd name="T2" fmla="*/ 56 w 130"/>
                <a:gd name="T3" fmla="*/ 97 h 173"/>
                <a:gd name="T4" fmla="*/ 57 w 130"/>
                <a:gd name="T5" fmla="*/ 98 h 173"/>
                <a:gd name="T6" fmla="*/ 101 w 130"/>
                <a:gd name="T7" fmla="*/ 124 h 173"/>
                <a:gd name="T8" fmla="*/ 66 w 130"/>
                <a:gd name="T9" fmla="*/ 146 h 173"/>
                <a:gd name="T10" fmla="*/ 30 w 130"/>
                <a:gd name="T11" fmla="*/ 118 h 173"/>
                <a:gd name="T12" fmla="*/ 26 w 130"/>
                <a:gd name="T13" fmla="*/ 114 h 173"/>
                <a:gd name="T14" fmla="*/ 5 w 130"/>
                <a:gd name="T15" fmla="*/ 114 h 173"/>
                <a:gd name="T16" fmla="*/ 0 w 130"/>
                <a:gd name="T17" fmla="*/ 118 h 173"/>
                <a:gd name="T18" fmla="*/ 65 w 130"/>
                <a:gd name="T19" fmla="*/ 173 h 173"/>
                <a:gd name="T20" fmla="*/ 130 w 130"/>
                <a:gd name="T21" fmla="*/ 120 h 173"/>
                <a:gd name="T22" fmla="*/ 72 w 130"/>
                <a:gd name="T23" fmla="*/ 74 h 173"/>
                <a:gd name="T24" fmla="*/ 32 w 130"/>
                <a:gd name="T25" fmla="*/ 48 h 173"/>
                <a:gd name="T26" fmla="*/ 63 w 130"/>
                <a:gd name="T27" fmla="*/ 27 h 173"/>
                <a:gd name="T28" fmla="*/ 97 w 130"/>
                <a:gd name="T29" fmla="*/ 49 h 173"/>
                <a:gd name="T30" fmla="*/ 102 w 130"/>
                <a:gd name="T31" fmla="*/ 53 h 173"/>
                <a:gd name="T32" fmla="*/ 120 w 130"/>
                <a:gd name="T33" fmla="*/ 53 h 173"/>
                <a:gd name="T34" fmla="*/ 125 w 130"/>
                <a:gd name="T35" fmla="*/ 48 h 173"/>
                <a:gd name="T36" fmla="*/ 63 w 130"/>
                <a:gd name="T37" fmla="*/ 0 h 173"/>
                <a:gd name="T38" fmla="*/ 4 w 130"/>
                <a:gd name="T39" fmla="*/ 4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173">
                  <a:moveTo>
                    <a:pt x="4" y="48"/>
                  </a:moveTo>
                  <a:cubicBezTo>
                    <a:pt x="4" y="77"/>
                    <a:pt x="19" y="91"/>
                    <a:pt x="56" y="97"/>
                  </a:cubicBezTo>
                  <a:cubicBezTo>
                    <a:pt x="57" y="98"/>
                    <a:pt x="57" y="98"/>
                    <a:pt x="57" y="98"/>
                  </a:cubicBezTo>
                  <a:cubicBezTo>
                    <a:pt x="83" y="102"/>
                    <a:pt x="101" y="105"/>
                    <a:pt x="101" y="124"/>
                  </a:cubicBezTo>
                  <a:cubicBezTo>
                    <a:pt x="101" y="139"/>
                    <a:pt x="83" y="146"/>
                    <a:pt x="66" y="146"/>
                  </a:cubicBezTo>
                  <a:cubicBezTo>
                    <a:pt x="46" y="146"/>
                    <a:pt x="33" y="136"/>
                    <a:pt x="30" y="118"/>
                  </a:cubicBezTo>
                  <a:cubicBezTo>
                    <a:pt x="30" y="116"/>
                    <a:pt x="29" y="114"/>
                    <a:pt x="26" y="114"/>
                  </a:cubicBezTo>
                  <a:cubicBezTo>
                    <a:pt x="5" y="114"/>
                    <a:pt x="5" y="114"/>
                    <a:pt x="5" y="114"/>
                  </a:cubicBezTo>
                  <a:cubicBezTo>
                    <a:pt x="2" y="114"/>
                    <a:pt x="0" y="116"/>
                    <a:pt x="0" y="118"/>
                  </a:cubicBezTo>
                  <a:cubicBezTo>
                    <a:pt x="0" y="150"/>
                    <a:pt x="27" y="173"/>
                    <a:pt x="65" y="173"/>
                  </a:cubicBezTo>
                  <a:cubicBezTo>
                    <a:pt x="104" y="173"/>
                    <a:pt x="130" y="151"/>
                    <a:pt x="130" y="120"/>
                  </a:cubicBezTo>
                  <a:cubicBezTo>
                    <a:pt x="130" y="86"/>
                    <a:pt x="100" y="79"/>
                    <a:pt x="72" y="74"/>
                  </a:cubicBezTo>
                  <a:cubicBezTo>
                    <a:pt x="37" y="68"/>
                    <a:pt x="32" y="58"/>
                    <a:pt x="32" y="48"/>
                  </a:cubicBezTo>
                  <a:cubicBezTo>
                    <a:pt x="32" y="32"/>
                    <a:pt x="49" y="27"/>
                    <a:pt x="63" y="27"/>
                  </a:cubicBezTo>
                  <a:cubicBezTo>
                    <a:pt x="82" y="27"/>
                    <a:pt x="94" y="34"/>
                    <a:pt x="97" y="49"/>
                  </a:cubicBezTo>
                  <a:cubicBezTo>
                    <a:pt x="98" y="51"/>
                    <a:pt x="98" y="53"/>
                    <a:pt x="102" y="53"/>
                  </a:cubicBezTo>
                  <a:cubicBezTo>
                    <a:pt x="120" y="53"/>
                    <a:pt x="120" y="53"/>
                    <a:pt x="120" y="53"/>
                  </a:cubicBezTo>
                  <a:cubicBezTo>
                    <a:pt x="123" y="53"/>
                    <a:pt x="125" y="51"/>
                    <a:pt x="125" y="48"/>
                  </a:cubicBezTo>
                  <a:cubicBezTo>
                    <a:pt x="125" y="19"/>
                    <a:pt x="100" y="0"/>
                    <a:pt x="63" y="0"/>
                  </a:cubicBezTo>
                  <a:cubicBezTo>
                    <a:pt x="22" y="0"/>
                    <a:pt x="4" y="25"/>
                    <a:pt x="4" y="4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dirty="0"/>
            </a:p>
          </p:txBody>
        </p:sp>
        <p:sp>
          <p:nvSpPr>
            <p:cNvPr id="26" name="Freeform 10">
              <a:extLst>
                <a:ext uri="{FF2B5EF4-FFF2-40B4-BE49-F238E27FC236}">
                  <a16:creationId xmlns:a16="http://schemas.microsoft.com/office/drawing/2014/main" id="{4F51EF93-B585-496B-B94C-E8BE3985236A}"/>
                </a:ext>
              </a:extLst>
            </p:cNvPr>
            <p:cNvSpPr>
              <a:spLocks/>
            </p:cNvSpPr>
            <p:nvPr userDrawn="1"/>
          </p:nvSpPr>
          <p:spPr bwMode="auto">
            <a:xfrm>
              <a:off x="3062" y="1722"/>
              <a:ext cx="312" cy="474"/>
            </a:xfrm>
            <a:custGeom>
              <a:avLst/>
              <a:gdLst>
                <a:gd name="T0" fmla="*/ 67 w 165"/>
                <a:gd name="T1" fmla="*/ 0 h 250"/>
                <a:gd name="T2" fmla="*/ 0 w 165"/>
                <a:gd name="T3" fmla="*/ 86 h 250"/>
                <a:gd name="T4" fmla="*/ 82 w 165"/>
                <a:gd name="T5" fmla="*/ 174 h 250"/>
                <a:gd name="T6" fmla="*/ 137 w 165"/>
                <a:gd name="T7" fmla="*/ 152 h 250"/>
                <a:gd name="T8" fmla="*/ 137 w 165"/>
                <a:gd name="T9" fmla="*/ 173 h 250"/>
                <a:gd name="T10" fmla="*/ 89 w 165"/>
                <a:gd name="T11" fmla="*/ 222 h 250"/>
                <a:gd name="T12" fmla="*/ 48 w 165"/>
                <a:gd name="T13" fmla="*/ 194 h 250"/>
                <a:gd name="T14" fmla="*/ 43 w 165"/>
                <a:gd name="T15" fmla="*/ 190 h 250"/>
                <a:gd name="T16" fmla="*/ 24 w 165"/>
                <a:gd name="T17" fmla="*/ 190 h 250"/>
                <a:gd name="T18" fmla="*/ 19 w 165"/>
                <a:gd name="T19" fmla="*/ 195 h 250"/>
                <a:gd name="T20" fmla="*/ 89 w 165"/>
                <a:gd name="T21" fmla="*/ 250 h 250"/>
                <a:gd name="T22" fmla="*/ 165 w 165"/>
                <a:gd name="T23" fmla="*/ 174 h 250"/>
                <a:gd name="T24" fmla="*/ 165 w 165"/>
                <a:gd name="T25" fmla="*/ 7 h 250"/>
                <a:gd name="T26" fmla="*/ 162 w 165"/>
                <a:gd name="T27" fmla="*/ 4 h 250"/>
                <a:gd name="T28" fmla="*/ 140 w 165"/>
                <a:gd name="T29" fmla="*/ 4 h 250"/>
                <a:gd name="T30" fmla="*/ 137 w 165"/>
                <a:gd name="T31" fmla="*/ 7 h 250"/>
                <a:gd name="T32" fmla="*/ 137 w 165"/>
                <a:gd name="T33" fmla="*/ 21 h 250"/>
                <a:gd name="T34" fmla="*/ 99 w 165"/>
                <a:gd name="T35" fmla="*/ 0 h 250"/>
                <a:gd name="T36" fmla="*/ 96 w 165"/>
                <a:gd name="T37" fmla="*/ 3 h 250"/>
                <a:gd name="T38" fmla="*/ 96 w 165"/>
                <a:gd name="T39" fmla="*/ 28 h 250"/>
                <a:gd name="T40" fmla="*/ 97 w 165"/>
                <a:gd name="T41" fmla="*/ 31 h 250"/>
                <a:gd name="T42" fmla="*/ 138 w 165"/>
                <a:gd name="T43" fmla="*/ 87 h 250"/>
                <a:gd name="T44" fmla="*/ 83 w 165"/>
                <a:gd name="T45" fmla="*/ 146 h 250"/>
                <a:gd name="T46" fmla="*/ 29 w 165"/>
                <a:gd name="T47" fmla="*/ 87 h 250"/>
                <a:gd name="T48" fmla="*/ 68 w 165"/>
                <a:gd name="T49" fmla="*/ 31 h 250"/>
                <a:gd name="T50" fmla="*/ 70 w 165"/>
                <a:gd name="T51" fmla="*/ 29 h 250"/>
                <a:gd name="T52" fmla="*/ 70 w 165"/>
                <a:gd name="T53" fmla="*/ 3 h 250"/>
                <a:gd name="T54" fmla="*/ 67 w 165"/>
                <a:gd name="T55" fmla="*/ 0 h 250"/>
                <a:gd name="T56" fmla="*/ 67 w 165"/>
                <a:gd name="T57"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5" h="250">
                  <a:moveTo>
                    <a:pt x="67" y="0"/>
                  </a:moveTo>
                  <a:cubicBezTo>
                    <a:pt x="29" y="8"/>
                    <a:pt x="0" y="44"/>
                    <a:pt x="0" y="86"/>
                  </a:cubicBezTo>
                  <a:cubicBezTo>
                    <a:pt x="0" y="135"/>
                    <a:pt x="37" y="174"/>
                    <a:pt x="82" y="174"/>
                  </a:cubicBezTo>
                  <a:cubicBezTo>
                    <a:pt x="103" y="174"/>
                    <a:pt x="122" y="166"/>
                    <a:pt x="137" y="152"/>
                  </a:cubicBezTo>
                  <a:cubicBezTo>
                    <a:pt x="137" y="173"/>
                    <a:pt x="137" y="173"/>
                    <a:pt x="137" y="173"/>
                  </a:cubicBezTo>
                  <a:cubicBezTo>
                    <a:pt x="137" y="205"/>
                    <a:pt x="120" y="222"/>
                    <a:pt x="89" y="222"/>
                  </a:cubicBezTo>
                  <a:cubicBezTo>
                    <a:pt x="66" y="222"/>
                    <a:pt x="52" y="213"/>
                    <a:pt x="48" y="194"/>
                  </a:cubicBezTo>
                  <a:cubicBezTo>
                    <a:pt x="47" y="192"/>
                    <a:pt x="46" y="190"/>
                    <a:pt x="43" y="190"/>
                  </a:cubicBezTo>
                  <a:cubicBezTo>
                    <a:pt x="24" y="190"/>
                    <a:pt x="24" y="190"/>
                    <a:pt x="24" y="190"/>
                  </a:cubicBezTo>
                  <a:cubicBezTo>
                    <a:pt x="21" y="190"/>
                    <a:pt x="19" y="192"/>
                    <a:pt x="19" y="195"/>
                  </a:cubicBezTo>
                  <a:cubicBezTo>
                    <a:pt x="22" y="228"/>
                    <a:pt x="51" y="250"/>
                    <a:pt x="89" y="250"/>
                  </a:cubicBezTo>
                  <a:cubicBezTo>
                    <a:pt x="135" y="250"/>
                    <a:pt x="165" y="219"/>
                    <a:pt x="165" y="174"/>
                  </a:cubicBezTo>
                  <a:cubicBezTo>
                    <a:pt x="165" y="7"/>
                    <a:pt x="165" y="7"/>
                    <a:pt x="165" y="7"/>
                  </a:cubicBezTo>
                  <a:cubicBezTo>
                    <a:pt x="165" y="5"/>
                    <a:pt x="164" y="4"/>
                    <a:pt x="162" y="4"/>
                  </a:cubicBezTo>
                  <a:cubicBezTo>
                    <a:pt x="140" y="4"/>
                    <a:pt x="140" y="4"/>
                    <a:pt x="140" y="4"/>
                  </a:cubicBezTo>
                  <a:cubicBezTo>
                    <a:pt x="138" y="4"/>
                    <a:pt x="137" y="5"/>
                    <a:pt x="137" y="7"/>
                  </a:cubicBezTo>
                  <a:cubicBezTo>
                    <a:pt x="137" y="21"/>
                    <a:pt x="137" y="21"/>
                    <a:pt x="137" y="21"/>
                  </a:cubicBezTo>
                  <a:cubicBezTo>
                    <a:pt x="126" y="11"/>
                    <a:pt x="113" y="4"/>
                    <a:pt x="99" y="0"/>
                  </a:cubicBezTo>
                  <a:cubicBezTo>
                    <a:pt x="97" y="0"/>
                    <a:pt x="96" y="1"/>
                    <a:pt x="96" y="3"/>
                  </a:cubicBezTo>
                  <a:cubicBezTo>
                    <a:pt x="96" y="28"/>
                    <a:pt x="96" y="28"/>
                    <a:pt x="96" y="28"/>
                  </a:cubicBezTo>
                  <a:cubicBezTo>
                    <a:pt x="96" y="29"/>
                    <a:pt x="96" y="30"/>
                    <a:pt x="97" y="31"/>
                  </a:cubicBezTo>
                  <a:cubicBezTo>
                    <a:pt x="121" y="37"/>
                    <a:pt x="138" y="60"/>
                    <a:pt x="138" y="87"/>
                  </a:cubicBezTo>
                  <a:cubicBezTo>
                    <a:pt x="138" y="119"/>
                    <a:pt x="114" y="146"/>
                    <a:pt x="83" y="146"/>
                  </a:cubicBezTo>
                  <a:cubicBezTo>
                    <a:pt x="53" y="146"/>
                    <a:pt x="29" y="119"/>
                    <a:pt x="29" y="87"/>
                  </a:cubicBezTo>
                  <a:cubicBezTo>
                    <a:pt x="29" y="61"/>
                    <a:pt x="45" y="38"/>
                    <a:pt x="68" y="31"/>
                  </a:cubicBezTo>
                  <a:cubicBezTo>
                    <a:pt x="69" y="31"/>
                    <a:pt x="70" y="30"/>
                    <a:pt x="70" y="29"/>
                  </a:cubicBezTo>
                  <a:cubicBezTo>
                    <a:pt x="70" y="3"/>
                    <a:pt x="70" y="3"/>
                    <a:pt x="70" y="3"/>
                  </a:cubicBezTo>
                  <a:cubicBezTo>
                    <a:pt x="70" y="1"/>
                    <a:pt x="69" y="0"/>
                    <a:pt x="67" y="0"/>
                  </a:cubicBezTo>
                  <a:cubicBezTo>
                    <a:pt x="67" y="0"/>
                    <a:pt x="67" y="0"/>
                    <a:pt x="6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dirty="0"/>
            </a:p>
          </p:txBody>
        </p:sp>
        <p:sp>
          <p:nvSpPr>
            <p:cNvPr id="27" name="Oval 11">
              <a:extLst>
                <a:ext uri="{FF2B5EF4-FFF2-40B4-BE49-F238E27FC236}">
                  <a16:creationId xmlns:a16="http://schemas.microsoft.com/office/drawing/2014/main" id="{781972F2-AA1F-442F-B2D7-23EDE922FF06}"/>
                </a:ext>
              </a:extLst>
            </p:cNvPr>
            <p:cNvSpPr>
              <a:spLocks noChangeArrowheads="1"/>
            </p:cNvSpPr>
            <p:nvPr userDrawn="1"/>
          </p:nvSpPr>
          <p:spPr bwMode="auto">
            <a:xfrm>
              <a:off x="284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dirty="0"/>
            </a:p>
          </p:txBody>
        </p:sp>
        <p:sp>
          <p:nvSpPr>
            <p:cNvPr id="28" name="Oval 12">
              <a:extLst>
                <a:ext uri="{FF2B5EF4-FFF2-40B4-BE49-F238E27FC236}">
                  <a16:creationId xmlns:a16="http://schemas.microsoft.com/office/drawing/2014/main" id="{BC311869-F154-41A1-AE1A-2BB4BC44553F}"/>
                </a:ext>
              </a:extLst>
            </p:cNvPr>
            <p:cNvSpPr>
              <a:spLocks noChangeArrowheads="1"/>
            </p:cNvSpPr>
            <p:nvPr userDrawn="1"/>
          </p:nvSpPr>
          <p:spPr bwMode="auto">
            <a:xfrm>
              <a:off x="387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dirty="0"/>
            </a:p>
          </p:txBody>
        </p:sp>
        <p:sp>
          <p:nvSpPr>
            <p:cNvPr id="29" name="Freeform 13">
              <a:extLst>
                <a:ext uri="{FF2B5EF4-FFF2-40B4-BE49-F238E27FC236}">
                  <a16:creationId xmlns:a16="http://schemas.microsoft.com/office/drawing/2014/main" id="{90BD3BAD-FEE2-4A45-B755-58079972566E}"/>
                </a:ext>
              </a:extLst>
            </p:cNvPr>
            <p:cNvSpPr>
              <a:spLocks/>
            </p:cNvSpPr>
            <p:nvPr userDrawn="1"/>
          </p:nvSpPr>
          <p:spPr bwMode="auto">
            <a:xfrm>
              <a:off x="4062" y="1584"/>
              <a:ext cx="242" cy="462"/>
            </a:xfrm>
            <a:custGeom>
              <a:avLst/>
              <a:gdLst>
                <a:gd name="T0" fmla="*/ 39 w 128"/>
                <a:gd name="T1" fmla="*/ 55 h 244"/>
                <a:gd name="T2" fmla="*/ 39 w 128"/>
                <a:gd name="T3" fmla="*/ 76 h 244"/>
                <a:gd name="T4" fmla="*/ 4 w 128"/>
                <a:gd name="T5" fmla="*/ 76 h 244"/>
                <a:gd name="T6" fmla="*/ 0 w 128"/>
                <a:gd name="T7" fmla="*/ 81 h 244"/>
                <a:gd name="T8" fmla="*/ 0 w 128"/>
                <a:gd name="T9" fmla="*/ 99 h 244"/>
                <a:gd name="T10" fmla="*/ 4 w 128"/>
                <a:gd name="T11" fmla="*/ 103 h 244"/>
                <a:gd name="T12" fmla="*/ 39 w 128"/>
                <a:gd name="T13" fmla="*/ 103 h 244"/>
                <a:gd name="T14" fmla="*/ 39 w 128"/>
                <a:gd name="T15" fmla="*/ 239 h 244"/>
                <a:gd name="T16" fmla="*/ 44 w 128"/>
                <a:gd name="T17" fmla="*/ 244 h 244"/>
                <a:gd name="T18" fmla="*/ 62 w 128"/>
                <a:gd name="T19" fmla="*/ 244 h 244"/>
                <a:gd name="T20" fmla="*/ 67 w 128"/>
                <a:gd name="T21" fmla="*/ 239 h 244"/>
                <a:gd name="T22" fmla="*/ 67 w 128"/>
                <a:gd name="T23" fmla="*/ 103 h 244"/>
                <a:gd name="T24" fmla="*/ 120 w 128"/>
                <a:gd name="T25" fmla="*/ 103 h 244"/>
                <a:gd name="T26" fmla="*/ 125 w 128"/>
                <a:gd name="T27" fmla="*/ 99 h 244"/>
                <a:gd name="T28" fmla="*/ 125 w 128"/>
                <a:gd name="T29" fmla="*/ 81 h 244"/>
                <a:gd name="T30" fmla="*/ 120 w 128"/>
                <a:gd name="T31" fmla="*/ 76 h 244"/>
                <a:gd name="T32" fmla="*/ 67 w 128"/>
                <a:gd name="T33" fmla="*/ 76 h 244"/>
                <a:gd name="T34" fmla="*/ 67 w 128"/>
                <a:gd name="T35" fmla="*/ 55 h 244"/>
                <a:gd name="T36" fmla="*/ 91 w 128"/>
                <a:gd name="T37" fmla="*/ 27 h 244"/>
                <a:gd name="T38" fmla="*/ 122 w 128"/>
                <a:gd name="T39" fmla="*/ 37 h 244"/>
                <a:gd name="T40" fmla="*/ 125 w 128"/>
                <a:gd name="T41" fmla="*/ 38 h 244"/>
                <a:gd name="T42" fmla="*/ 128 w 128"/>
                <a:gd name="T43" fmla="*/ 33 h 244"/>
                <a:gd name="T44" fmla="*/ 128 w 128"/>
                <a:gd name="T45" fmla="*/ 16 h 244"/>
                <a:gd name="T46" fmla="*/ 125 w 128"/>
                <a:gd name="T47" fmla="*/ 9 h 244"/>
                <a:gd name="T48" fmla="*/ 89 w 128"/>
                <a:gd name="T49" fmla="*/ 0 h 244"/>
                <a:gd name="T50" fmla="*/ 39 w 128"/>
                <a:gd name="T51" fmla="*/ 5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244">
                  <a:moveTo>
                    <a:pt x="39" y="55"/>
                  </a:moveTo>
                  <a:cubicBezTo>
                    <a:pt x="39" y="76"/>
                    <a:pt x="39" y="76"/>
                    <a:pt x="39" y="76"/>
                  </a:cubicBezTo>
                  <a:cubicBezTo>
                    <a:pt x="4" y="76"/>
                    <a:pt x="4" y="76"/>
                    <a:pt x="4" y="76"/>
                  </a:cubicBezTo>
                  <a:cubicBezTo>
                    <a:pt x="1" y="76"/>
                    <a:pt x="0" y="78"/>
                    <a:pt x="0" y="81"/>
                  </a:cubicBezTo>
                  <a:cubicBezTo>
                    <a:pt x="0" y="99"/>
                    <a:pt x="0" y="99"/>
                    <a:pt x="0" y="99"/>
                  </a:cubicBezTo>
                  <a:cubicBezTo>
                    <a:pt x="0" y="102"/>
                    <a:pt x="1" y="103"/>
                    <a:pt x="4" y="103"/>
                  </a:cubicBezTo>
                  <a:cubicBezTo>
                    <a:pt x="39" y="103"/>
                    <a:pt x="39" y="103"/>
                    <a:pt x="39" y="103"/>
                  </a:cubicBezTo>
                  <a:cubicBezTo>
                    <a:pt x="39" y="239"/>
                    <a:pt x="39" y="239"/>
                    <a:pt x="39" y="239"/>
                  </a:cubicBezTo>
                  <a:cubicBezTo>
                    <a:pt x="39" y="242"/>
                    <a:pt x="41" y="244"/>
                    <a:pt x="44" y="244"/>
                  </a:cubicBezTo>
                  <a:cubicBezTo>
                    <a:pt x="62" y="244"/>
                    <a:pt x="62" y="244"/>
                    <a:pt x="62" y="244"/>
                  </a:cubicBezTo>
                  <a:cubicBezTo>
                    <a:pt x="65" y="244"/>
                    <a:pt x="67" y="242"/>
                    <a:pt x="67" y="239"/>
                  </a:cubicBezTo>
                  <a:cubicBezTo>
                    <a:pt x="67" y="103"/>
                    <a:pt x="67" y="103"/>
                    <a:pt x="67" y="103"/>
                  </a:cubicBezTo>
                  <a:cubicBezTo>
                    <a:pt x="120" y="103"/>
                    <a:pt x="120" y="103"/>
                    <a:pt x="120" y="103"/>
                  </a:cubicBezTo>
                  <a:cubicBezTo>
                    <a:pt x="123" y="103"/>
                    <a:pt x="125" y="102"/>
                    <a:pt x="125" y="99"/>
                  </a:cubicBezTo>
                  <a:cubicBezTo>
                    <a:pt x="125" y="81"/>
                    <a:pt x="125" y="81"/>
                    <a:pt x="125" y="81"/>
                  </a:cubicBezTo>
                  <a:cubicBezTo>
                    <a:pt x="125" y="78"/>
                    <a:pt x="123" y="76"/>
                    <a:pt x="120" y="76"/>
                  </a:cubicBezTo>
                  <a:cubicBezTo>
                    <a:pt x="67" y="76"/>
                    <a:pt x="67" y="76"/>
                    <a:pt x="67" y="76"/>
                  </a:cubicBezTo>
                  <a:cubicBezTo>
                    <a:pt x="67" y="55"/>
                    <a:pt x="67" y="55"/>
                    <a:pt x="67" y="55"/>
                  </a:cubicBezTo>
                  <a:cubicBezTo>
                    <a:pt x="67" y="38"/>
                    <a:pt x="76" y="27"/>
                    <a:pt x="91" y="27"/>
                  </a:cubicBezTo>
                  <a:cubicBezTo>
                    <a:pt x="102" y="27"/>
                    <a:pt x="110" y="30"/>
                    <a:pt x="122" y="37"/>
                  </a:cubicBezTo>
                  <a:cubicBezTo>
                    <a:pt x="123" y="38"/>
                    <a:pt x="124" y="38"/>
                    <a:pt x="125" y="38"/>
                  </a:cubicBezTo>
                  <a:cubicBezTo>
                    <a:pt x="127" y="38"/>
                    <a:pt x="128" y="36"/>
                    <a:pt x="128" y="33"/>
                  </a:cubicBezTo>
                  <a:cubicBezTo>
                    <a:pt x="128" y="16"/>
                    <a:pt x="128" y="16"/>
                    <a:pt x="128" y="16"/>
                  </a:cubicBezTo>
                  <a:cubicBezTo>
                    <a:pt x="128" y="13"/>
                    <a:pt x="128" y="11"/>
                    <a:pt x="125" y="9"/>
                  </a:cubicBezTo>
                  <a:cubicBezTo>
                    <a:pt x="114" y="3"/>
                    <a:pt x="103" y="0"/>
                    <a:pt x="89" y="0"/>
                  </a:cubicBezTo>
                  <a:cubicBezTo>
                    <a:pt x="54" y="0"/>
                    <a:pt x="39" y="29"/>
                    <a:pt x="39"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dirty="0"/>
            </a:p>
          </p:txBody>
        </p:sp>
        <p:sp>
          <p:nvSpPr>
            <p:cNvPr id="30" name="Freeform 14">
              <a:extLst>
                <a:ext uri="{FF2B5EF4-FFF2-40B4-BE49-F238E27FC236}">
                  <a16:creationId xmlns:a16="http://schemas.microsoft.com/office/drawing/2014/main" id="{03B1CC70-8E47-4D3D-9382-CF481F7A985B}"/>
                </a:ext>
              </a:extLst>
            </p:cNvPr>
            <p:cNvSpPr>
              <a:spLocks/>
            </p:cNvSpPr>
            <p:nvPr userDrawn="1"/>
          </p:nvSpPr>
          <p:spPr bwMode="auto">
            <a:xfrm>
              <a:off x="2071" y="1578"/>
              <a:ext cx="632" cy="631"/>
            </a:xfrm>
            <a:custGeom>
              <a:avLst/>
              <a:gdLst>
                <a:gd name="T0" fmla="*/ 181 w 334"/>
                <a:gd name="T1" fmla="*/ 1 h 333"/>
                <a:gd name="T2" fmla="*/ 180 w 334"/>
                <a:gd name="T3" fmla="*/ 4 h 333"/>
                <a:gd name="T4" fmla="*/ 180 w 334"/>
                <a:gd name="T5" fmla="*/ 26 h 333"/>
                <a:gd name="T6" fmla="*/ 180 w 334"/>
                <a:gd name="T7" fmla="*/ 26 h 333"/>
                <a:gd name="T8" fmla="*/ 182 w 334"/>
                <a:gd name="T9" fmla="*/ 28 h 333"/>
                <a:gd name="T10" fmla="*/ 306 w 334"/>
                <a:gd name="T11" fmla="*/ 166 h 333"/>
                <a:gd name="T12" fmla="*/ 167 w 334"/>
                <a:gd name="T13" fmla="*/ 305 h 333"/>
                <a:gd name="T14" fmla="*/ 28 w 334"/>
                <a:gd name="T15" fmla="*/ 166 h 333"/>
                <a:gd name="T16" fmla="*/ 152 w 334"/>
                <a:gd name="T17" fmla="*/ 28 h 333"/>
                <a:gd name="T18" fmla="*/ 154 w 334"/>
                <a:gd name="T19" fmla="*/ 26 h 333"/>
                <a:gd name="T20" fmla="*/ 154 w 334"/>
                <a:gd name="T21" fmla="*/ 26 h 333"/>
                <a:gd name="T22" fmla="*/ 154 w 334"/>
                <a:gd name="T23" fmla="*/ 4 h 333"/>
                <a:gd name="T24" fmla="*/ 153 w 334"/>
                <a:gd name="T25" fmla="*/ 1 h 333"/>
                <a:gd name="T26" fmla="*/ 150 w 334"/>
                <a:gd name="T27" fmla="*/ 0 h 333"/>
                <a:gd name="T28" fmla="*/ 149 w 334"/>
                <a:gd name="T29" fmla="*/ 0 h 333"/>
                <a:gd name="T30" fmla="*/ 149 w 334"/>
                <a:gd name="T31" fmla="*/ 0 h 333"/>
                <a:gd name="T32" fmla="*/ 0 w 334"/>
                <a:gd name="T33" fmla="*/ 166 h 333"/>
                <a:gd name="T34" fmla="*/ 167 w 334"/>
                <a:gd name="T35" fmla="*/ 333 h 333"/>
                <a:gd name="T36" fmla="*/ 334 w 334"/>
                <a:gd name="T37" fmla="*/ 166 h 333"/>
                <a:gd name="T38" fmla="*/ 185 w 334"/>
                <a:gd name="T39" fmla="*/ 0 h 333"/>
                <a:gd name="T40" fmla="*/ 185 w 334"/>
                <a:gd name="T41" fmla="*/ 0 h 333"/>
                <a:gd name="T42" fmla="*/ 184 w 334"/>
                <a:gd name="T43" fmla="*/ 0 h 333"/>
                <a:gd name="T44" fmla="*/ 181 w 334"/>
                <a:gd name="T45" fmla="*/ 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4" h="333">
                  <a:moveTo>
                    <a:pt x="181" y="1"/>
                  </a:moveTo>
                  <a:cubicBezTo>
                    <a:pt x="180" y="2"/>
                    <a:pt x="180" y="3"/>
                    <a:pt x="180" y="4"/>
                  </a:cubicBezTo>
                  <a:cubicBezTo>
                    <a:pt x="180" y="26"/>
                    <a:pt x="180" y="26"/>
                    <a:pt x="180" y="26"/>
                  </a:cubicBezTo>
                  <a:cubicBezTo>
                    <a:pt x="180" y="26"/>
                    <a:pt x="180" y="26"/>
                    <a:pt x="180" y="26"/>
                  </a:cubicBezTo>
                  <a:cubicBezTo>
                    <a:pt x="180" y="27"/>
                    <a:pt x="181" y="28"/>
                    <a:pt x="182" y="28"/>
                  </a:cubicBezTo>
                  <a:cubicBezTo>
                    <a:pt x="251" y="35"/>
                    <a:pt x="306" y="94"/>
                    <a:pt x="306" y="166"/>
                  </a:cubicBezTo>
                  <a:cubicBezTo>
                    <a:pt x="306" y="243"/>
                    <a:pt x="244" y="305"/>
                    <a:pt x="167" y="305"/>
                  </a:cubicBezTo>
                  <a:cubicBezTo>
                    <a:pt x="90" y="305"/>
                    <a:pt x="28" y="243"/>
                    <a:pt x="28" y="166"/>
                  </a:cubicBezTo>
                  <a:cubicBezTo>
                    <a:pt x="28" y="94"/>
                    <a:pt x="82" y="35"/>
                    <a:pt x="152" y="28"/>
                  </a:cubicBezTo>
                  <a:cubicBezTo>
                    <a:pt x="153" y="28"/>
                    <a:pt x="154" y="27"/>
                    <a:pt x="154" y="26"/>
                  </a:cubicBezTo>
                  <a:cubicBezTo>
                    <a:pt x="154" y="26"/>
                    <a:pt x="154" y="26"/>
                    <a:pt x="154" y="26"/>
                  </a:cubicBezTo>
                  <a:cubicBezTo>
                    <a:pt x="154" y="4"/>
                    <a:pt x="154" y="4"/>
                    <a:pt x="154" y="4"/>
                  </a:cubicBezTo>
                  <a:cubicBezTo>
                    <a:pt x="154" y="3"/>
                    <a:pt x="154" y="2"/>
                    <a:pt x="153" y="1"/>
                  </a:cubicBezTo>
                  <a:cubicBezTo>
                    <a:pt x="152" y="0"/>
                    <a:pt x="151" y="0"/>
                    <a:pt x="150" y="0"/>
                  </a:cubicBezTo>
                  <a:cubicBezTo>
                    <a:pt x="149" y="0"/>
                    <a:pt x="149" y="0"/>
                    <a:pt x="149" y="0"/>
                  </a:cubicBezTo>
                  <a:cubicBezTo>
                    <a:pt x="149" y="0"/>
                    <a:pt x="149" y="0"/>
                    <a:pt x="149" y="0"/>
                  </a:cubicBezTo>
                  <a:cubicBezTo>
                    <a:pt x="65" y="9"/>
                    <a:pt x="0" y="80"/>
                    <a:pt x="0" y="166"/>
                  </a:cubicBezTo>
                  <a:cubicBezTo>
                    <a:pt x="0" y="258"/>
                    <a:pt x="75" y="333"/>
                    <a:pt x="167" y="333"/>
                  </a:cubicBezTo>
                  <a:cubicBezTo>
                    <a:pt x="259" y="333"/>
                    <a:pt x="334" y="258"/>
                    <a:pt x="334" y="166"/>
                  </a:cubicBezTo>
                  <a:cubicBezTo>
                    <a:pt x="334" y="80"/>
                    <a:pt x="269" y="9"/>
                    <a:pt x="185" y="0"/>
                  </a:cubicBezTo>
                  <a:cubicBezTo>
                    <a:pt x="185" y="0"/>
                    <a:pt x="185" y="0"/>
                    <a:pt x="185" y="0"/>
                  </a:cubicBezTo>
                  <a:cubicBezTo>
                    <a:pt x="185" y="0"/>
                    <a:pt x="184" y="0"/>
                    <a:pt x="184" y="0"/>
                  </a:cubicBezTo>
                  <a:cubicBezTo>
                    <a:pt x="183" y="0"/>
                    <a:pt x="182" y="0"/>
                    <a:pt x="18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dirty="0"/>
            </a:p>
          </p:txBody>
        </p:sp>
      </p:grpSp>
    </p:spTree>
    <p:extLst>
      <p:ext uri="{BB962C8B-B14F-4D97-AF65-F5344CB8AC3E}">
        <p14:creationId xmlns:p14="http://schemas.microsoft.com/office/powerpoint/2010/main" val="2296756992"/>
      </p:ext>
    </p:extLst>
  </p:cSld>
  <p:clrMapOvr>
    <a:masterClrMapping/>
  </p:clrMapOvr>
  <p:transition>
    <p:fade/>
  </p:transition>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wo Content Dark Lef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D86AC41-762B-4924-A899-F81343A12E1E}"/>
              </a:ext>
            </a:extLst>
          </p:cNvPr>
          <p:cNvSpPr/>
          <p:nvPr userDrawn="1"/>
        </p:nvSpPr>
        <p:spPr>
          <a:xfrm>
            <a:off x="906" y="-1"/>
            <a:ext cx="6096000" cy="6858000"/>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42" dirty="0"/>
          </a:p>
        </p:txBody>
      </p:sp>
      <p:sp>
        <p:nvSpPr>
          <p:cNvPr id="4" name="Content Placeholder 3"/>
          <p:cNvSpPr>
            <a:spLocks noGrp="1"/>
          </p:cNvSpPr>
          <p:nvPr>
            <p:ph sz="half" idx="2"/>
          </p:nvPr>
        </p:nvSpPr>
        <p:spPr>
          <a:xfrm>
            <a:off x="410878" y="1521183"/>
            <a:ext cx="5292112" cy="4494732"/>
          </a:xfrm>
        </p:spPr>
        <p:txBody>
          <a:bodyPr/>
          <a:lstStyle>
            <a:lvl1pPr>
              <a:defRPr>
                <a:solidFill>
                  <a:schemeClr val="bg1"/>
                </a:solidFill>
              </a:defRPr>
            </a:lvl1pPr>
            <a:lvl2pPr>
              <a:defRPr>
                <a:solidFill>
                  <a:schemeClr val="bg1"/>
                </a:solidFill>
              </a:defRPr>
            </a:lvl2pPr>
            <a:lvl3pPr>
              <a:defRPr>
                <a:solidFill>
                  <a:schemeClr val="accent3"/>
                </a:solidFill>
              </a:defRPr>
            </a:lvl3pPr>
            <a:lvl4pPr>
              <a:buClr>
                <a:schemeClr val="accent3"/>
              </a:buClr>
              <a:defRPr>
                <a:solidFill>
                  <a:schemeClr val="bg1"/>
                </a:solidFill>
              </a:defRPr>
            </a:lvl4pPr>
            <a:lvl5pPr>
              <a:buClr>
                <a:schemeClr val="accent3"/>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2"/>
          <p:cNvSpPr>
            <a:spLocks noGrp="1"/>
          </p:cNvSpPr>
          <p:nvPr>
            <p:ph sz="half" idx="1"/>
          </p:nvPr>
        </p:nvSpPr>
        <p:spPr>
          <a:xfrm>
            <a:off x="6504205" y="1521184"/>
            <a:ext cx="5274693" cy="44947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lvl1pPr>
              <a:defRPr>
                <a:solidFill>
                  <a:schemeClr val="bg1"/>
                </a:solidFill>
              </a:defRPr>
            </a:lvl1pPr>
          </a:lstStyle>
          <a:p>
            <a:r>
              <a:rPr lang="en-GB" dirty="0"/>
              <a:t>Footer (Insert &gt; Header &amp; Footer to edit) - CONFIDENTIAL</a:t>
            </a:r>
            <a:endParaRPr lang="en-US"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32B354EE-31EA-4FC2-9496-7B6202183237}" type="slidenum">
              <a:rPr lang="en-US" smtClean="0"/>
              <a:pPr/>
              <a:t>‹#›</a:t>
            </a:fld>
            <a:endParaRPr lang="en-US" dirty="0"/>
          </a:p>
        </p:txBody>
      </p:sp>
      <p:sp>
        <p:nvSpPr>
          <p:cNvPr id="8" name="Title 7">
            <a:extLst>
              <a:ext uri="{FF2B5EF4-FFF2-40B4-BE49-F238E27FC236}">
                <a16:creationId xmlns:a16="http://schemas.microsoft.com/office/drawing/2014/main" id="{FD930A9A-C0DD-4B8F-B286-D07D532A2ED0}"/>
              </a:ext>
            </a:extLst>
          </p:cNvPr>
          <p:cNvSpPr>
            <a:spLocks noGrp="1"/>
          </p:cNvSpPr>
          <p:nvPr>
            <p:ph type="title"/>
          </p:nvPr>
        </p:nvSpPr>
        <p:spPr>
          <a:xfrm>
            <a:off x="6504204" y="410669"/>
            <a:ext cx="5274693" cy="776038"/>
          </a:xfrm>
        </p:spPr>
        <p:txBody>
          <a:bodyPr/>
          <a:lstStyle/>
          <a:p>
            <a:r>
              <a:rPr lang="en-US"/>
              <a:t>Click to edit Master title style</a:t>
            </a:r>
            <a:endParaRPr lang="en-GB" dirty="0"/>
          </a:p>
        </p:txBody>
      </p:sp>
    </p:spTree>
    <p:extLst>
      <p:ext uri="{BB962C8B-B14F-4D97-AF65-F5344CB8AC3E}">
        <p14:creationId xmlns:p14="http://schemas.microsoft.com/office/powerpoint/2010/main" val="577024032"/>
      </p:ext>
    </p:extLst>
  </p:cSld>
  <p:clrMapOvr>
    <a:masterClrMapping/>
  </p:clrMapOvr>
  <p:transition>
    <p:fade/>
  </p:transition>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Fact Tiles Slide">
    <p:bg>
      <p:bgPr>
        <a:solidFill>
          <a:schemeClr val="tx2"/>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866F170A-22F9-4C51-A3F5-C624133A83B4}"/>
              </a:ext>
            </a:extLst>
          </p:cNvPr>
          <p:cNvSpPr>
            <a:spLocks noGrp="1"/>
          </p:cNvSpPr>
          <p:nvPr>
            <p:ph type="body" sz="quarter" idx="13" hasCustomPrompt="1"/>
          </p:nvPr>
        </p:nvSpPr>
        <p:spPr>
          <a:xfrm>
            <a:off x="0" y="1"/>
            <a:ext cx="4065882" cy="3428999"/>
          </a:xfrm>
        </p:spPr>
        <p:txBody>
          <a:bodyPr anchor="ctr"/>
          <a:lstStyle>
            <a:lvl1pPr algn="ctr">
              <a:lnSpc>
                <a:spcPct val="100000"/>
              </a:lnSpc>
              <a:spcAft>
                <a:spcPts val="0"/>
              </a:spcAft>
              <a:defRPr sz="9200" b="0">
                <a:solidFill>
                  <a:schemeClr val="accent3"/>
                </a:solidFill>
                <a:latin typeface="+mj-lt"/>
              </a:defRPr>
            </a:lvl1pPr>
            <a:lvl2pPr algn="ctr">
              <a:defRPr sz="2200" b="0">
                <a:solidFill>
                  <a:schemeClr val="accent3"/>
                </a:solidFill>
              </a:defRPr>
            </a:lvl2pPr>
          </a:lstStyle>
          <a:p>
            <a:pPr lvl="0"/>
            <a:r>
              <a:rPr lang="en-US" dirty="0"/>
              <a:t>00</a:t>
            </a:r>
          </a:p>
          <a:p>
            <a:pPr lvl="1"/>
            <a:r>
              <a:rPr lang="en-US" dirty="0"/>
              <a:t>Second level</a:t>
            </a:r>
            <a:endParaRPr lang="en-GB" dirty="0"/>
          </a:p>
        </p:txBody>
      </p:sp>
      <p:sp>
        <p:nvSpPr>
          <p:cNvPr id="8" name="Text Placeholder 6">
            <a:extLst>
              <a:ext uri="{FF2B5EF4-FFF2-40B4-BE49-F238E27FC236}">
                <a16:creationId xmlns:a16="http://schemas.microsoft.com/office/drawing/2014/main" id="{978A6CC2-2B2B-49B7-988E-7B29E92604E5}"/>
              </a:ext>
            </a:extLst>
          </p:cNvPr>
          <p:cNvSpPr>
            <a:spLocks noGrp="1"/>
          </p:cNvSpPr>
          <p:nvPr>
            <p:ph type="body" sz="quarter" idx="14" hasCustomPrompt="1"/>
          </p:nvPr>
        </p:nvSpPr>
        <p:spPr>
          <a:xfrm>
            <a:off x="4063059" y="1"/>
            <a:ext cx="4065882" cy="3428999"/>
          </a:xfrm>
          <a:solidFill>
            <a:schemeClr val="accent3"/>
          </a:solidFill>
        </p:spPr>
        <p:txBody>
          <a:bodyPr anchor="ctr"/>
          <a:lstStyle>
            <a:lvl1pPr algn="ctr">
              <a:lnSpc>
                <a:spcPct val="100000"/>
              </a:lnSpc>
              <a:spcAft>
                <a:spcPts val="0"/>
              </a:spcAft>
              <a:defRPr sz="9200" b="0">
                <a:latin typeface="+mj-lt"/>
              </a:defRPr>
            </a:lvl1pPr>
            <a:lvl2pPr algn="ctr">
              <a:defRPr sz="2200" b="0"/>
            </a:lvl2pPr>
          </a:lstStyle>
          <a:p>
            <a:pPr lvl="0"/>
            <a:r>
              <a:rPr lang="en-US" dirty="0"/>
              <a:t>00</a:t>
            </a:r>
          </a:p>
          <a:p>
            <a:pPr lvl="1"/>
            <a:r>
              <a:rPr lang="en-US" dirty="0"/>
              <a:t>Second level</a:t>
            </a:r>
            <a:endParaRPr lang="en-GB" dirty="0"/>
          </a:p>
        </p:txBody>
      </p:sp>
      <p:sp>
        <p:nvSpPr>
          <p:cNvPr id="9" name="Text Placeholder 6">
            <a:extLst>
              <a:ext uri="{FF2B5EF4-FFF2-40B4-BE49-F238E27FC236}">
                <a16:creationId xmlns:a16="http://schemas.microsoft.com/office/drawing/2014/main" id="{56AC9356-AA84-4F4C-B1FF-5212DBD30167}"/>
              </a:ext>
            </a:extLst>
          </p:cNvPr>
          <p:cNvSpPr>
            <a:spLocks noGrp="1"/>
          </p:cNvSpPr>
          <p:nvPr>
            <p:ph type="body" sz="quarter" idx="15" hasCustomPrompt="1"/>
          </p:nvPr>
        </p:nvSpPr>
        <p:spPr>
          <a:xfrm>
            <a:off x="8126118" y="1"/>
            <a:ext cx="4065882" cy="3428999"/>
          </a:xfrm>
          <a:solidFill>
            <a:schemeClr val="accent1"/>
          </a:solidFill>
        </p:spPr>
        <p:txBody>
          <a:bodyPr anchor="ctr"/>
          <a:lstStyle>
            <a:lvl1pPr algn="ctr">
              <a:lnSpc>
                <a:spcPct val="100000"/>
              </a:lnSpc>
              <a:spcAft>
                <a:spcPts val="0"/>
              </a:spcAft>
              <a:defRPr sz="9200" b="0">
                <a:solidFill>
                  <a:schemeClr val="bg1"/>
                </a:solidFill>
                <a:latin typeface="+mj-lt"/>
              </a:defRPr>
            </a:lvl1pPr>
            <a:lvl2pPr algn="ctr">
              <a:defRPr sz="2200" b="0">
                <a:solidFill>
                  <a:schemeClr val="bg1"/>
                </a:solidFill>
              </a:defRPr>
            </a:lvl2pPr>
          </a:lstStyle>
          <a:p>
            <a:pPr lvl="0"/>
            <a:r>
              <a:rPr lang="en-US" dirty="0"/>
              <a:t>00</a:t>
            </a:r>
          </a:p>
          <a:p>
            <a:pPr lvl="1"/>
            <a:r>
              <a:rPr lang="en-US" dirty="0"/>
              <a:t>Second level</a:t>
            </a:r>
            <a:endParaRPr lang="en-GB" dirty="0"/>
          </a:p>
        </p:txBody>
      </p:sp>
      <p:sp>
        <p:nvSpPr>
          <p:cNvPr id="10" name="Text Placeholder 6">
            <a:extLst>
              <a:ext uri="{FF2B5EF4-FFF2-40B4-BE49-F238E27FC236}">
                <a16:creationId xmlns:a16="http://schemas.microsoft.com/office/drawing/2014/main" id="{F0EEEBEF-05E3-4523-B510-9AB7EDBF07CF}"/>
              </a:ext>
            </a:extLst>
          </p:cNvPr>
          <p:cNvSpPr>
            <a:spLocks noGrp="1"/>
          </p:cNvSpPr>
          <p:nvPr>
            <p:ph type="body" sz="quarter" idx="16" hasCustomPrompt="1"/>
          </p:nvPr>
        </p:nvSpPr>
        <p:spPr>
          <a:xfrm>
            <a:off x="8126118" y="3429079"/>
            <a:ext cx="4065882" cy="3428999"/>
          </a:xfrm>
        </p:spPr>
        <p:txBody>
          <a:bodyPr anchor="ctr"/>
          <a:lstStyle>
            <a:lvl1pPr algn="ctr">
              <a:lnSpc>
                <a:spcPct val="100000"/>
              </a:lnSpc>
              <a:spcAft>
                <a:spcPts val="0"/>
              </a:spcAft>
              <a:defRPr sz="9200" b="0">
                <a:solidFill>
                  <a:schemeClr val="accent3"/>
                </a:solidFill>
                <a:latin typeface="+mj-lt"/>
              </a:defRPr>
            </a:lvl1pPr>
            <a:lvl2pPr algn="ctr">
              <a:defRPr sz="2200" b="0">
                <a:solidFill>
                  <a:schemeClr val="accent3"/>
                </a:solidFill>
              </a:defRPr>
            </a:lvl2pPr>
          </a:lstStyle>
          <a:p>
            <a:pPr lvl="0"/>
            <a:r>
              <a:rPr lang="en-US" dirty="0"/>
              <a:t>00</a:t>
            </a:r>
          </a:p>
          <a:p>
            <a:pPr lvl="1"/>
            <a:r>
              <a:rPr lang="en-US" dirty="0"/>
              <a:t>Second level</a:t>
            </a:r>
            <a:endParaRPr lang="en-GB" dirty="0"/>
          </a:p>
        </p:txBody>
      </p:sp>
      <p:sp>
        <p:nvSpPr>
          <p:cNvPr id="11" name="Text Placeholder 6">
            <a:extLst>
              <a:ext uri="{FF2B5EF4-FFF2-40B4-BE49-F238E27FC236}">
                <a16:creationId xmlns:a16="http://schemas.microsoft.com/office/drawing/2014/main" id="{E8DD8EBF-71D9-4384-B696-89AB7269F144}"/>
              </a:ext>
            </a:extLst>
          </p:cNvPr>
          <p:cNvSpPr>
            <a:spLocks noGrp="1"/>
          </p:cNvSpPr>
          <p:nvPr>
            <p:ph type="body" sz="quarter" idx="17" hasCustomPrompt="1"/>
          </p:nvPr>
        </p:nvSpPr>
        <p:spPr>
          <a:xfrm>
            <a:off x="4063059" y="3429079"/>
            <a:ext cx="4065882" cy="3428999"/>
          </a:xfrm>
          <a:solidFill>
            <a:schemeClr val="bg1"/>
          </a:solidFill>
        </p:spPr>
        <p:txBody>
          <a:bodyPr anchor="ctr"/>
          <a:lstStyle>
            <a:lvl1pPr algn="ctr">
              <a:lnSpc>
                <a:spcPct val="100000"/>
              </a:lnSpc>
              <a:spcAft>
                <a:spcPts val="0"/>
              </a:spcAft>
              <a:defRPr sz="9200" b="0">
                <a:solidFill>
                  <a:schemeClr val="accent5"/>
                </a:solidFill>
                <a:latin typeface="+mj-lt"/>
              </a:defRPr>
            </a:lvl1pPr>
            <a:lvl2pPr algn="ctr">
              <a:defRPr sz="2200" b="0">
                <a:solidFill>
                  <a:schemeClr val="accent5"/>
                </a:solidFill>
              </a:defRPr>
            </a:lvl2pPr>
          </a:lstStyle>
          <a:p>
            <a:pPr lvl="0"/>
            <a:r>
              <a:rPr lang="en-US" dirty="0"/>
              <a:t>00</a:t>
            </a:r>
          </a:p>
          <a:p>
            <a:pPr lvl="1"/>
            <a:r>
              <a:rPr lang="en-US" dirty="0"/>
              <a:t>Second level</a:t>
            </a:r>
            <a:endParaRPr lang="en-GB" dirty="0"/>
          </a:p>
        </p:txBody>
      </p:sp>
      <p:sp>
        <p:nvSpPr>
          <p:cNvPr id="12" name="Text Placeholder 6">
            <a:extLst>
              <a:ext uri="{FF2B5EF4-FFF2-40B4-BE49-F238E27FC236}">
                <a16:creationId xmlns:a16="http://schemas.microsoft.com/office/drawing/2014/main" id="{9BB48325-C2CB-490C-BEC5-9F1DE6155CF1}"/>
              </a:ext>
            </a:extLst>
          </p:cNvPr>
          <p:cNvSpPr>
            <a:spLocks noGrp="1"/>
          </p:cNvSpPr>
          <p:nvPr>
            <p:ph type="body" sz="quarter" idx="18" hasCustomPrompt="1"/>
          </p:nvPr>
        </p:nvSpPr>
        <p:spPr>
          <a:xfrm>
            <a:off x="0" y="3429079"/>
            <a:ext cx="4065882" cy="3428999"/>
          </a:xfrm>
          <a:solidFill>
            <a:schemeClr val="accent1"/>
          </a:solidFill>
        </p:spPr>
        <p:txBody>
          <a:bodyPr anchor="ctr"/>
          <a:lstStyle>
            <a:lvl1pPr algn="ctr">
              <a:lnSpc>
                <a:spcPct val="100000"/>
              </a:lnSpc>
              <a:spcAft>
                <a:spcPts val="0"/>
              </a:spcAft>
              <a:defRPr sz="9200" b="0">
                <a:solidFill>
                  <a:schemeClr val="bg1"/>
                </a:solidFill>
                <a:latin typeface="+mj-lt"/>
              </a:defRPr>
            </a:lvl1pPr>
            <a:lvl2pPr algn="ctr">
              <a:defRPr sz="2200" b="0">
                <a:solidFill>
                  <a:schemeClr val="bg1"/>
                </a:solidFill>
              </a:defRPr>
            </a:lvl2pPr>
          </a:lstStyle>
          <a:p>
            <a:pPr lvl="0"/>
            <a:r>
              <a:rPr lang="en-US" dirty="0"/>
              <a:t>00</a:t>
            </a:r>
          </a:p>
          <a:p>
            <a:pPr lvl="1"/>
            <a:r>
              <a:rPr lang="en-US" dirty="0"/>
              <a:t>Second level</a:t>
            </a:r>
            <a:endParaRPr lang="en-GB" dirty="0"/>
          </a:p>
        </p:txBody>
      </p:sp>
      <p:sp>
        <p:nvSpPr>
          <p:cNvPr id="3" name="Date Placeholder 2">
            <a:extLst>
              <a:ext uri="{FF2B5EF4-FFF2-40B4-BE49-F238E27FC236}">
                <a16:creationId xmlns:a16="http://schemas.microsoft.com/office/drawing/2014/main" id="{40F9A526-7C09-4FE7-AB48-4E3DF8072AB2}"/>
              </a:ext>
            </a:extLst>
          </p:cNvPr>
          <p:cNvSpPr>
            <a:spLocks noGrp="1"/>
          </p:cNvSpPr>
          <p:nvPr>
            <p:ph type="dt" sz="half" idx="10"/>
          </p:nvPr>
        </p:nvSpPr>
        <p:spPr/>
        <p:txBody>
          <a:bodyPr/>
          <a:lstStyle>
            <a:lvl1pPr>
              <a:defRPr>
                <a:solidFill>
                  <a:schemeClr val="bg1"/>
                </a:solidFill>
              </a:defRPr>
            </a:lvl1pPr>
          </a:lstStyle>
          <a:p>
            <a:endParaRPr lang="en-US" dirty="0"/>
          </a:p>
        </p:txBody>
      </p:sp>
      <p:sp>
        <p:nvSpPr>
          <p:cNvPr id="4" name="Footer Placeholder 3">
            <a:extLst>
              <a:ext uri="{FF2B5EF4-FFF2-40B4-BE49-F238E27FC236}">
                <a16:creationId xmlns:a16="http://schemas.microsoft.com/office/drawing/2014/main" id="{C16E0864-1815-47B8-8BBA-B0910E1190F0}"/>
              </a:ext>
            </a:extLst>
          </p:cNvPr>
          <p:cNvSpPr>
            <a:spLocks noGrp="1"/>
          </p:cNvSpPr>
          <p:nvPr>
            <p:ph type="ftr" sz="quarter" idx="11"/>
          </p:nvPr>
        </p:nvSpPr>
        <p:spPr/>
        <p:txBody>
          <a:bodyPr/>
          <a:lstStyle>
            <a:lvl1pPr>
              <a:defRPr>
                <a:solidFill>
                  <a:schemeClr val="bg1"/>
                </a:solidFill>
              </a:defRPr>
            </a:lvl1pPr>
          </a:lstStyle>
          <a:p>
            <a:r>
              <a:rPr lang="en-GB" dirty="0"/>
              <a:t>Footer (Insert &gt; Header &amp; Footer to edit) - CONFIDENTIAL</a:t>
            </a:r>
            <a:endParaRPr lang="en-US" dirty="0"/>
          </a:p>
        </p:txBody>
      </p:sp>
      <p:sp>
        <p:nvSpPr>
          <p:cNvPr id="5" name="Slide Number Placeholder 4">
            <a:extLst>
              <a:ext uri="{FF2B5EF4-FFF2-40B4-BE49-F238E27FC236}">
                <a16:creationId xmlns:a16="http://schemas.microsoft.com/office/drawing/2014/main" id="{9DD78EFC-C516-4B8D-8CA7-6B33A2BD773D}"/>
              </a:ext>
            </a:extLst>
          </p:cNvPr>
          <p:cNvSpPr>
            <a:spLocks noGrp="1"/>
          </p:cNvSpPr>
          <p:nvPr>
            <p:ph type="sldNum" sz="quarter" idx="12"/>
          </p:nvPr>
        </p:nvSpPr>
        <p:spPr/>
        <p:txBody>
          <a:bodyPr/>
          <a:lstStyle>
            <a:lvl1pPr>
              <a:defRPr>
                <a:solidFill>
                  <a:schemeClr val="bg1"/>
                </a:solidFill>
              </a:defRPr>
            </a:lvl1pPr>
          </a:lstStyle>
          <a:p>
            <a:fld id="{32B354EE-31EA-4FC2-9496-7B6202183237}" type="slidenum">
              <a:rPr lang="en-US" smtClean="0"/>
              <a:pPr/>
              <a:t>‹#›</a:t>
            </a:fld>
            <a:endParaRPr lang="en-US" dirty="0"/>
          </a:p>
        </p:txBody>
      </p:sp>
    </p:spTree>
    <p:extLst>
      <p:ext uri="{BB962C8B-B14F-4D97-AF65-F5344CB8AC3E}">
        <p14:creationId xmlns:p14="http://schemas.microsoft.com/office/powerpoint/2010/main" val="1376203800"/>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gradFill>
          <a:gsLst>
            <a:gs pos="50000">
              <a:srgbClr val="00E487"/>
            </a:gs>
            <a:gs pos="100000">
              <a:srgbClr val="1ECBD0"/>
            </a:gs>
          </a:gsLst>
          <a:lin ang="18900000" scaled="0"/>
        </a:gra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CFD4E276-C47D-4F97-8D9E-FECD172C9798}"/>
              </a:ext>
            </a:extLst>
          </p:cNvPr>
          <p:cNvGrpSpPr>
            <a:grpSpLocks noChangeAspect="1"/>
          </p:cNvGrpSpPr>
          <p:nvPr userDrawn="1"/>
        </p:nvGrpSpPr>
        <p:grpSpPr bwMode="auto">
          <a:xfrm>
            <a:off x="2835683" y="2634181"/>
            <a:ext cx="6520638" cy="1589645"/>
            <a:chOff x="2071" y="1578"/>
            <a:chExt cx="2587" cy="631"/>
          </a:xfrm>
          <a:solidFill>
            <a:schemeClr val="bg1"/>
          </a:solidFill>
        </p:grpSpPr>
        <p:sp>
          <p:nvSpPr>
            <p:cNvPr id="7" name="Freeform 5">
              <a:extLst>
                <a:ext uri="{FF2B5EF4-FFF2-40B4-BE49-F238E27FC236}">
                  <a16:creationId xmlns:a16="http://schemas.microsoft.com/office/drawing/2014/main" id="{F8587B0E-0CEF-4218-99CF-AE3634274F8F}"/>
                </a:ext>
              </a:extLst>
            </p:cNvPr>
            <p:cNvSpPr>
              <a:spLocks/>
            </p:cNvSpPr>
            <p:nvPr userDrawn="1"/>
          </p:nvSpPr>
          <p:spPr bwMode="auto">
            <a:xfrm>
              <a:off x="2765" y="1728"/>
              <a:ext cx="244" cy="318"/>
            </a:xfrm>
            <a:custGeom>
              <a:avLst/>
              <a:gdLst>
                <a:gd name="T0" fmla="*/ 12 w 129"/>
                <a:gd name="T1" fmla="*/ 0 h 168"/>
                <a:gd name="T2" fmla="*/ 8 w 129"/>
                <a:gd name="T3" fmla="*/ 4 h 168"/>
                <a:gd name="T4" fmla="*/ 8 w 129"/>
                <a:gd name="T5" fmla="*/ 25 h 168"/>
                <a:gd name="T6" fmla="*/ 12 w 129"/>
                <a:gd name="T7" fmla="*/ 29 h 168"/>
                <a:gd name="T8" fmla="*/ 48 w 129"/>
                <a:gd name="T9" fmla="*/ 29 h 168"/>
                <a:gd name="T10" fmla="*/ 48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2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2" y="0"/>
                  </a:moveTo>
                  <a:cubicBezTo>
                    <a:pt x="9" y="0"/>
                    <a:pt x="8" y="1"/>
                    <a:pt x="8" y="4"/>
                  </a:cubicBezTo>
                  <a:cubicBezTo>
                    <a:pt x="8" y="25"/>
                    <a:pt x="8" y="25"/>
                    <a:pt x="8" y="25"/>
                  </a:cubicBezTo>
                  <a:cubicBezTo>
                    <a:pt x="8" y="27"/>
                    <a:pt x="9" y="29"/>
                    <a:pt x="12" y="29"/>
                  </a:cubicBezTo>
                  <a:cubicBezTo>
                    <a:pt x="48" y="29"/>
                    <a:pt x="48" y="29"/>
                    <a:pt x="48" y="29"/>
                  </a:cubicBezTo>
                  <a:cubicBezTo>
                    <a:pt x="48" y="140"/>
                    <a:pt x="48" y="140"/>
                    <a:pt x="48"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8" y="140"/>
                    <a:pt x="125" y="140"/>
                  </a:cubicBezTo>
                  <a:cubicBezTo>
                    <a:pt x="76" y="140"/>
                    <a:pt x="76" y="140"/>
                    <a:pt x="76" y="140"/>
                  </a:cubicBezTo>
                  <a:cubicBezTo>
                    <a:pt x="76" y="4"/>
                    <a:pt x="76" y="4"/>
                    <a:pt x="76" y="4"/>
                  </a:cubicBezTo>
                  <a:cubicBezTo>
                    <a:pt x="76" y="1"/>
                    <a:pt x="75" y="0"/>
                    <a:pt x="72" y="0"/>
                  </a:cubicBezTo>
                  <a:lnTo>
                    <a:pt x="1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342" dirty="0"/>
            </a:p>
          </p:txBody>
        </p:sp>
        <p:sp>
          <p:nvSpPr>
            <p:cNvPr id="8" name="Freeform 6">
              <a:extLst>
                <a:ext uri="{FF2B5EF4-FFF2-40B4-BE49-F238E27FC236}">
                  <a16:creationId xmlns:a16="http://schemas.microsoft.com/office/drawing/2014/main" id="{E526A929-E098-4073-8B92-F18ED8E1D964}"/>
                </a:ext>
              </a:extLst>
            </p:cNvPr>
            <p:cNvSpPr>
              <a:spLocks/>
            </p:cNvSpPr>
            <p:nvPr userDrawn="1"/>
          </p:nvSpPr>
          <p:spPr bwMode="auto">
            <a:xfrm>
              <a:off x="3798" y="1728"/>
              <a:ext cx="244" cy="318"/>
            </a:xfrm>
            <a:custGeom>
              <a:avLst/>
              <a:gdLst>
                <a:gd name="T0" fmla="*/ 11 w 129"/>
                <a:gd name="T1" fmla="*/ 0 h 168"/>
                <a:gd name="T2" fmla="*/ 8 w 129"/>
                <a:gd name="T3" fmla="*/ 4 h 168"/>
                <a:gd name="T4" fmla="*/ 8 w 129"/>
                <a:gd name="T5" fmla="*/ 25 h 168"/>
                <a:gd name="T6" fmla="*/ 11 w 129"/>
                <a:gd name="T7" fmla="*/ 29 h 168"/>
                <a:gd name="T8" fmla="*/ 47 w 129"/>
                <a:gd name="T9" fmla="*/ 29 h 168"/>
                <a:gd name="T10" fmla="*/ 47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1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1" y="0"/>
                  </a:moveTo>
                  <a:cubicBezTo>
                    <a:pt x="9" y="0"/>
                    <a:pt x="8" y="1"/>
                    <a:pt x="8" y="4"/>
                  </a:cubicBezTo>
                  <a:cubicBezTo>
                    <a:pt x="8" y="25"/>
                    <a:pt x="8" y="25"/>
                    <a:pt x="8" y="25"/>
                  </a:cubicBezTo>
                  <a:cubicBezTo>
                    <a:pt x="8" y="27"/>
                    <a:pt x="9" y="29"/>
                    <a:pt x="11" y="29"/>
                  </a:cubicBezTo>
                  <a:cubicBezTo>
                    <a:pt x="47" y="29"/>
                    <a:pt x="47" y="29"/>
                    <a:pt x="47" y="29"/>
                  </a:cubicBezTo>
                  <a:cubicBezTo>
                    <a:pt x="47" y="140"/>
                    <a:pt x="47" y="140"/>
                    <a:pt x="47"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7" y="140"/>
                    <a:pt x="125" y="140"/>
                  </a:cubicBezTo>
                  <a:cubicBezTo>
                    <a:pt x="76" y="140"/>
                    <a:pt x="76" y="140"/>
                    <a:pt x="76" y="140"/>
                  </a:cubicBezTo>
                  <a:cubicBezTo>
                    <a:pt x="76" y="4"/>
                    <a:pt x="76" y="4"/>
                    <a:pt x="76" y="4"/>
                  </a:cubicBezTo>
                  <a:cubicBezTo>
                    <a:pt x="75" y="1"/>
                    <a:pt x="74" y="0"/>
                    <a:pt x="72" y="0"/>
                  </a:cubicBezTo>
                  <a:lnTo>
                    <a:pt x="1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342" dirty="0"/>
            </a:p>
          </p:txBody>
        </p:sp>
        <p:sp>
          <p:nvSpPr>
            <p:cNvPr id="9" name="Freeform 7">
              <a:extLst>
                <a:ext uri="{FF2B5EF4-FFF2-40B4-BE49-F238E27FC236}">
                  <a16:creationId xmlns:a16="http://schemas.microsoft.com/office/drawing/2014/main" id="{EDF465AE-39A5-4B73-8576-41C66C06AD43}"/>
                </a:ext>
              </a:extLst>
            </p:cNvPr>
            <p:cNvSpPr>
              <a:spLocks/>
            </p:cNvSpPr>
            <p:nvPr userDrawn="1"/>
          </p:nvSpPr>
          <p:spPr bwMode="auto">
            <a:xfrm>
              <a:off x="4361" y="1728"/>
              <a:ext cx="297" cy="464"/>
            </a:xfrm>
            <a:custGeom>
              <a:avLst/>
              <a:gdLst>
                <a:gd name="T0" fmla="*/ 132 w 157"/>
                <a:gd name="T1" fmla="*/ 0 h 245"/>
                <a:gd name="T2" fmla="*/ 127 w 157"/>
                <a:gd name="T3" fmla="*/ 3 h 245"/>
                <a:gd name="T4" fmla="*/ 127 w 157"/>
                <a:gd name="T5" fmla="*/ 3 h 245"/>
                <a:gd name="T6" fmla="*/ 79 w 157"/>
                <a:gd name="T7" fmla="*/ 128 h 245"/>
                <a:gd name="T8" fmla="*/ 30 w 157"/>
                <a:gd name="T9" fmla="*/ 4 h 245"/>
                <a:gd name="T10" fmla="*/ 25 w 157"/>
                <a:gd name="T11" fmla="*/ 0 h 245"/>
                <a:gd name="T12" fmla="*/ 4 w 157"/>
                <a:gd name="T13" fmla="*/ 0 h 245"/>
                <a:gd name="T14" fmla="*/ 0 w 157"/>
                <a:gd name="T15" fmla="*/ 3 h 245"/>
                <a:gd name="T16" fmla="*/ 1 w 157"/>
                <a:gd name="T17" fmla="*/ 6 h 245"/>
                <a:gd name="T18" fmla="*/ 1 w 157"/>
                <a:gd name="T19" fmla="*/ 6 h 245"/>
                <a:gd name="T20" fmla="*/ 1 w 157"/>
                <a:gd name="T21" fmla="*/ 6 h 245"/>
                <a:gd name="T22" fmla="*/ 64 w 157"/>
                <a:gd name="T23" fmla="*/ 168 h 245"/>
                <a:gd name="T24" fmla="*/ 59 w 157"/>
                <a:gd name="T25" fmla="*/ 182 h 245"/>
                <a:gd name="T26" fmla="*/ 48 w 157"/>
                <a:gd name="T27" fmla="*/ 205 h 245"/>
                <a:gd name="T28" fmla="*/ 38 w 157"/>
                <a:gd name="T29" fmla="*/ 215 h 245"/>
                <a:gd name="T30" fmla="*/ 30 w 157"/>
                <a:gd name="T31" fmla="*/ 217 h 245"/>
                <a:gd name="T32" fmla="*/ 26 w 157"/>
                <a:gd name="T33" fmla="*/ 216 h 245"/>
                <a:gd name="T34" fmla="*/ 14 w 157"/>
                <a:gd name="T35" fmla="*/ 213 h 245"/>
                <a:gd name="T36" fmla="*/ 7 w 157"/>
                <a:gd name="T37" fmla="*/ 210 h 245"/>
                <a:gd name="T38" fmla="*/ 3 w 157"/>
                <a:gd name="T39" fmla="*/ 215 h 245"/>
                <a:gd name="T40" fmla="*/ 3 w 157"/>
                <a:gd name="T41" fmla="*/ 233 h 245"/>
                <a:gd name="T42" fmla="*/ 3 w 157"/>
                <a:gd name="T43" fmla="*/ 233 h 245"/>
                <a:gd name="T44" fmla="*/ 7 w 157"/>
                <a:gd name="T45" fmla="*/ 240 h 245"/>
                <a:gd name="T46" fmla="*/ 32 w 157"/>
                <a:gd name="T47" fmla="*/ 245 h 245"/>
                <a:gd name="T48" fmla="*/ 54 w 157"/>
                <a:gd name="T49" fmla="*/ 238 h 245"/>
                <a:gd name="T50" fmla="*/ 73 w 157"/>
                <a:gd name="T51" fmla="*/ 220 h 245"/>
                <a:gd name="T52" fmla="*/ 79 w 157"/>
                <a:gd name="T53" fmla="*/ 208 h 245"/>
                <a:gd name="T54" fmla="*/ 156 w 157"/>
                <a:gd name="T55" fmla="*/ 6 h 245"/>
                <a:gd name="T56" fmla="*/ 157 w 157"/>
                <a:gd name="T57" fmla="*/ 3 h 245"/>
                <a:gd name="T58" fmla="*/ 153 w 157"/>
                <a:gd name="T59" fmla="*/ 0 h 245"/>
                <a:gd name="T60" fmla="*/ 132 w 157"/>
                <a:gd name="T6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7" h="245">
                  <a:moveTo>
                    <a:pt x="132" y="0"/>
                  </a:moveTo>
                  <a:cubicBezTo>
                    <a:pt x="129" y="0"/>
                    <a:pt x="128" y="1"/>
                    <a:pt x="127" y="3"/>
                  </a:cubicBezTo>
                  <a:cubicBezTo>
                    <a:pt x="127" y="3"/>
                    <a:pt x="127" y="3"/>
                    <a:pt x="127" y="3"/>
                  </a:cubicBezTo>
                  <a:cubicBezTo>
                    <a:pt x="79" y="128"/>
                    <a:pt x="79" y="128"/>
                    <a:pt x="79" y="128"/>
                  </a:cubicBezTo>
                  <a:cubicBezTo>
                    <a:pt x="30" y="4"/>
                    <a:pt x="30" y="4"/>
                    <a:pt x="30" y="4"/>
                  </a:cubicBezTo>
                  <a:cubicBezTo>
                    <a:pt x="29" y="1"/>
                    <a:pt x="28" y="0"/>
                    <a:pt x="25" y="0"/>
                  </a:cubicBezTo>
                  <a:cubicBezTo>
                    <a:pt x="4" y="0"/>
                    <a:pt x="4" y="0"/>
                    <a:pt x="4" y="0"/>
                  </a:cubicBezTo>
                  <a:cubicBezTo>
                    <a:pt x="2" y="0"/>
                    <a:pt x="0" y="1"/>
                    <a:pt x="0" y="3"/>
                  </a:cubicBezTo>
                  <a:cubicBezTo>
                    <a:pt x="0" y="4"/>
                    <a:pt x="1" y="5"/>
                    <a:pt x="1" y="6"/>
                  </a:cubicBezTo>
                  <a:cubicBezTo>
                    <a:pt x="1" y="6"/>
                    <a:pt x="1" y="6"/>
                    <a:pt x="1" y="6"/>
                  </a:cubicBezTo>
                  <a:cubicBezTo>
                    <a:pt x="1" y="6"/>
                    <a:pt x="1" y="6"/>
                    <a:pt x="1" y="6"/>
                  </a:cubicBezTo>
                  <a:cubicBezTo>
                    <a:pt x="64" y="168"/>
                    <a:pt x="64" y="168"/>
                    <a:pt x="64" y="168"/>
                  </a:cubicBezTo>
                  <a:cubicBezTo>
                    <a:pt x="59" y="182"/>
                    <a:pt x="59" y="182"/>
                    <a:pt x="59" y="182"/>
                  </a:cubicBezTo>
                  <a:cubicBezTo>
                    <a:pt x="57" y="187"/>
                    <a:pt x="53" y="199"/>
                    <a:pt x="48" y="205"/>
                  </a:cubicBezTo>
                  <a:cubicBezTo>
                    <a:pt x="44" y="211"/>
                    <a:pt x="42" y="213"/>
                    <a:pt x="38" y="215"/>
                  </a:cubicBezTo>
                  <a:cubicBezTo>
                    <a:pt x="35" y="216"/>
                    <a:pt x="33" y="217"/>
                    <a:pt x="30" y="217"/>
                  </a:cubicBezTo>
                  <a:cubicBezTo>
                    <a:pt x="28" y="217"/>
                    <a:pt x="27" y="217"/>
                    <a:pt x="26" y="216"/>
                  </a:cubicBezTo>
                  <a:cubicBezTo>
                    <a:pt x="22" y="216"/>
                    <a:pt x="18" y="214"/>
                    <a:pt x="14" y="213"/>
                  </a:cubicBezTo>
                  <a:cubicBezTo>
                    <a:pt x="11" y="212"/>
                    <a:pt x="9" y="210"/>
                    <a:pt x="7" y="210"/>
                  </a:cubicBezTo>
                  <a:cubicBezTo>
                    <a:pt x="5" y="210"/>
                    <a:pt x="3" y="212"/>
                    <a:pt x="3" y="215"/>
                  </a:cubicBezTo>
                  <a:cubicBezTo>
                    <a:pt x="3" y="233"/>
                    <a:pt x="3" y="233"/>
                    <a:pt x="3" y="233"/>
                  </a:cubicBezTo>
                  <a:cubicBezTo>
                    <a:pt x="3" y="233"/>
                    <a:pt x="3" y="233"/>
                    <a:pt x="3" y="233"/>
                  </a:cubicBezTo>
                  <a:cubicBezTo>
                    <a:pt x="3" y="236"/>
                    <a:pt x="4" y="238"/>
                    <a:pt x="7" y="240"/>
                  </a:cubicBezTo>
                  <a:cubicBezTo>
                    <a:pt x="15" y="243"/>
                    <a:pt x="21" y="245"/>
                    <a:pt x="32" y="245"/>
                  </a:cubicBezTo>
                  <a:cubicBezTo>
                    <a:pt x="41" y="244"/>
                    <a:pt x="47" y="242"/>
                    <a:pt x="54" y="238"/>
                  </a:cubicBezTo>
                  <a:cubicBezTo>
                    <a:pt x="61" y="233"/>
                    <a:pt x="67" y="227"/>
                    <a:pt x="73" y="220"/>
                  </a:cubicBezTo>
                  <a:cubicBezTo>
                    <a:pt x="75" y="216"/>
                    <a:pt x="77" y="212"/>
                    <a:pt x="79" y="208"/>
                  </a:cubicBezTo>
                  <a:cubicBezTo>
                    <a:pt x="83" y="200"/>
                    <a:pt x="144" y="40"/>
                    <a:pt x="156" y="6"/>
                  </a:cubicBezTo>
                  <a:cubicBezTo>
                    <a:pt x="157" y="5"/>
                    <a:pt x="157" y="4"/>
                    <a:pt x="157" y="3"/>
                  </a:cubicBezTo>
                  <a:cubicBezTo>
                    <a:pt x="157" y="1"/>
                    <a:pt x="155" y="0"/>
                    <a:pt x="153" y="0"/>
                  </a:cubicBezTo>
                  <a:lnTo>
                    <a:pt x="13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342" dirty="0"/>
            </a:p>
          </p:txBody>
        </p:sp>
        <p:sp>
          <p:nvSpPr>
            <p:cNvPr id="10" name="Freeform 8">
              <a:extLst>
                <a:ext uri="{FF2B5EF4-FFF2-40B4-BE49-F238E27FC236}">
                  <a16:creationId xmlns:a16="http://schemas.microsoft.com/office/drawing/2014/main" id="{FA4DA928-058C-40DF-A9B6-21272F81C671}"/>
                </a:ext>
              </a:extLst>
            </p:cNvPr>
            <p:cNvSpPr>
              <a:spLocks/>
            </p:cNvSpPr>
            <p:nvPr userDrawn="1"/>
          </p:nvSpPr>
          <p:spPr bwMode="auto">
            <a:xfrm>
              <a:off x="3457" y="1726"/>
              <a:ext cx="263" cy="322"/>
            </a:xfrm>
            <a:custGeom>
              <a:avLst/>
              <a:gdLst>
                <a:gd name="T0" fmla="*/ 28 w 139"/>
                <a:gd name="T1" fmla="*/ 21 h 170"/>
                <a:gd name="T2" fmla="*/ 28 w 139"/>
                <a:gd name="T3" fmla="*/ 6 h 170"/>
                <a:gd name="T4" fmla="*/ 25 w 139"/>
                <a:gd name="T5" fmla="*/ 3 h 170"/>
                <a:gd name="T6" fmla="*/ 4 w 139"/>
                <a:gd name="T7" fmla="*/ 3 h 170"/>
                <a:gd name="T8" fmla="*/ 0 w 139"/>
                <a:gd name="T9" fmla="*/ 6 h 170"/>
                <a:gd name="T10" fmla="*/ 0 w 139"/>
                <a:gd name="T11" fmla="*/ 167 h 170"/>
                <a:gd name="T12" fmla="*/ 4 w 139"/>
                <a:gd name="T13" fmla="*/ 170 h 170"/>
                <a:gd name="T14" fmla="*/ 25 w 139"/>
                <a:gd name="T15" fmla="*/ 170 h 170"/>
                <a:gd name="T16" fmla="*/ 28 w 139"/>
                <a:gd name="T17" fmla="*/ 167 h 170"/>
                <a:gd name="T18" fmla="*/ 28 w 139"/>
                <a:gd name="T19" fmla="*/ 68 h 170"/>
                <a:gd name="T20" fmla="*/ 70 w 139"/>
                <a:gd name="T21" fmla="*/ 28 h 170"/>
                <a:gd name="T22" fmla="*/ 111 w 139"/>
                <a:gd name="T23" fmla="*/ 68 h 170"/>
                <a:gd name="T24" fmla="*/ 111 w 139"/>
                <a:gd name="T25" fmla="*/ 167 h 170"/>
                <a:gd name="T26" fmla="*/ 111 w 139"/>
                <a:gd name="T27" fmla="*/ 167 h 170"/>
                <a:gd name="T28" fmla="*/ 114 w 139"/>
                <a:gd name="T29" fmla="*/ 170 h 170"/>
                <a:gd name="T30" fmla="*/ 136 w 139"/>
                <a:gd name="T31" fmla="*/ 170 h 170"/>
                <a:gd name="T32" fmla="*/ 139 w 139"/>
                <a:gd name="T33" fmla="*/ 167 h 170"/>
                <a:gd name="T34" fmla="*/ 139 w 139"/>
                <a:gd name="T35" fmla="*/ 68 h 170"/>
                <a:gd name="T36" fmla="*/ 139 w 139"/>
                <a:gd name="T37" fmla="*/ 68 h 170"/>
                <a:gd name="T38" fmla="*/ 139 w 139"/>
                <a:gd name="T39" fmla="*/ 68 h 170"/>
                <a:gd name="T40" fmla="*/ 120 w 139"/>
                <a:gd name="T41" fmla="*/ 20 h 170"/>
                <a:gd name="T42" fmla="*/ 70 w 139"/>
                <a:gd name="T43" fmla="*/ 0 h 170"/>
                <a:gd name="T44" fmla="*/ 28 w 139"/>
                <a:gd name="T45" fmla="*/ 2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170">
                  <a:moveTo>
                    <a:pt x="28" y="21"/>
                  </a:moveTo>
                  <a:cubicBezTo>
                    <a:pt x="28" y="6"/>
                    <a:pt x="28" y="6"/>
                    <a:pt x="28" y="6"/>
                  </a:cubicBezTo>
                  <a:cubicBezTo>
                    <a:pt x="28" y="4"/>
                    <a:pt x="27" y="3"/>
                    <a:pt x="25" y="3"/>
                  </a:cubicBezTo>
                  <a:cubicBezTo>
                    <a:pt x="4" y="3"/>
                    <a:pt x="4" y="3"/>
                    <a:pt x="4" y="3"/>
                  </a:cubicBezTo>
                  <a:cubicBezTo>
                    <a:pt x="1" y="3"/>
                    <a:pt x="0" y="4"/>
                    <a:pt x="0" y="6"/>
                  </a:cubicBezTo>
                  <a:cubicBezTo>
                    <a:pt x="0" y="167"/>
                    <a:pt x="0" y="167"/>
                    <a:pt x="0" y="167"/>
                  </a:cubicBezTo>
                  <a:cubicBezTo>
                    <a:pt x="0" y="169"/>
                    <a:pt x="1" y="170"/>
                    <a:pt x="4" y="170"/>
                  </a:cubicBezTo>
                  <a:cubicBezTo>
                    <a:pt x="25" y="170"/>
                    <a:pt x="25" y="170"/>
                    <a:pt x="25" y="170"/>
                  </a:cubicBezTo>
                  <a:cubicBezTo>
                    <a:pt x="27" y="170"/>
                    <a:pt x="28" y="169"/>
                    <a:pt x="28" y="167"/>
                  </a:cubicBezTo>
                  <a:cubicBezTo>
                    <a:pt x="28" y="68"/>
                    <a:pt x="28" y="68"/>
                    <a:pt x="28" y="68"/>
                  </a:cubicBezTo>
                  <a:cubicBezTo>
                    <a:pt x="28" y="49"/>
                    <a:pt x="42" y="28"/>
                    <a:pt x="70" y="28"/>
                  </a:cubicBezTo>
                  <a:cubicBezTo>
                    <a:pt x="97" y="28"/>
                    <a:pt x="111" y="49"/>
                    <a:pt x="111" y="68"/>
                  </a:cubicBezTo>
                  <a:cubicBezTo>
                    <a:pt x="111" y="167"/>
                    <a:pt x="111" y="167"/>
                    <a:pt x="111" y="167"/>
                  </a:cubicBezTo>
                  <a:cubicBezTo>
                    <a:pt x="111" y="167"/>
                    <a:pt x="111" y="167"/>
                    <a:pt x="111" y="167"/>
                  </a:cubicBezTo>
                  <a:cubicBezTo>
                    <a:pt x="111" y="169"/>
                    <a:pt x="112" y="170"/>
                    <a:pt x="114" y="170"/>
                  </a:cubicBezTo>
                  <a:cubicBezTo>
                    <a:pt x="136" y="170"/>
                    <a:pt x="136" y="170"/>
                    <a:pt x="136" y="170"/>
                  </a:cubicBezTo>
                  <a:cubicBezTo>
                    <a:pt x="138" y="170"/>
                    <a:pt x="139" y="169"/>
                    <a:pt x="139" y="167"/>
                  </a:cubicBezTo>
                  <a:cubicBezTo>
                    <a:pt x="139" y="68"/>
                    <a:pt x="139" y="68"/>
                    <a:pt x="139" y="68"/>
                  </a:cubicBezTo>
                  <a:cubicBezTo>
                    <a:pt x="139" y="68"/>
                    <a:pt x="139" y="68"/>
                    <a:pt x="139" y="68"/>
                  </a:cubicBezTo>
                  <a:cubicBezTo>
                    <a:pt x="139" y="68"/>
                    <a:pt x="139" y="68"/>
                    <a:pt x="139" y="68"/>
                  </a:cubicBezTo>
                  <a:cubicBezTo>
                    <a:pt x="139" y="51"/>
                    <a:pt x="133" y="35"/>
                    <a:pt x="120" y="20"/>
                  </a:cubicBezTo>
                  <a:cubicBezTo>
                    <a:pt x="109" y="7"/>
                    <a:pt x="88" y="0"/>
                    <a:pt x="70" y="0"/>
                  </a:cubicBezTo>
                  <a:cubicBezTo>
                    <a:pt x="41" y="0"/>
                    <a:pt x="28" y="21"/>
                    <a:pt x="28" y="2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342" dirty="0"/>
            </a:p>
          </p:txBody>
        </p:sp>
        <p:sp>
          <p:nvSpPr>
            <p:cNvPr id="11" name="Freeform 9">
              <a:extLst>
                <a:ext uri="{FF2B5EF4-FFF2-40B4-BE49-F238E27FC236}">
                  <a16:creationId xmlns:a16="http://schemas.microsoft.com/office/drawing/2014/main" id="{BDBE2736-4D16-47F2-8CC1-7353D5B149D2}"/>
                </a:ext>
              </a:extLst>
            </p:cNvPr>
            <p:cNvSpPr>
              <a:spLocks/>
            </p:cNvSpPr>
            <p:nvPr userDrawn="1"/>
          </p:nvSpPr>
          <p:spPr bwMode="auto">
            <a:xfrm>
              <a:off x="2264" y="1724"/>
              <a:ext cx="246" cy="328"/>
            </a:xfrm>
            <a:custGeom>
              <a:avLst/>
              <a:gdLst>
                <a:gd name="T0" fmla="*/ 4 w 130"/>
                <a:gd name="T1" fmla="*/ 48 h 173"/>
                <a:gd name="T2" fmla="*/ 56 w 130"/>
                <a:gd name="T3" fmla="*/ 97 h 173"/>
                <a:gd name="T4" fmla="*/ 57 w 130"/>
                <a:gd name="T5" fmla="*/ 98 h 173"/>
                <a:gd name="T6" fmla="*/ 101 w 130"/>
                <a:gd name="T7" fmla="*/ 124 h 173"/>
                <a:gd name="T8" fmla="*/ 66 w 130"/>
                <a:gd name="T9" fmla="*/ 146 h 173"/>
                <a:gd name="T10" fmla="*/ 30 w 130"/>
                <a:gd name="T11" fmla="*/ 118 h 173"/>
                <a:gd name="T12" fmla="*/ 26 w 130"/>
                <a:gd name="T13" fmla="*/ 114 h 173"/>
                <a:gd name="T14" fmla="*/ 5 w 130"/>
                <a:gd name="T15" fmla="*/ 114 h 173"/>
                <a:gd name="T16" fmla="*/ 0 w 130"/>
                <a:gd name="T17" fmla="*/ 118 h 173"/>
                <a:gd name="T18" fmla="*/ 65 w 130"/>
                <a:gd name="T19" fmla="*/ 173 h 173"/>
                <a:gd name="T20" fmla="*/ 130 w 130"/>
                <a:gd name="T21" fmla="*/ 120 h 173"/>
                <a:gd name="T22" fmla="*/ 72 w 130"/>
                <a:gd name="T23" fmla="*/ 74 h 173"/>
                <a:gd name="T24" fmla="*/ 32 w 130"/>
                <a:gd name="T25" fmla="*/ 48 h 173"/>
                <a:gd name="T26" fmla="*/ 63 w 130"/>
                <a:gd name="T27" fmla="*/ 27 h 173"/>
                <a:gd name="T28" fmla="*/ 97 w 130"/>
                <a:gd name="T29" fmla="*/ 49 h 173"/>
                <a:gd name="T30" fmla="*/ 102 w 130"/>
                <a:gd name="T31" fmla="*/ 53 h 173"/>
                <a:gd name="T32" fmla="*/ 120 w 130"/>
                <a:gd name="T33" fmla="*/ 53 h 173"/>
                <a:gd name="T34" fmla="*/ 125 w 130"/>
                <a:gd name="T35" fmla="*/ 48 h 173"/>
                <a:gd name="T36" fmla="*/ 63 w 130"/>
                <a:gd name="T37" fmla="*/ 0 h 173"/>
                <a:gd name="T38" fmla="*/ 4 w 130"/>
                <a:gd name="T39" fmla="*/ 4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173">
                  <a:moveTo>
                    <a:pt x="4" y="48"/>
                  </a:moveTo>
                  <a:cubicBezTo>
                    <a:pt x="4" y="77"/>
                    <a:pt x="19" y="91"/>
                    <a:pt x="56" y="97"/>
                  </a:cubicBezTo>
                  <a:cubicBezTo>
                    <a:pt x="57" y="98"/>
                    <a:pt x="57" y="98"/>
                    <a:pt x="57" y="98"/>
                  </a:cubicBezTo>
                  <a:cubicBezTo>
                    <a:pt x="83" y="102"/>
                    <a:pt x="101" y="105"/>
                    <a:pt x="101" y="124"/>
                  </a:cubicBezTo>
                  <a:cubicBezTo>
                    <a:pt x="101" y="139"/>
                    <a:pt x="83" y="146"/>
                    <a:pt x="66" y="146"/>
                  </a:cubicBezTo>
                  <a:cubicBezTo>
                    <a:pt x="46" y="146"/>
                    <a:pt x="33" y="136"/>
                    <a:pt x="30" y="118"/>
                  </a:cubicBezTo>
                  <a:cubicBezTo>
                    <a:pt x="30" y="116"/>
                    <a:pt x="29" y="114"/>
                    <a:pt x="26" y="114"/>
                  </a:cubicBezTo>
                  <a:cubicBezTo>
                    <a:pt x="5" y="114"/>
                    <a:pt x="5" y="114"/>
                    <a:pt x="5" y="114"/>
                  </a:cubicBezTo>
                  <a:cubicBezTo>
                    <a:pt x="2" y="114"/>
                    <a:pt x="0" y="116"/>
                    <a:pt x="0" y="118"/>
                  </a:cubicBezTo>
                  <a:cubicBezTo>
                    <a:pt x="0" y="150"/>
                    <a:pt x="27" y="173"/>
                    <a:pt x="65" y="173"/>
                  </a:cubicBezTo>
                  <a:cubicBezTo>
                    <a:pt x="104" y="173"/>
                    <a:pt x="130" y="151"/>
                    <a:pt x="130" y="120"/>
                  </a:cubicBezTo>
                  <a:cubicBezTo>
                    <a:pt x="130" y="86"/>
                    <a:pt x="100" y="79"/>
                    <a:pt x="72" y="74"/>
                  </a:cubicBezTo>
                  <a:cubicBezTo>
                    <a:pt x="37" y="68"/>
                    <a:pt x="32" y="58"/>
                    <a:pt x="32" y="48"/>
                  </a:cubicBezTo>
                  <a:cubicBezTo>
                    <a:pt x="32" y="32"/>
                    <a:pt x="49" y="27"/>
                    <a:pt x="63" y="27"/>
                  </a:cubicBezTo>
                  <a:cubicBezTo>
                    <a:pt x="82" y="27"/>
                    <a:pt x="94" y="34"/>
                    <a:pt x="97" y="49"/>
                  </a:cubicBezTo>
                  <a:cubicBezTo>
                    <a:pt x="98" y="51"/>
                    <a:pt x="98" y="53"/>
                    <a:pt x="102" y="53"/>
                  </a:cubicBezTo>
                  <a:cubicBezTo>
                    <a:pt x="120" y="53"/>
                    <a:pt x="120" y="53"/>
                    <a:pt x="120" y="53"/>
                  </a:cubicBezTo>
                  <a:cubicBezTo>
                    <a:pt x="123" y="53"/>
                    <a:pt x="125" y="51"/>
                    <a:pt x="125" y="48"/>
                  </a:cubicBezTo>
                  <a:cubicBezTo>
                    <a:pt x="125" y="19"/>
                    <a:pt x="100" y="0"/>
                    <a:pt x="63" y="0"/>
                  </a:cubicBezTo>
                  <a:cubicBezTo>
                    <a:pt x="22" y="0"/>
                    <a:pt x="4" y="25"/>
                    <a:pt x="4" y="4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342" dirty="0"/>
            </a:p>
          </p:txBody>
        </p:sp>
        <p:sp>
          <p:nvSpPr>
            <p:cNvPr id="12" name="Freeform 10">
              <a:extLst>
                <a:ext uri="{FF2B5EF4-FFF2-40B4-BE49-F238E27FC236}">
                  <a16:creationId xmlns:a16="http://schemas.microsoft.com/office/drawing/2014/main" id="{C990E525-4DF6-403E-9092-24C5DCE5B33A}"/>
                </a:ext>
              </a:extLst>
            </p:cNvPr>
            <p:cNvSpPr>
              <a:spLocks/>
            </p:cNvSpPr>
            <p:nvPr userDrawn="1"/>
          </p:nvSpPr>
          <p:spPr bwMode="auto">
            <a:xfrm>
              <a:off x="3062" y="1722"/>
              <a:ext cx="312" cy="474"/>
            </a:xfrm>
            <a:custGeom>
              <a:avLst/>
              <a:gdLst>
                <a:gd name="T0" fmla="*/ 67 w 165"/>
                <a:gd name="T1" fmla="*/ 0 h 250"/>
                <a:gd name="T2" fmla="*/ 0 w 165"/>
                <a:gd name="T3" fmla="*/ 86 h 250"/>
                <a:gd name="T4" fmla="*/ 82 w 165"/>
                <a:gd name="T5" fmla="*/ 174 h 250"/>
                <a:gd name="T6" fmla="*/ 137 w 165"/>
                <a:gd name="T7" fmla="*/ 152 h 250"/>
                <a:gd name="T8" fmla="*/ 137 w 165"/>
                <a:gd name="T9" fmla="*/ 173 h 250"/>
                <a:gd name="T10" fmla="*/ 89 w 165"/>
                <a:gd name="T11" fmla="*/ 222 h 250"/>
                <a:gd name="T12" fmla="*/ 48 w 165"/>
                <a:gd name="T13" fmla="*/ 194 h 250"/>
                <a:gd name="T14" fmla="*/ 43 w 165"/>
                <a:gd name="T15" fmla="*/ 190 h 250"/>
                <a:gd name="T16" fmla="*/ 24 w 165"/>
                <a:gd name="T17" fmla="*/ 190 h 250"/>
                <a:gd name="T18" fmla="*/ 19 w 165"/>
                <a:gd name="T19" fmla="*/ 195 h 250"/>
                <a:gd name="T20" fmla="*/ 89 w 165"/>
                <a:gd name="T21" fmla="*/ 250 h 250"/>
                <a:gd name="T22" fmla="*/ 165 w 165"/>
                <a:gd name="T23" fmla="*/ 174 h 250"/>
                <a:gd name="T24" fmla="*/ 165 w 165"/>
                <a:gd name="T25" fmla="*/ 7 h 250"/>
                <a:gd name="T26" fmla="*/ 162 w 165"/>
                <a:gd name="T27" fmla="*/ 4 h 250"/>
                <a:gd name="T28" fmla="*/ 140 w 165"/>
                <a:gd name="T29" fmla="*/ 4 h 250"/>
                <a:gd name="T30" fmla="*/ 137 w 165"/>
                <a:gd name="T31" fmla="*/ 7 h 250"/>
                <a:gd name="T32" fmla="*/ 137 w 165"/>
                <a:gd name="T33" fmla="*/ 21 h 250"/>
                <a:gd name="T34" fmla="*/ 99 w 165"/>
                <a:gd name="T35" fmla="*/ 0 h 250"/>
                <a:gd name="T36" fmla="*/ 96 w 165"/>
                <a:gd name="T37" fmla="*/ 3 h 250"/>
                <a:gd name="T38" fmla="*/ 96 w 165"/>
                <a:gd name="T39" fmla="*/ 28 h 250"/>
                <a:gd name="T40" fmla="*/ 97 w 165"/>
                <a:gd name="T41" fmla="*/ 31 h 250"/>
                <a:gd name="T42" fmla="*/ 138 w 165"/>
                <a:gd name="T43" fmla="*/ 87 h 250"/>
                <a:gd name="T44" fmla="*/ 83 w 165"/>
                <a:gd name="T45" fmla="*/ 146 h 250"/>
                <a:gd name="T46" fmla="*/ 29 w 165"/>
                <a:gd name="T47" fmla="*/ 87 h 250"/>
                <a:gd name="T48" fmla="*/ 68 w 165"/>
                <a:gd name="T49" fmla="*/ 31 h 250"/>
                <a:gd name="T50" fmla="*/ 70 w 165"/>
                <a:gd name="T51" fmla="*/ 29 h 250"/>
                <a:gd name="T52" fmla="*/ 70 w 165"/>
                <a:gd name="T53" fmla="*/ 3 h 250"/>
                <a:gd name="T54" fmla="*/ 67 w 165"/>
                <a:gd name="T55" fmla="*/ 0 h 250"/>
                <a:gd name="T56" fmla="*/ 67 w 165"/>
                <a:gd name="T57"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5" h="250">
                  <a:moveTo>
                    <a:pt x="67" y="0"/>
                  </a:moveTo>
                  <a:cubicBezTo>
                    <a:pt x="29" y="8"/>
                    <a:pt x="0" y="44"/>
                    <a:pt x="0" y="86"/>
                  </a:cubicBezTo>
                  <a:cubicBezTo>
                    <a:pt x="0" y="135"/>
                    <a:pt x="37" y="174"/>
                    <a:pt x="82" y="174"/>
                  </a:cubicBezTo>
                  <a:cubicBezTo>
                    <a:pt x="103" y="174"/>
                    <a:pt x="122" y="166"/>
                    <a:pt x="137" y="152"/>
                  </a:cubicBezTo>
                  <a:cubicBezTo>
                    <a:pt x="137" y="173"/>
                    <a:pt x="137" y="173"/>
                    <a:pt x="137" y="173"/>
                  </a:cubicBezTo>
                  <a:cubicBezTo>
                    <a:pt x="137" y="205"/>
                    <a:pt x="120" y="222"/>
                    <a:pt x="89" y="222"/>
                  </a:cubicBezTo>
                  <a:cubicBezTo>
                    <a:pt x="66" y="222"/>
                    <a:pt x="52" y="213"/>
                    <a:pt x="48" y="194"/>
                  </a:cubicBezTo>
                  <a:cubicBezTo>
                    <a:pt x="47" y="192"/>
                    <a:pt x="46" y="190"/>
                    <a:pt x="43" y="190"/>
                  </a:cubicBezTo>
                  <a:cubicBezTo>
                    <a:pt x="24" y="190"/>
                    <a:pt x="24" y="190"/>
                    <a:pt x="24" y="190"/>
                  </a:cubicBezTo>
                  <a:cubicBezTo>
                    <a:pt x="21" y="190"/>
                    <a:pt x="19" y="192"/>
                    <a:pt x="19" y="195"/>
                  </a:cubicBezTo>
                  <a:cubicBezTo>
                    <a:pt x="22" y="228"/>
                    <a:pt x="51" y="250"/>
                    <a:pt x="89" y="250"/>
                  </a:cubicBezTo>
                  <a:cubicBezTo>
                    <a:pt x="135" y="250"/>
                    <a:pt x="165" y="219"/>
                    <a:pt x="165" y="174"/>
                  </a:cubicBezTo>
                  <a:cubicBezTo>
                    <a:pt x="165" y="7"/>
                    <a:pt x="165" y="7"/>
                    <a:pt x="165" y="7"/>
                  </a:cubicBezTo>
                  <a:cubicBezTo>
                    <a:pt x="165" y="5"/>
                    <a:pt x="164" y="4"/>
                    <a:pt x="162" y="4"/>
                  </a:cubicBezTo>
                  <a:cubicBezTo>
                    <a:pt x="140" y="4"/>
                    <a:pt x="140" y="4"/>
                    <a:pt x="140" y="4"/>
                  </a:cubicBezTo>
                  <a:cubicBezTo>
                    <a:pt x="138" y="4"/>
                    <a:pt x="137" y="5"/>
                    <a:pt x="137" y="7"/>
                  </a:cubicBezTo>
                  <a:cubicBezTo>
                    <a:pt x="137" y="21"/>
                    <a:pt x="137" y="21"/>
                    <a:pt x="137" y="21"/>
                  </a:cubicBezTo>
                  <a:cubicBezTo>
                    <a:pt x="126" y="11"/>
                    <a:pt x="113" y="4"/>
                    <a:pt x="99" y="0"/>
                  </a:cubicBezTo>
                  <a:cubicBezTo>
                    <a:pt x="97" y="0"/>
                    <a:pt x="96" y="1"/>
                    <a:pt x="96" y="3"/>
                  </a:cubicBezTo>
                  <a:cubicBezTo>
                    <a:pt x="96" y="28"/>
                    <a:pt x="96" y="28"/>
                    <a:pt x="96" y="28"/>
                  </a:cubicBezTo>
                  <a:cubicBezTo>
                    <a:pt x="96" y="29"/>
                    <a:pt x="96" y="30"/>
                    <a:pt x="97" y="31"/>
                  </a:cubicBezTo>
                  <a:cubicBezTo>
                    <a:pt x="121" y="37"/>
                    <a:pt x="138" y="60"/>
                    <a:pt x="138" y="87"/>
                  </a:cubicBezTo>
                  <a:cubicBezTo>
                    <a:pt x="138" y="119"/>
                    <a:pt x="114" y="146"/>
                    <a:pt x="83" y="146"/>
                  </a:cubicBezTo>
                  <a:cubicBezTo>
                    <a:pt x="53" y="146"/>
                    <a:pt x="29" y="119"/>
                    <a:pt x="29" y="87"/>
                  </a:cubicBezTo>
                  <a:cubicBezTo>
                    <a:pt x="29" y="61"/>
                    <a:pt x="45" y="38"/>
                    <a:pt x="68" y="31"/>
                  </a:cubicBezTo>
                  <a:cubicBezTo>
                    <a:pt x="69" y="31"/>
                    <a:pt x="70" y="30"/>
                    <a:pt x="70" y="29"/>
                  </a:cubicBezTo>
                  <a:cubicBezTo>
                    <a:pt x="70" y="3"/>
                    <a:pt x="70" y="3"/>
                    <a:pt x="70" y="3"/>
                  </a:cubicBezTo>
                  <a:cubicBezTo>
                    <a:pt x="70" y="1"/>
                    <a:pt x="69" y="0"/>
                    <a:pt x="67" y="0"/>
                  </a:cubicBezTo>
                  <a:cubicBezTo>
                    <a:pt x="67" y="0"/>
                    <a:pt x="67" y="0"/>
                    <a:pt x="67"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342" dirty="0"/>
            </a:p>
          </p:txBody>
        </p:sp>
        <p:sp>
          <p:nvSpPr>
            <p:cNvPr id="13" name="Oval 12">
              <a:extLst>
                <a:ext uri="{FF2B5EF4-FFF2-40B4-BE49-F238E27FC236}">
                  <a16:creationId xmlns:a16="http://schemas.microsoft.com/office/drawing/2014/main" id="{1114B85E-E1BE-464E-8E28-ACA4300CA4C0}"/>
                </a:ext>
              </a:extLst>
            </p:cNvPr>
            <p:cNvSpPr>
              <a:spLocks noChangeArrowheads="1"/>
            </p:cNvSpPr>
            <p:nvPr userDrawn="1"/>
          </p:nvSpPr>
          <p:spPr bwMode="auto">
            <a:xfrm>
              <a:off x="2843" y="1589"/>
              <a:ext cx="87" cy="8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2342" dirty="0"/>
            </a:p>
          </p:txBody>
        </p:sp>
        <p:sp>
          <p:nvSpPr>
            <p:cNvPr id="14" name="Oval 13">
              <a:extLst>
                <a:ext uri="{FF2B5EF4-FFF2-40B4-BE49-F238E27FC236}">
                  <a16:creationId xmlns:a16="http://schemas.microsoft.com/office/drawing/2014/main" id="{5BA160C3-B4E4-4003-BFF3-28A6B0C1B0F9}"/>
                </a:ext>
              </a:extLst>
            </p:cNvPr>
            <p:cNvSpPr>
              <a:spLocks noChangeArrowheads="1"/>
            </p:cNvSpPr>
            <p:nvPr userDrawn="1"/>
          </p:nvSpPr>
          <p:spPr bwMode="auto">
            <a:xfrm>
              <a:off x="3873" y="1589"/>
              <a:ext cx="87" cy="8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2342" dirty="0"/>
            </a:p>
          </p:txBody>
        </p:sp>
        <p:sp>
          <p:nvSpPr>
            <p:cNvPr id="15" name="Freeform 13">
              <a:extLst>
                <a:ext uri="{FF2B5EF4-FFF2-40B4-BE49-F238E27FC236}">
                  <a16:creationId xmlns:a16="http://schemas.microsoft.com/office/drawing/2014/main" id="{0F26E6D7-1351-4C95-A3E8-FF86354A3C85}"/>
                </a:ext>
              </a:extLst>
            </p:cNvPr>
            <p:cNvSpPr>
              <a:spLocks/>
            </p:cNvSpPr>
            <p:nvPr userDrawn="1"/>
          </p:nvSpPr>
          <p:spPr bwMode="auto">
            <a:xfrm>
              <a:off x="4062" y="1584"/>
              <a:ext cx="242" cy="462"/>
            </a:xfrm>
            <a:custGeom>
              <a:avLst/>
              <a:gdLst>
                <a:gd name="T0" fmla="*/ 39 w 128"/>
                <a:gd name="T1" fmla="*/ 55 h 244"/>
                <a:gd name="T2" fmla="*/ 39 w 128"/>
                <a:gd name="T3" fmla="*/ 76 h 244"/>
                <a:gd name="T4" fmla="*/ 4 w 128"/>
                <a:gd name="T5" fmla="*/ 76 h 244"/>
                <a:gd name="T6" fmla="*/ 0 w 128"/>
                <a:gd name="T7" fmla="*/ 81 h 244"/>
                <a:gd name="T8" fmla="*/ 0 w 128"/>
                <a:gd name="T9" fmla="*/ 99 h 244"/>
                <a:gd name="T10" fmla="*/ 4 w 128"/>
                <a:gd name="T11" fmla="*/ 103 h 244"/>
                <a:gd name="T12" fmla="*/ 39 w 128"/>
                <a:gd name="T13" fmla="*/ 103 h 244"/>
                <a:gd name="T14" fmla="*/ 39 w 128"/>
                <a:gd name="T15" fmla="*/ 239 h 244"/>
                <a:gd name="T16" fmla="*/ 44 w 128"/>
                <a:gd name="T17" fmla="*/ 244 h 244"/>
                <a:gd name="T18" fmla="*/ 62 w 128"/>
                <a:gd name="T19" fmla="*/ 244 h 244"/>
                <a:gd name="T20" fmla="*/ 67 w 128"/>
                <a:gd name="T21" fmla="*/ 239 h 244"/>
                <a:gd name="T22" fmla="*/ 67 w 128"/>
                <a:gd name="T23" fmla="*/ 103 h 244"/>
                <a:gd name="T24" fmla="*/ 120 w 128"/>
                <a:gd name="T25" fmla="*/ 103 h 244"/>
                <a:gd name="T26" fmla="*/ 125 w 128"/>
                <a:gd name="T27" fmla="*/ 99 h 244"/>
                <a:gd name="T28" fmla="*/ 125 w 128"/>
                <a:gd name="T29" fmla="*/ 81 h 244"/>
                <a:gd name="T30" fmla="*/ 120 w 128"/>
                <a:gd name="T31" fmla="*/ 76 h 244"/>
                <a:gd name="T32" fmla="*/ 67 w 128"/>
                <a:gd name="T33" fmla="*/ 76 h 244"/>
                <a:gd name="T34" fmla="*/ 67 w 128"/>
                <a:gd name="T35" fmla="*/ 55 h 244"/>
                <a:gd name="T36" fmla="*/ 91 w 128"/>
                <a:gd name="T37" fmla="*/ 27 h 244"/>
                <a:gd name="T38" fmla="*/ 122 w 128"/>
                <a:gd name="T39" fmla="*/ 37 h 244"/>
                <a:gd name="T40" fmla="*/ 125 w 128"/>
                <a:gd name="T41" fmla="*/ 38 h 244"/>
                <a:gd name="T42" fmla="*/ 128 w 128"/>
                <a:gd name="T43" fmla="*/ 33 h 244"/>
                <a:gd name="T44" fmla="*/ 128 w 128"/>
                <a:gd name="T45" fmla="*/ 16 h 244"/>
                <a:gd name="T46" fmla="*/ 125 w 128"/>
                <a:gd name="T47" fmla="*/ 9 h 244"/>
                <a:gd name="T48" fmla="*/ 89 w 128"/>
                <a:gd name="T49" fmla="*/ 0 h 244"/>
                <a:gd name="T50" fmla="*/ 39 w 128"/>
                <a:gd name="T51" fmla="*/ 5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244">
                  <a:moveTo>
                    <a:pt x="39" y="55"/>
                  </a:moveTo>
                  <a:cubicBezTo>
                    <a:pt x="39" y="76"/>
                    <a:pt x="39" y="76"/>
                    <a:pt x="39" y="76"/>
                  </a:cubicBezTo>
                  <a:cubicBezTo>
                    <a:pt x="4" y="76"/>
                    <a:pt x="4" y="76"/>
                    <a:pt x="4" y="76"/>
                  </a:cubicBezTo>
                  <a:cubicBezTo>
                    <a:pt x="1" y="76"/>
                    <a:pt x="0" y="78"/>
                    <a:pt x="0" y="81"/>
                  </a:cubicBezTo>
                  <a:cubicBezTo>
                    <a:pt x="0" y="99"/>
                    <a:pt x="0" y="99"/>
                    <a:pt x="0" y="99"/>
                  </a:cubicBezTo>
                  <a:cubicBezTo>
                    <a:pt x="0" y="102"/>
                    <a:pt x="1" y="103"/>
                    <a:pt x="4" y="103"/>
                  </a:cubicBezTo>
                  <a:cubicBezTo>
                    <a:pt x="39" y="103"/>
                    <a:pt x="39" y="103"/>
                    <a:pt x="39" y="103"/>
                  </a:cubicBezTo>
                  <a:cubicBezTo>
                    <a:pt x="39" y="239"/>
                    <a:pt x="39" y="239"/>
                    <a:pt x="39" y="239"/>
                  </a:cubicBezTo>
                  <a:cubicBezTo>
                    <a:pt x="39" y="242"/>
                    <a:pt x="41" y="244"/>
                    <a:pt x="44" y="244"/>
                  </a:cubicBezTo>
                  <a:cubicBezTo>
                    <a:pt x="62" y="244"/>
                    <a:pt x="62" y="244"/>
                    <a:pt x="62" y="244"/>
                  </a:cubicBezTo>
                  <a:cubicBezTo>
                    <a:pt x="65" y="244"/>
                    <a:pt x="67" y="242"/>
                    <a:pt x="67" y="239"/>
                  </a:cubicBezTo>
                  <a:cubicBezTo>
                    <a:pt x="67" y="103"/>
                    <a:pt x="67" y="103"/>
                    <a:pt x="67" y="103"/>
                  </a:cubicBezTo>
                  <a:cubicBezTo>
                    <a:pt x="120" y="103"/>
                    <a:pt x="120" y="103"/>
                    <a:pt x="120" y="103"/>
                  </a:cubicBezTo>
                  <a:cubicBezTo>
                    <a:pt x="123" y="103"/>
                    <a:pt x="125" y="102"/>
                    <a:pt x="125" y="99"/>
                  </a:cubicBezTo>
                  <a:cubicBezTo>
                    <a:pt x="125" y="81"/>
                    <a:pt x="125" y="81"/>
                    <a:pt x="125" y="81"/>
                  </a:cubicBezTo>
                  <a:cubicBezTo>
                    <a:pt x="125" y="78"/>
                    <a:pt x="123" y="76"/>
                    <a:pt x="120" y="76"/>
                  </a:cubicBezTo>
                  <a:cubicBezTo>
                    <a:pt x="67" y="76"/>
                    <a:pt x="67" y="76"/>
                    <a:pt x="67" y="76"/>
                  </a:cubicBezTo>
                  <a:cubicBezTo>
                    <a:pt x="67" y="55"/>
                    <a:pt x="67" y="55"/>
                    <a:pt x="67" y="55"/>
                  </a:cubicBezTo>
                  <a:cubicBezTo>
                    <a:pt x="67" y="38"/>
                    <a:pt x="76" y="27"/>
                    <a:pt x="91" y="27"/>
                  </a:cubicBezTo>
                  <a:cubicBezTo>
                    <a:pt x="102" y="27"/>
                    <a:pt x="110" y="30"/>
                    <a:pt x="122" y="37"/>
                  </a:cubicBezTo>
                  <a:cubicBezTo>
                    <a:pt x="123" y="38"/>
                    <a:pt x="124" y="38"/>
                    <a:pt x="125" y="38"/>
                  </a:cubicBezTo>
                  <a:cubicBezTo>
                    <a:pt x="127" y="38"/>
                    <a:pt x="128" y="36"/>
                    <a:pt x="128" y="33"/>
                  </a:cubicBezTo>
                  <a:cubicBezTo>
                    <a:pt x="128" y="16"/>
                    <a:pt x="128" y="16"/>
                    <a:pt x="128" y="16"/>
                  </a:cubicBezTo>
                  <a:cubicBezTo>
                    <a:pt x="128" y="13"/>
                    <a:pt x="128" y="11"/>
                    <a:pt x="125" y="9"/>
                  </a:cubicBezTo>
                  <a:cubicBezTo>
                    <a:pt x="114" y="3"/>
                    <a:pt x="103" y="0"/>
                    <a:pt x="89" y="0"/>
                  </a:cubicBezTo>
                  <a:cubicBezTo>
                    <a:pt x="54" y="0"/>
                    <a:pt x="39" y="29"/>
                    <a:pt x="39" y="5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342" dirty="0"/>
            </a:p>
          </p:txBody>
        </p:sp>
        <p:sp>
          <p:nvSpPr>
            <p:cNvPr id="16" name="Freeform 14">
              <a:extLst>
                <a:ext uri="{FF2B5EF4-FFF2-40B4-BE49-F238E27FC236}">
                  <a16:creationId xmlns:a16="http://schemas.microsoft.com/office/drawing/2014/main" id="{DA6E6734-7A5F-4A76-946D-520C7807BB30}"/>
                </a:ext>
              </a:extLst>
            </p:cNvPr>
            <p:cNvSpPr>
              <a:spLocks/>
            </p:cNvSpPr>
            <p:nvPr userDrawn="1"/>
          </p:nvSpPr>
          <p:spPr bwMode="auto">
            <a:xfrm>
              <a:off x="2071" y="1578"/>
              <a:ext cx="632" cy="631"/>
            </a:xfrm>
            <a:custGeom>
              <a:avLst/>
              <a:gdLst>
                <a:gd name="T0" fmla="*/ 181 w 334"/>
                <a:gd name="T1" fmla="*/ 1 h 333"/>
                <a:gd name="T2" fmla="*/ 180 w 334"/>
                <a:gd name="T3" fmla="*/ 4 h 333"/>
                <a:gd name="T4" fmla="*/ 180 w 334"/>
                <a:gd name="T5" fmla="*/ 26 h 333"/>
                <a:gd name="T6" fmla="*/ 180 w 334"/>
                <a:gd name="T7" fmla="*/ 26 h 333"/>
                <a:gd name="T8" fmla="*/ 182 w 334"/>
                <a:gd name="T9" fmla="*/ 28 h 333"/>
                <a:gd name="T10" fmla="*/ 306 w 334"/>
                <a:gd name="T11" fmla="*/ 166 h 333"/>
                <a:gd name="T12" fmla="*/ 167 w 334"/>
                <a:gd name="T13" fmla="*/ 305 h 333"/>
                <a:gd name="T14" fmla="*/ 28 w 334"/>
                <a:gd name="T15" fmla="*/ 166 h 333"/>
                <a:gd name="T16" fmla="*/ 152 w 334"/>
                <a:gd name="T17" fmla="*/ 28 h 333"/>
                <a:gd name="T18" fmla="*/ 154 w 334"/>
                <a:gd name="T19" fmla="*/ 26 h 333"/>
                <a:gd name="T20" fmla="*/ 154 w 334"/>
                <a:gd name="T21" fmla="*/ 26 h 333"/>
                <a:gd name="T22" fmla="*/ 154 w 334"/>
                <a:gd name="T23" fmla="*/ 4 h 333"/>
                <a:gd name="T24" fmla="*/ 153 w 334"/>
                <a:gd name="T25" fmla="*/ 1 h 333"/>
                <a:gd name="T26" fmla="*/ 150 w 334"/>
                <a:gd name="T27" fmla="*/ 0 h 333"/>
                <a:gd name="T28" fmla="*/ 149 w 334"/>
                <a:gd name="T29" fmla="*/ 0 h 333"/>
                <a:gd name="T30" fmla="*/ 149 w 334"/>
                <a:gd name="T31" fmla="*/ 0 h 333"/>
                <a:gd name="T32" fmla="*/ 0 w 334"/>
                <a:gd name="T33" fmla="*/ 166 h 333"/>
                <a:gd name="T34" fmla="*/ 167 w 334"/>
                <a:gd name="T35" fmla="*/ 333 h 333"/>
                <a:gd name="T36" fmla="*/ 334 w 334"/>
                <a:gd name="T37" fmla="*/ 166 h 333"/>
                <a:gd name="T38" fmla="*/ 185 w 334"/>
                <a:gd name="T39" fmla="*/ 0 h 333"/>
                <a:gd name="T40" fmla="*/ 185 w 334"/>
                <a:gd name="T41" fmla="*/ 0 h 333"/>
                <a:gd name="T42" fmla="*/ 184 w 334"/>
                <a:gd name="T43" fmla="*/ 0 h 333"/>
                <a:gd name="T44" fmla="*/ 181 w 334"/>
                <a:gd name="T45" fmla="*/ 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4" h="333">
                  <a:moveTo>
                    <a:pt x="181" y="1"/>
                  </a:moveTo>
                  <a:cubicBezTo>
                    <a:pt x="180" y="2"/>
                    <a:pt x="180" y="3"/>
                    <a:pt x="180" y="4"/>
                  </a:cubicBezTo>
                  <a:cubicBezTo>
                    <a:pt x="180" y="26"/>
                    <a:pt x="180" y="26"/>
                    <a:pt x="180" y="26"/>
                  </a:cubicBezTo>
                  <a:cubicBezTo>
                    <a:pt x="180" y="26"/>
                    <a:pt x="180" y="26"/>
                    <a:pt x="180" y="26"/>
                  </a:cubicBezTo>
                  <a:cubicBezTo>
                    <a:pt x="180" y="27"/>
                    <a:pt x="181" y="28"/>
                    <a:pt x="182" y="28"/>
                  </a:cubicBezTo>
                  <a:cubicBezTo>
                    <a:pt x="251" y="35"/>
                    <a:pt x="306" y="94"/>
                    <a:pt x="306" y="166"/>
                  </a:cubicBezTo>
                  <a:cubicBezTo>
                    <a:pt x="306" y="243"/>
                    <a:pt x="244" y="305"/>
                    <a:pt x="167" y="305"/>
                  </a:cubicBezTo>
                  <a:cubicBezTo>
                    <a:pt x="90" y="305"/>
                    <a:pt x="28" y="243"/>
                    <a:pt x="28" y="166"/>
                  </a:cubicBezTo>
                  <a:cubicBezTo>
                    <a:pt x="28" y="94"/>
                    <a:pt x="82" y="35"/>
                    <a:pt x="152" y="28"/>
                  </a:cubicBezTo>
                  <a:cubicBezTo>
                    <a:pt x="153" y="28"/>
                    <a:pt x="154" y="27"/>
                    <a:pt x="154" y="26"/>
                  </a:cubicBezTo>
                  <a:cubicBezTo>
                    <a:pt x="154" y="26"/>
                    <a:pt x="154" y="26"/>
                    <a:pt x="154" y="26"/>
                  </a:cubicBezTo>
                  <a:cubicBezTo>
                    <a:pt x="154" y="4"/>
                    <a:pt x="154" y="4"/>
                    <a:pt x="154" y="4"/>
                  </a:cubicBezTo>
                  <a:cubicBezTo>
                    <a:pt x="154" y="3"/>
                    <a:pt x="154" y="2"/>
                    <a:pt x="153" y="1"/>
                  </a:cubicBezTo>
                  <a:cubicBezTo>
                    <a:pt x="152" y="0"/>
                    <a:pt x="151" y="0"/>
                    <a:pt x="150" y="0"/>
                  </a:cubicBezTo>
                  <a:cubicBezTo>
                    <a:pt x="149" y="0"/>
                    <a:pt x="149" y="0"/>
                    <a:pt x="149" y="0"/>
                  </a:cubicBezTo>
                  <a:cubicBezTo>
                    <a:pt x="149" y="0"/>
                    <a:pt x="149" y="0"/>
                    <a:pt x="149" y="0"/>
                  </a:cubicBezTo>
                  <a:cubicBezTo>
                    <a:pt x="65" y="9"/>
                    <a:pt x="0" y="80"/>
                    <a:pt x="0" y="166"/>
                  </a:cubicBezTo>
                  <a:cubicBezTo>
                    <a:pt x="0" y="258"/>
                    <a:pt x="75" y="333"/>
                    <a:pt x="167" y="333"/>
                  </a:cubicBezTo>
                  <a:cubicBezTo>
                    <a:pt x="259" y="333"/>
                    <a:pt x="334" y="258"/>
                    <a:pt x="334" y="166"/>
                  </a:cubicBezTo>
                  <a:cubicBezTo>
                    <a:pt x="334" y="80"/>
                    <a:pt x="269" y="9"/>
                    <a:pt x="185" y="0"/>
                  </a:cubicBezTo>
                  <a:cubicBezTo>
                    <a:pt x="185" y="0"/>
                    <a:pt x="185" y="0"/>
                    <a:pt x="185" y="0"/>
                  </a:cubicBezTo>
                  <a:cubicBezTo>
                    <a:pt x="185" y="0"/>
                    <a:pt x="184" y="0"/>
                    <a:pt x="184" y="0"/>
                  </a:cubicBezTo>
                  <a:cubicBezTo>
                    <a:pt x="183" y="0"/>
                    <a:pt x="182" y="0"/>
                    <a:pt x="181" y="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342" dirty="0"/>
            </a:p>
          </p:txBody>
        </p:sp>
      </p:grpSp>
    </p:spTree>
    <p:extLst>
      <p:ext uri="{BB962C8B-B14F-4D97-AF65-F5344CB8AC3E}">
        <p14:creationId xmlns:p14="http://schemas.microsoft.com/office/powerpoint/2010/main" val="3289598287"/>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r>
              <a:rPr lang="en-GB" dirty="0"/>
              <a:t>Footer (Insert &gt; Header &amp; Footer to edit) - CONFIDENTIAL</a:t>
            </a:r>
            <a:endParaRPr lang="en-US" dirty="0"/>
          </a:p>
        </p:txBody>
      </p:sp>
      <p:sp>
        <p:nvSpPr>
          <p:cNvPr id="5" name="Slide Number Placeholder 4"/>
          <p:cNvSpPr>
            <a:spLocks noGrp="1"/>
          </p:cNvSpPr>
          <p:nvPr>
            <p:ph type="sldNum" sz="quarter" idx="12"/>
          </p:nvPr>
        </p:nvSpPr>
        <p:spPr/>
        <p:txBody>
          <a:bodyPr/>
          <a:lstStyle/>
          <a:p>
            <a:fld id="{32B354EE-31EA-4FC2-9496-7B6202183237}" type="slidenum">
              <a:rPr lang="en-US" smtClean="0"/>
              <a:t>‹#›</a:t>
            </a:fld>
            <a:endParaRPr lang="en-US" dirty="0"/>
          </a:p>
        </p:txBody>
      </p:sp>
    </p:spTree>
    <p:extLst>
      <p:ext uri="{BB962C8B-B14F-4D97-AF65-F5344CB8AC3E}">
        <p14:creationId xmlns:p14="http://schemas.microsoft.com/office/powerpoint/2010/main" val="2341981857"/>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r>
              <a:rPr lang="en-GB" dirty="0"/>
              <a:t>Footer (Insert &gt; Header &amp; Footer to edit) - CONFIDENTIAL</a:t>
            </a:r>
            <a:endParaRPr lang="en-US" dirty="0"/>
          </a:p>
        </p:txBody>
      </p:sp>
      <p:sp>
        <p:nvSpPr>
          <p:cNvPr id="4" name="Slide Number Placeholder 3"/>
          <p:cNvSpPr>
            <a:spLocks noGrp="1"/>
          </p:cNvSpPr>
          <p:nvPr>
            <p:ph type="sldNum" sz="quarter" idx="12"/>
          </p:nvPr>
        </p:nvSpPr>
        <p:spPr/>
        <p:txBody>
          <a:bodyPr/>
          <a:lstStyle/>
          <a:p>
            <a:fld id="{32B354EE-31EA-4FC2-9496-7B6202183237}" type="slidenum">
              <a:rPr lang="en-US" smtClean="0"/>
              <a:t>‹#›</a:t>
            </a:fld>
            <a:endParaRPr lang="en-US" dirty="0"/>
          </a:p>
        </p:txBody>
      </p:sp>
    </p:spTree>
    <p:extLst>
      <p:ext uri="{BB962C8B-B14F-4D97-AF65-F5344CB8AC3E}">
        <p14:creationId xmlns:p14="http://schemas.microsoft.com/office/powerpoint/2010/main" val="3164434387"/>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1_Title and Content Dark">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10877" y="512500"/>
            <a:ext cx="11368019" cy="776039"/>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a:xfrm>
            <a:off x="410936" y="1521183"/>
            <a:ext cx="6178855" cy="4517348"/>
          </a:xfrm>
        </p:spPr>
        <p:txBody>
          <a:bodyPr/>
          <a:lstStyle>
            <a:lvl1pPr>
              <a:defRPr sz="2000">
                <a:solidFill>
                  <a:schemeClr val="bg1"/>
                </a:solidFill>
              </a:defRPr>
            </a:lvl1pPr>
            <a:lvl2pPr>
              <a:defRPr sz="2000">
                <a:solidFill>
                  <a:schemeClr val="bg1"/>
                </a:solidFill>
              </a:defRPr>
            </a:lvl2pPr>
            <a:lvl3pPr>
              <a:defRPr sz="2000">
                <a:solidFill>
                  <a:schemeClr val="accent3"/>
                </a:solidFill>
              </a:defRPr>
            </a:lvl3pPr>
            <a:lvl4pPr>
              <a:defRPr sz="2000">
                <a:solidFill>
                  <a:schemeClr val="bg1"/>
                </a:solidFill>
              </a:defRPr>
            </a:lvl4pPr>
            <a:lvl5pPr>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32B354EE-31EA-4FC2-9496-7B6202183237}" type="slidenum">
              <a:rPr lang="en-US"/>
              <a:pPr/>
              <a:t>‹#›</a:t>
            </a:fld>
            <a:endParaRPr lang="en-US"/>
          </a:p>
        </p:txBody>
      </p:sp>
    </p:spTree>
    <p:extLst>
      <p:ext uri="{BB962C8B-B14F-4D97-AF65-F5344CB8AC3E}">
        <p14:creationId xmlns:p14="http://schemas.microsoft.com/office/powerpoint/2010/main" val="3820798166"/>
      </p:ext>
    </p:extLst>
  </p:cSld>
  <p:clrMapOvr>
    <a:masterClrMapping/>
  </p:clrMapOvr>
  <p:transition>
    <p:fade/>
  </p:transition>
  <p:extLst>
    <p:ext uri="{DCECCB84-F9BA-43D5-87BE-67443E8EF086}">
      <p15:sldGuideLst xmlns:p15="http://schemas.microsoft.com/office/powerpoint/2012/main">
        <p15:guide id="1" pos="4151">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10878" y="512498"/>
            <a:ext cx="11368018" cy="776038"/>
          </a:xfrm>
        </p:spPr>
        <p:txBody>
          <a:bodyPr/>
          <a:lstStyle/>
          <a:p>
            <a:r>
              <a:rPr lang="en-US"/>
              <a:t>Click to edit Master title style</a:t>
            </a:r>
          </a:p>
        </p:txBody>
      </p:sp>
      <p:sp>
        <p:nvSpPr>
          <p:cNvPr id="3" name="Content Placeholder 2"/>
          <p:cNvSpPr>
            <a:spLocks noGrp="1"/>
          </p:cNvSpPr>
          <p:nvPr>
            <p:ph idx="1"/>
          </p:nvPr>
        </p:nvSpPr>
        <p:spPr>
          <a:xfrm>
            <a:off x="410880" y="1521182"/>
            <a:ext cx="6178854" cy="4517348"/>
          </a:xfr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2B354EE-31EA-4FC2-9496-7B6202183237}" type="slidenum">
              <a:rPr lang="en-US"/>
              <a:t>‹#›</a:t>
            </a:fld>
            <a:endParaRPr lang="en-US"/>
          </a:p>
        </p:txBody>
      </p:sp>
    </p:spTree>
    <p:extLst>
      <p:ext uri="{BB962C8B-B14F-4D97-AF65-F5344CB8AC3E}">
        <p14:creationId xmlns:p14="http://schemas.microsoft.com/office/powerpoint/2010/main" val="1679287755"/>
      </p:ext>
    </p:extLst>
  </p:cSld>
  <p:clrMapOvr>
    <a:masterClrMapping/>
  </p:clrMapOvr>
  <p:transition>
    <p:fade/>
  </p:transition>
  <p:extLst>
    <p:ext uri="{DCECCB84-F9BA-43D5-87BE-67443E8EF086}">
      <p15:sldGuideLst xmlns:p15="http://schemas.microsoft.com/office/powerpoint/2012/main">
        <p15:guide id="1" pos="4151">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806139"/>
            <a:ext cx="9144001" cy="3245724"/>
          </a:xfrm>
        </p:spPr>
        <p:txBody>
          <a:bodyPr anchor="ctr"/>
          <a:lstStyle>
            <a:lvl1pPr algn="ctr">
              <a:defRPr sz="4000"/>
            </a:lvl1pPr>
          </a:lstStyle>
          <a:p>
            <a:r>
              <a:rPr lang="en-US"/>
              <a:t>Click to edit Master title style</a:t>
            </a:r>
            <a:endParaRPr lang="en-US" dirty="0"/>
          </a:p>
        </p:txBody>
      </p:sp>
      <p:sp>
        <p:nvSpPr>
          <p:cNvPr id="3" name="Subtitle 2"/>
          <p:cNvSpPr>
            <a:spLocks noGrp="1"/>
          </p:cNvSpPr>
          <p:nvPr>
            <p:ph type="subTitle" idx="1"/>
          </p:nvPr>
        </p:nvSpPr>
        <p:spPr>
          <a:xfrm>
            <a:off x="1524000" y="5714325"/>
            <a:ext cx="9144001" cy="453754"/>
          </a:xfrm>
        </p:spPr>
        <p:txBody>
          <a:bodyPr/>
          <a:lstStyle>
            <a:lvl1pPr marL="0" indent="0" algn="ctr">
              <a:buNone/>
              <a:defRPr sz="2400">
                <a:solidFill>
                  <a:schemeClr val="tx2"/>
                </a:solidFill>
              </a:defRPr>
            </a:lvl1pPr>
            <a:lvl2pPr marL="521258" indent="0" algn="ctr">
              <a:buNone/>
              <a:defRPr sz="2280"/>
            </a:lvl2pPr>
            <a:lvl3pPr marL="1042512" indent="0" algn="ctr">
              <a:buNone/>
              <a:defRPr sz="2052"/>
            </a:lvl3pPr>
            <a:lvl4pPr marL="1563773" indent="0" algn="ctr">
              <a:buNone/>
              <a:defRPr sz="1824"/>
            </a:lvl4pPr>
            <a:lvl5pPr marL="2085031" indent="0" algn="ctr">
              <a:buNone/>
              <a:defRPr sz="1824"/>
            </a:lvl5pPr>
            <a:lvl6pPr marL="2606285" indent="0" algn="ctr">
              <a:buNone/>
              <a:defRPr sz="1824"/>
            </a:lvl6pPr>
            <a:lvl7pPr marL="3127543" indent="0" algn="ctr">
              <a:buNone/>
              <a:defRPr sz="1824"/>
            </a:lvl7pPr>
            <a:lvl8pPr marL="3648803" indent="0" algn="ctr">
              <a:buNone/>
              <a:defRPr sz="1824"/>
            </a:lvl8pPr>
            <a:lvl9pPr marL="4170060" indent="0" algn="ctr">
              <a:buNone/>
              <a:defRPr sz="1824"/>
            </a:lvl9pPr>
          </a:lstStyle>
          <a:p>
            <a:r>
              <a:rPr lang="en-US"/>
              <a:t>Click to edit Master subtitle style</a:t>
            </a:r>
            <a:endParaRPr lang="en-US" dirty="0"/>
          </a:p>
        </p:txBody>
      </p:sp>
      <p:grpSp>
        <p:nvGrpSpPr>
          <p:cNvPr id="7" name="Group 4">
            <a:extLst>
              <a:ext uri="{FF2B5EF4-FFF2-40B4-BE49-F238E27FC236}">
                <a16:creationId xmlns:a16="http://schemas.microsoft.com/office/drawing/2014/main" id="{70F54715-A93F-4896-93D9-0F87EC2FA633}"/>
              </a:ext>
            </a:extLst>
          </p:cNvPr>
          <p:cNvGrpSpPr>
            <a:grpSpLocks noChangeAspect="1"/>
          </p:cNvGrpSpPr>
          <p:nvPr userDrawn="1"/>
        </p:nvGrpSpPr>
        <p:grpSpPr bwMode="auto">
          <a:xfrm>
            <a:off x="5155508" y="685816"/>
            <a:ext cx="1880984" cy="458559"/>
            <a:chOff x="2071" y="1578"/>
            <a:chExt cx="2587" cy="631"/>
          </a:xfrm>
          <a:gradFill>
            <a:gsLst>
              <a:gs pos="50000">
                <a:srgbClr val="00E487"/>
              </a:gs>
              <a:gs pos="100000">
                <a:srgbClr val="1ECBD0"/>
              </a:gs>
            </a:gsLst>
            <a:lin ang="18900000" scaled="0"/>
          </a:gradFill>
        </p:grpSpPr>
        <p:sp>
          <p:nvSpPr>
            <p:cNvPr id="8" name="Freeform 5">
              <a:extLst>
                <a:ext uri="{FF2B5EF4-FFF2-40B4-BE49-F238E27FC236}">
                  <a16:creationId xmlns:a16="http://schemas.microsoft.com/office/drawing/2014/main" id="{846B7DFA-C5E8-4F62-AD8D-4DEE7917FD7D}"/>
                </a:ext>
              </a:extLst>
            </p:cNvPr>
            <p:cNvSpPr>
              <a:spLocks/>
            </p:cNvSpPr>
            <p:nvPr userDrawn="1"/>
          </p:nvSpPr>
          <p:spPr bwMode="auto">
            <a:xfrm>
              <a:off x="2765" y="1728"/>
              <a:ext cx="244" cy="318"/>
            </a:xfrm>
            <a:custGeom>
              <a:avLst/>
              <a:gdLst>
                <a:gd name="T0" fmla="*/ 12 w 129"/>
                <a:gd name="T1" fmla="*/ 0 h 168"/>
                <a:gd name="T2" fmla="*/ 8 w 129"/>
                <a:gd name="T3" fmla="*/ 4 h 168"/>
                <a:gd name="T4" fmla="*/ 8 w 129"/>
                <a:gd name="T5" fmla="*/ 25 h 168"/>
                <a:gd name="T6" fmla="*/ 12 w 129"/>
                <a:gd name="T7" fmla="*/ 29 h 168"/>
                <a:gd name="T8" fmla="*/ 48 w 129"/>
                <a:gd name="T9" fmla="*/ 29 h 168"/>
                <a:gd name="T10" fmla="*/ 48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2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2" y="0"/>
                  </a:moveTo>
                  <a:cubicBezTo>
                    <a:pt x="9" y="0"/>
                    <a:pt x="8" y="1"/>
                    <a:pt x="8" y="4"/>
                  </a:cubicBezTo>
                  <a:cubicBezTo>
                    <a:pt x="8" y="25"/>
                    <a:pt x="8" y="25"/>
                    <a:pt x="8" y="25"/>
                  </a:cubicBezTo>
                  <a:cubicBezTo>
                    <a:pt x="8" y="27"/>
                    <a:pt x="9" y="29"/>
                    <a:pt x="12" y="29"/>
                  </a:cubicBezTo>
                  <a:cubicBezTo>
                    <a:pt x="48" y="29"/>
                    <a:pt x="48" y="29"/>
                    <a:pt x="48" y="29"/>
                  </a:cubicBezTo>
                  <a:cubicBezTo>
                    <a:pt x="48" y="140"/>
                    <a:pt x="48" y="140"/>
                    <a:pt x="48"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8" y="140"/>
                    <a:pt x="125" y="140"/>
                  </a:cubicBezTo>
                  <a:cubicBezTo>
                    <a:pt x="76" y="140"/>
                    <a:pt x="76" y="140"/>
                    <a:pt x="76" y="140"/>
                  </a:cubicBezTo>
                  <a:cubicBezTo>
                    <a:pt x="76" y="4"/>
                    <a:pt x="76" y="4"/>
                    <a:pt x="76" y="4"/>
                  </a:cubicBezTo>
                  <a:cubicBezTo>
                    <a:pt x="76" y="1"/>
                    <a:pt x="75" y="0"/>
                    <a:pt x="72" y="0"/>
                  </a:cubicBez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9" name="Freeform 6">
              <a:extLst>
                <a:ext uri="{FF2B5EF4-FFF2-40B4-BE49-F238E27FC236}">
                  <a16:creationId xmlns:a16="http://schemas.microsoft.com/office/drawing/2014/main" id="{6ABD64B8-C9CA-4D12-BB30-52ABBBA59E99}"/>
                </a:ext>
              </a:extLst>
            </p:cNvPr>
            <p:cNvSpPr>
              <a:spLocks/>
            </p:cNvSpPr>
            <p:nvPr userDrawn="1"/>
          </p:nvSpPr>
          <p:spPr bwMode="auto">
            <a:xfrm>
              <a:off x="3798" y="1728"/>
              <a:ext cx="244" cy="318"/>
            </a:xfrm>
            <a:custGeom>
              <a:avLst/>
              <a:gdLst>
                <a:gd name="T0" fmla="*/ 11 w 129"/>
                <a:gd name="T1" fmla="*/ 0 h 168"/>
                <a:gd name="T2" fmla="*/ 8 w 129"/>
                <a:gd name="T3" fmla="*/ 4 h 168"/>
                <a:gd name="T4" fmla="*/ 8 w 129"/>
                <a:gd name="T5" fmla="*/ 25 h 168"/>
                <a:gd name="T6" fmla="*/ 11 w 129"/>
                <a:gd name="T7" fmla="*/ 29 h 168"/>
                <a:gd name="T8" fmla="*/ 47 w 129"/>
                <a:gd name="T9" fmla="*/ 29 h 168"/>
                <a:gd name="T10" fmla="*/ 47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1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1" y="0"/>
                  </a:moveTo>
                  <a:cubicBezTo>
                    <a:pt x="9" y="0"/>
                    <a:pt x="8" y="1"/>
                    <a:pt x="8" y="4"/>
                  </a:cubicBezTo>
                  <a:cubicBezTo>
                    <a:pt x="8" y="25"/>
                    <a:pt x="8" y="25"/>
                    <a:pt x="8" y="25"/>
                  </a:cubicBezTo>
                  <a:cubicBezTo>
                    <a:pt x="8" y="27"/>
                    <a:pt x="9" y="29"/>
                    <a:pt x="11" y="29"/>
                  </a:cubicBezTo>
                  <a:cubicBezTo>
                    <a:pt x="47" y="29"/>
                    <a:pt x="47" y="29"/>
                    <a:pt x="47" y="29"/>
                  </a:cubicBezTo>
                  <a:cubicBezTo>
                    <a:pt x="47" y="140"/>
                    <a:pt x="47" y="140"/>
                    <a:pt x="47"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7" y="140"/>
                    <a:pt x="125" y="140"/>
                  </a:cubicBezTo>
                  <a:cubicBezTo>
                    <a:pt x="76" y="140"/>
                    <a:pt x="76" y="140"/>
                    <a:pt x="76" y="140"/>
                  </a:cubicBezTo>
                  <a:cubicBezTo>
                    <a:pt x="76" y="4"/>
                    <a:pt x="76" y="4"/>
                    <a:pt x="76" y="4"/>
                  </a:cubicBezTo>
                  <a:cubicBezTo>
                    <a:pt x="75" y="1"/>
                    <a:pt x="74" y="0"/>
                    <a:pt x="72" y="0"/>
                  </a:cubicBez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10" name="Freeform 7">
              <a:extLst>
                <a:ext uri="{FF2B5EF4-FFF2-40B4-BE49-F238E27FC236}">
                  <a16:creationId xmlns:a16="http://schemas.microsoft.com/office/drawing/2014/main" id="{B038732F-5EB5-436D-B40F-847E37FC0954}"/>
                </a:ext>
              </a:extLst>
            </p:cNvPr>
            <p:cNvSpPr>
              <a:spLocks/>
            </p:cNvSpPr>
            <p:nvPr userDrawn="1"/>
          </p:nvSpPr>
          <p:spPr bwMode="auto">
            <a:xfrm>
              <a:off x="4361" y="1728"/>
              <a:ext cx="297" cy="464"/>
            </a:xfrm>
            <a:custGeom>
              <a:avLst/>
              <a:gdLst>
                <a:gd name="T0" fmla="*/ 132 w 157"/>
                <a:gd name="T1" fmla="*/ 0 h 245"/>
                <a:gd name="T2" fmla="*/ 127 w 157"/>
                <a:gd name="T3" fmla="*/ 3 h 245"/>
                <a:gd name="T4" fmla="*/ 127 w 157"/>
                <a:gd name="T5" fmla="*/ 3 h 245"/>
                <a:gd name="T6" fmla="*/ 79 w 157"/>
                <a:gd name="T7" fmla="*/ 128 h 245"/>
                <a:gd name="T8" fmla="*/ 30 w 157"/>
                <a:gd name="T9" fmla="*/ 4 h 245"/>
                <a:gd name="T10" fmla="*/ 25 w 157"/>
                <a:gd name="T11" fmla="*/ 0 h 245"/>
                <a:gd name="T12" fmla="*/ 4 w 157"/>
                <a:gd name="T13" fmla="*/ 0 h 245"/>
                <a:gd name="T14" fmla="*/ 0 w 157"/>
                <a:gd name="T15" fmla="*/ 3 h 245"/>
                <a:gd name="T16" fmla="*/ 1 w 157"/>
                <a:gd name="T17" fmla="*/ 6 h 245"/>
                <a:gd name="T18" fmla="*/ 1 w 157"/>
                <a:gd name="T19" fmla="*/ 6 h 245"/>
                <a:gd name="T20" fmla="*/ 1 w 157"/>
                <a:gd name="T21" fmla="*/ 6 h 245"/>
                <a:gd name="T22" fmla="*/ 64 w 157"/>
                <a:gd name="T23" fmla="*/ 168 h 245"/>
                <a:gd name="T24" fmla="*/ 59 w 157"/>
                <a:gd name="T25" fmla="*/ 182 h 245"/>
                <a:gd name="T26" fmla="*/ 48 w 157"/>
                <a:gd name="T27" fmla="*/ 205 h 245"/>
                <a:gd name="T28" fmla="*/ 38 w 157"/>
                <a:gd name="T29" fmla="*/ 215 h 245"/>
                <a:gd name="T30" fmla="*/ 30 w 157"/>
                <a:gd name="T31" fmla="*/ 217 h 245"/>
                <a:gd name="T32" fmla="*/ 26 w 157"/>
                <a:gd name="T33" fmla="*/ 216 h 245"/>
                <a:gd name="T34" fmla="*/ 14 w 157"/>
                <a:gd name="T35" fmla="*/ 213 h 245"/>
                <a:gd name="T36" fmla="*/ 7 w 157"/>
                <a:gd name="T37" fmla="*/ 210 h 245"/>
                <a:gd name="T38" fmla="*/ 3 w 157"/>
                <a:gd name="T39" fmla="*/ 215 h 245"/>
                <a:gd name="T40" fmla="*/ 3 w 157"/>
                <a:gd name="T41" fmla="*/ 233 h 245"/>
                <a:gd name="T42" fmla="*/ 3 w 157"/>
                <a:gd name="T43" fmla="*/ 233 h 245"/>
                <a:gd name="T44" fmla="*/ 7 w 157"/>
                <a:gd name="T45" fmla="*/ 240 h 245"/>
                <a:gd name="T46" fmla="*/ 32 w 157"/>
                <a:gd name="T47" fmla="*/ 245 h 245"/>
                <a:gd name="T48" fmla="*/ 54 w 157"/>
                <a:gd name="T49" fmla="*/ 238 h 245"/>
                <a:gd name="T50" fmla="*/ 73 w 157"/>
                <a:gd name="T51" fmla="*/ 220 h 245"/>
                <a:gd name="T52" fmla="*/ 79 w 157"/>
                <a:gd name="T53" fmla="*/ 208 h 245"/>
                <a:gd name="T54" fmla="*/ 156 w 157"/>
                <a:gd name="T55" fmla="*/ 6 h 245"/>
                <a:gd name="T56" fmla="*/ 157 w 157"/>
                <a:gd name="T57" fmla="*/ 3 h 245"/>
                <a:gd name="T58" fmla="*/ 153 w 157"/>
                <a:gd name="T59" fmla="*/ 0 h 245"/>
                <a:gd name="T60" fmla="*/ 132 w 157"/>
                <a:gd name="T6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7" h="245">
                  <a:moveTo>
                    <a:pt x="132" y="0"/>
                  </a:moveTo>
                  <a:cubicBezTo>
                    <a:pt x="129" y="0"/>
                    <a:pt x="128" y="1"/>
                    <a:pt x="127" y="3"/>
                  </a:cubicBezTo>
                  <a:cubicBezTo>
                    <a:pt x="127" y="3"/>
                    <a:pt x="127" y="3"/>
                    <a:pt x="127" y="3"/>
                  </a:cubicBezTo>
                  <a:cubicBezTo>
                    <a:pt x="79" y="128"/>
                    <a:pt x="79" y="128"/>
                    <a:pt x="79" y="128"/>
                  </a:cubicBezTo>
                  <a:cubicBezTo>
                    <a:pt x="30" y="4"/>
                    <a:pt x="30" y="4"/>
                    <a:pt x="30" y="4"/>
                  </a:cubicBezTo>
                  <a:cubicBezTo>
                    <a:pt x="29" y="1"/>
                    <a:pt x="28" y="0"/>
                    <a:pt x="25" y="0"/>
                  </a:cubicBezTo>
                  <a:cubicBezTo>
                    <a:pt x="4" y="0"/>
                    <a:pt x="4" y="0"/>
                    <a:pt x="4" y="0"/>
                  </a:cubicBezTo>
                  <a:cubicBezTo>
                    <a:pt x="2" y="0"/>
                    <a:pt x="0" y="1"/>
                    <a:pt x="0" y="3"/>
                  </a:cubicBezTo>
                  <a:cubicBezTo>
                    <a:pt x="0" y="4"/>
                    <a:pt x="1" y="5"/>
                    <a:pt x="1" y="6"/>
                  </a:cubicBezTo>
                  <a:cubicBezTo>
                    <a:pt x="1" y="6"/>
                    <a:pt x="1" y="6"/>
                    <a:pt x="1" y="6"/>
                  </a:cubicBezTo>
                  <a:cubicBezTo>
                    <a:pt x="1" y="6"/>
                    <a:pt x="1" y="6"/>
                    <a:pt x="1" y="6"/>
                  </a:cubicBezTo>
                  <a:cubicBezTo>
                    <a:pt x="64" y="168"/>
                    <a:pt x="64" y="168"/>
                    <a:pt x="64" y="168"/>
                  </a:cubicBezTo>
                  <a:cubicBezTo>
                    <a:pt x="59" y="182"/>
                    <a:pt x="59" y="182"/>
                    <a:pt x="59" y="182"/>
                  </a:cubicBezTo>
                  <a:cubicBezTo>
                    <a:pt x="57" y="187"/>
                    <a:pt x="53" y="199"/>
                    <a:pt x="48" y="205"/>
                  </a:cubicBezTo>
                  <a:cubicBezTo>
                    <a:pt x="44" y="211"/>
                    <a:pt x="42" y="213"/>
                    <a:pt x="38" y="215"/>
                  </a:cubicBezTo>
                  <a:cubicBezTo>
                    <a:pt x="35" y="216"/>
                    <a:pt x="33" y="217"/>
                    <a:pt x="30" y="217"/>
                  </a:cubicBezTo>
                  <a:cubicBezTo>
                    <a:pt x="28" y="217"/>
                    <a:pt x="27" y="217"/>
                    <a:pt x="26" y="216"/>
                  </a:cubicBezTo>
                  <a:cubicBezTo>
                    <a:pt x="22" y="216"/>
                    <a:pt x="18" y="214"/>
                    <a:pt x="14" y="213"/>
                  </a:cubicBezTo>
                  <a:cubicBezTo>
                    <a:pt x="11" y="212"/>
                    <a:pt x="9" y="210"/>
                    <a:pt x="7" y="210"/>
                  </a:cubicBezTo>
                  <a:cubicBezTo>
                    <a:pt x="5" y="210"/>
                    <a:pt x="3" y="212"/>
                    <a:pt x="3" y="215"/>
                  </a:cubicBezTo>
                  <a:cubicBezTo>
                    <a:pt x="3" y="233"/>
                    <a:pt x="3" y="233"/>
                    <a:pt x="3" y="233"/>
                  </a:cubicBezTo>
                  <a:cubicBezTo>
                    <a:pt x="3" y="233"/>
                    <a:pt x="3" y="233"/>
                    <a:pt x="3" y="233"/>
                  </a:cubicBezTo>
                  <a:cubicBezTo>
                    <a:pt x="3" y="236"/>
                    <a:pt x="4" y="238"/>
                    <a:pt x="7" y="240"/>
                  </a:cubicBezTo>
                  <a:cubicBezTo>
                    <a:pt x="15" y="243"/>
                    <a:pt x="21" y="245"/>
                    <a:pt x="32" y="245"/>
                  </a:cubicBezTo>
                  <a:cubicBezTo>
                    <a:pt x="41" y="244"/>
                    <a:pt x="47" y="242"/>
                    <a:pt x="54" y="238"/>
                  </a:cubicBezTo>
                  <a:cubicBezTo>
                    <a:pt x="61" y="233"/>
                    <a:pt x="67" y="227"/>
                    <a:pt x="73" y="220"/>
                  </a:cubicBezTo>
                  <a:cubicBezTo>
                    <a:pt x="75" y="216"/>
                    <a:pt x="77" y="212"/>
                    <a:pt x="79" y="208"/>
                  </a:cubicBezTo>
                  <a:cubicBezTo>
                    <a:pt x="83" y="200"/>
                    <a:pt x="144" y="40"/>
                    <a:pt x="156" y="6"/>
                  </a:cubicBezTo>
                  <a:cubicBezTo>
                    <a:pt x="157" y="5"/>
                    <a:pt x="157" y="4"/>
                    <a:pt x="157" y="3"/>
                  </a:cubicBezTo>
                  <a:cubicBezTo>
                    <a:pt x="157" y="1"/>
                    <a:pt x="155" y="0"/>
                    <a:pt x="153" y="0"/>
                  </a:cubicBezTo>
                  <a:lnTo>
                    <a:pt x="1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11" name="Freeform 8">
              <a:extLst>
                <a:ext uri="{FF2B5EF4-FFF2-40B4-BE49-F238E27FC236}">
                  <a16:creationId xmlns:a16="http://schemas.microsoft.com/office/drawing/2014/main" id="{B2C29C81-DF56-4D2E-89D6-7B7333393C3E}"/>
                </a:ext>
              </a:extLst>
            </p:cNvPr>
            <p:cNvSpPr>
              <a:spLocks/>
            </p:cNvSpPr>
            <p:nvPr userDrawn="1"/>
          </p:nvSpPr>
          <p:spPr bwMode="auto">
            <a:xfrm>
              <a:off x="3457" y="1726"/>
              <a:ext cx="263" cy="322"/>
            </a:xfrm>
            <a:custGeom>
              <a:avLst/>
              <a:gdLst>
                <a:gd name="T0" fmla="*/ 28 w 139"/>
                <a:gd name="T1" fmla="*/ 21 h 170"/>
                <a:gd name="T2" fmla="*/ 28 w 139"/>
                <a:gd name="T3" fmla="*/ 6 h 170"/>
                <a:gd name="T4" fmla="*/ 25 w 139"/>
                <a:gd name="T5" fmla="*/ 3 h 170"/>
                <a:gd name="T6" fmla="*/ 4 w 139"/>
                <a:gd name="T7" fmla="*/ 3 h 170"/>
                <a:gd name="T8" fmla="*/ 0 w 139"/>
                <a:gd name="T9" fmla="*/ 6 h 170"/>
                <a:gd name="T10" fmla="*/ 0 w 139"/>
                <a:gd name="T11" fmla="*/ 167 h 170"/>
                <a:gd name="T12" fmla="*/ 4 w 139"/>
                <a:gd name="T13" fmla="*/ 170 h 170"/>
                <a:gd name="T14" fmla="*/ 25 w 139"/>
                <a:gd name="T15" fmla="*/ 170 h 170"/>
                <a:gd name="T16" fmla="*/ 28 w 139"/>
                <a:gd name="T17" fmla="*/ 167 h 170"/>
                <a:gd name="T18" fmla="*/ 28 w 139"/>
                <a:gd name="T19" fmla="*/ 68 h 170"/>
                <a:gd name="T20" fmla="*/ 70 w 139"/>
                <a:gd name="T21" fmla="*/ 28 h 170"/>
                <a:gd name="T22" fmla="*/ 111 w 139"/>
                <a:gd name="T23" fmla="*/ 68 h 170"/>
                <a:gd name="T24" fmla="*/ 111 w 139"/>
                <a:gd name="T25" fmla="*/ 167 h 170"/>
                <a:gd name="T26" fmla="*/ 111 w 139"/>
                <a:gd name="T27" fmla="*/ 167 h 170"/>
                <a:gd name="T28" fmla="*/ 114 w 139"/>
                <a:gd name="T29" fmla="*/ 170 h 170"/>
                <a:gd name="T30" fmla="*/ 136 w 139"/>
                <a:gd name="T31" fmla="*/ 170 h 170"/>
                <a:gd name="T32" fmla="*/ 139 w 139"/>
                <a:gd name="T33" fmla="*/ 167 h 170"/>
                <a:gd name="T34" fmla="*/ 139 w 139"/>
                <a:gd name="T35" fmla="*/ 68 h 170"/>
                <a:gd name="T36" fmla="*/ 139 w 139"/>
                <a:gd name="T37" fmla="*/ 68 h 170"/>
                <a:gd name="T38" fmla="*/ 139 w 139"/>
                <a:gd name="T39" fmla="*/ 68 h 170"/>
                <a:gd name="T40" fmla="*/ 120 w 139"/>
                <a:gd name="T41" fmla="*/ 20 h 170"/>
                <a:gd name="T42" fmla="*/ 70 w 139"/>
                <a:gd name="T43" fmla="*/ 0 h 170"/>
                <a:gd name="T44" fmla="*/ 28 w 139"/>
                <a:gd name="T45" fmla="*/ 2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170">
                  <a:moveTo>
                    <a:pt x="28" y="21"/>
                  </a:moveTo>
                  <a:cubicBezTo>
                    <a:pt x="28" y="6"/>
                    <a:pt x="28" y="6"/>
                    <a:pt x="28" y="6"/>
                  </a:cubicBezTo>
                  <a:cubicBezTo>
                    <a:pt x="28" y="4"/>
                    <a:pt x="27" y="3"/>
                    <a:pt x="25" y="3"/>
                  </a:cubicBezTo>
                  <a:cubicBezTo>
                    <a:pt x="4" y="3"/>
                    <a:pt x="4" y="3"/>
                    <a:pt x="4" y="3"/>
                  </a:cubicBezTo>
                  <a:cubicBezTo>
                    <a:pt x="1" y="3"/>
                    <a:pt x="0" y="4"/>
                    <a:pt x="0" y="6"/>
                  </a:cubicBezTo>
                  <a:cubicBezTo>
                    <a:pt x="0" y="167"/>
                    <a:pt x="0" y="167"/>
                    <a:pt x="0" y="167"/>
                  </a:cubicBezTo>
                  <a:cubicBezTo>
                    <a:pt x="0" y="169"/>
                    <a:pt x="1" y="170"/>
                    <a:pt x="4" y="170"/>
                  </a:cubicBezTo>
                  <a:cubicBezTo>
                    <a:pt x="25" y="170"/>
                    <a:pt x="25" y="170"/>
                    <a:pt x="25" y="170"/>
                  </a:cubicBezTo>
                  <a:cubicBezTo>
                    <a:pt x="27" y="170"/>
                    <a:pt x="28" y="169"/>
                    <a:pt x="28" y="167"/>
                  </a:cubicBezTo>
                  <a:cubicBezTo>
                    <a:pt x="28" y="68"/>
                    <a:pt x="28" y="68"/>
                    <a:pt x="28" y="68"/>
                  </a:cubicBezTo>
                  <a:cubicBezTo>
                    <a:pt x="28" y="49"/>
                    <a:pt x="42" y="28"/>
                    <a:pt x="70" y="28"/>
                  </a:cubicBezTo>
                  <a:cubicBezTo>
                    <a:pt x="97" y="28"/>
                    <a:pt x="111" y="49"/>
                    <a:pt x="111" y="68"/>
                  </a:cubicBezTo>
                  <a:cubicBezTo>
                    <a:pt x="111" y="167"/>
                    <a:pt x="111" y="167"/>
                    <a:pt x="111" y="167"/>
                  </a:cubicBezTo>
                  <a:cubicBezTo>
                    <a:pt x="111" y="167"/>
                    <a:pt x="111" y="167"/>
                    <a:pt x="111" y="167"/>
                  </a:cubicBezTo>
                  <a:cubicBezTo>
                    <a:pt x="111" y="169"/>
                    <a:pt x="112" y="170"/>
                    <a:pt x="114" y="170"/>
                  </a:cubicBezTo>
                  <a:cubicBezTo>
                    <a:pt x="136" y="170"/>
                    <a:pt x="136" y="170"/>
                    <a:pt x="136" y="170"/>
                  </a:cubicBezTo>
                  <a:cubicBezTo>
                    <a:pt x="138" y="170"/>
                    <a:pt x="139" y="169"/>
                    <a:pt x="139" y="167"/>
                  </a:cubicBezTo>
                  <a:cubicBezTo>
                    <a:pt x="139" y="68"/>
                    <a:pt x="139" y="68"/>
                    <a:pt x="139" y="68"/>
                  </a:cubicBezTo>
                  <a:cubicBezTo>
                    <a:pt x="139" y="68"/>
                    <a:pt x="139" y="68"/>
                    <a:pt x="139" y="68"/>
                  </a:cubicBezTo>
                  <a:cubicBezTo>
                    <a:pt x="139" y="68"/>
                    <a:pt x="139" y="68"/>
                    <a:pt x="139" y="68"/>
                  </a:cubicBezTo>
                  <a:cubicBezTo>
                    <a:pt x="139" y="51"/>
                    <a:pt x="133" y="35"/>
                    <a:pt x="120" y="20"/>
                  </a:cubicBezTo>
                  <a:cubicBezTo>
                    <a:pt x="109" y="7"/>
                    <a:pt x="88" y="0"/>
                    <a:pt x="70" y="0"/>
                  </a:cubicBezTo>
                  <a:cubicBezTo>
                    <a:pt x="41" y="0"/>
                    <a:pt x="28" y="21"/>
                    <a:pt x="28"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12" name="Freeform 9">
              <a:extLst>
                <a:ext uri="{FF2B5EF4-FFF2-40B4-BE49-F238E27FC236}">
                  <a16:creationId xmlns:a16="http://schemas.microsoft.com/office/drawing/2014/main" id="{B38DB0D8-2A95-458B-BC03-75E42A03A8C8}"/>
                </a:ext>
              </a:extLst>
            </p:cNvPr>
            <p:cNvSpPr>
              <a:spLocks/>
            </p:cNvSpPr>
            <p:nvPr userDrawn="1"/>
          </p:nvSpPr>
          <p:spPr bwMode="auto">
            <a:xfrm>
              <a:off x="2264" y="1724"/>
              <a:ext cx="246" cy="328"/>
            </a:xfrm>
            <a:custGeom>
              <a:avLst/>
              <a:gdLst>
                <a:gd name="T0" fmla="*/ 4 w 130"/>
                <a:gd name="T1" fmla="*/ 48 h 173"/>
                <a:gd name="T2" fmla="*/ 56 w 130"/>
                <a:gd name="T3" fmla="*/ 97 h 173"/>
                <a:gd name="T4" fmla="*/ 57 w 130"/>
                <a:gd name="T5" fmla="*/ 98 h 173"/>
                <a:gd name="T6" fmla="*/ 101 w 130"/>
                <a:gd name="T7" fmla="*/ 124 h 173"/>
                <a:gd name="T8" fmla="*/ 66 w 130"/>
                <a:gd name="T9" fmla="*/ 146 h 173"/>
                <a:gd name="T10" fmla="*/ 30 w 130"/>
                <a:gd name="T11" fmla="*/ 118 h 173"/>
                <a:gd name="T12" fmla="*/ 26 w 130"/>
                <a:gd name="T13" fmla="*/ 114 h 173"/>
                <a:gd name="T14" fmla="*/ 5 w 130"/>
                <a:gd name="T15" fmla="*/ 114 h 173"/>
                <a:gd name="T16" fmla="*/ 0 w 130"/>
                <a:gd name="T17" fmla="*/ 118 h 173"/>
                <a:gd name="T18" fmla="*/ 65 w 130"/>
                <a:gd name="T19" fmla="*/ 173 h 173"/>
                <a:gd name="T20" fmla="*/ 130 w 130"/>
                <a:gd name="T21" fmla="*/ 120 h 173"/>
                <a:gd name="T22" fmla="*/ 72 w 130"/>
                <a:gd name="T23" fmla="*/ 74 h 173"/>
                <a:gd name="T24" fmla="*/ 32 w 130"/>
                <a:gd name="T25" fmla="*/ 48 h 173"/>
                <a:gd name="T26" fmla="*/ 63 w 130"/>
                <a:gd name="T27" fmla="*/ 27 h 173"/>
                <a:gd name="T28" fmla="*/ 97 w 130"/>
                <a:gd name="T29" fmla="*/ 49 h 173"/>
                <a:gd name="T30" fmla="*/ 102 w 130"/>
                <a:gd name="T31" fmla="*/ 53 h 173"/>
                <a:gd name="T32" fmla="*/ 120 w 130"/>
                <a:gd name="T33" fmla="*/ 53 h 173"/>
                <a:gd name="T34" fmla="*/ 125 w 130"/>
                <a:gd name="T35" fmla="*/ 48 h 173"/>
                <a:gd name="T36" fmla="*/ 63 w 130"/>
                <a:gd name="T37" fmla="*/ 0 h 173"/>
                <a:gd name="T38" fmla="*/ 4 w 130"/>
                <a:gd name="T39" fmla="*/ 4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173">
                  <a:moveTo>
                    <a:pt x="4" y="48"/>
                  </a:moveTo>
                  <a:cubicBezTo>
                    <a:pt x="4" y="77"/>
                    <a:pt x="19" y="91"/>
                    <a:pt x="56" y="97"/>
                  </a:cubicBezTo>
                  <a:cubicBezTo>
                    <a:pt x="57" y="98"/>
                    <a:pt x="57" y="98"/>
                    <a:pt x="57" y="98"/>
                  </a:cubicBezTo>
                  <a:cubicBezTo>
                    <a:pt x="83" y="102"/>
                    <a:pt x="101" y="105"/>
                    <a:pt x="101" y="124"/>
                  </a:cubicBezTo>
                  <a:cubicBezTo>
                    <a:pt x="101" y="139"/>
                    <a:pt x="83" y="146"/>
                    <a:pt x="66" y="146"/>
                  </a:cubicBezTo>
                  <a:cubicBezTo>
                    <a:pt x="46" y="146"/>
                    <a:pt x="33" y="136"/>
                    <a:pt x="30" y="118"/>
                  </a:cubicBezTo>
                  <a:cubicBezTo>
                    <a:pt x="30" y="116"/>
                    <a:pt x="29" y="114"/>
                    <a:pt x="26" y="114"/>
                  </a:cubicBezTo>
                  <a:cubicBezTo>
                    <a:pt x="5" y="114"/>
                    <a:pt x="5" y="114"/>
                    <a:pt x="5" y="114"/>
                  </a:cubicBezTo>
                  <a:cubicBezTo>
                    <a:pt x="2" y="114"/>
                    <a:pt x="0" y="116"/>
                    <a:pt x="0" y="118"/>
                  </a:cubicBezTo>
                  <a:cubicBezTo>
                    <a:pt x="0" y="150"/>
                    <a:pt x="27" y="173"/>
                    <a:pt x="65" y="173"/>
                  </a:cubicBezTo>
                  <a:cubicBezTo>
                    <a:pt x="104" y="173"/>
                    <a:pt x="130" y="151"/>
                    <a:pt x="130" y="120"/>
                  </a:cubicBezTo>
                  <a:cubicBezTo>
                    <a:pt x="130" y="86"/>
                    <a:pt x="100" y="79"/>
                    <a:pt x="72" y="74"/>
                  </a:cubicBezTo>
                  <a:cubicBezTo>
                    <a:pt x="37" y="68"/>
                    <a:pt x="32" y="58"/>
                    <a:pt x="32" y="48"/>
                  </a:cubicBezTo>
                  <a:cubicBezTo>
                    <a:pt x="32" y="32"/>
                    <a:pt x="49" y="27"/>
                    <a:pt x="63" y="27"/>
                  </a:cubicBezTo>
                  <a:cubicBezTo>
                    <a:pt x="82" y="27"/>
                    <a:pt x="94" y="34"/>
                    <a:pt x="97" y="49"/>
                  </a:cubicBezTo>
                  <a:cubicBezTo>
                    <a:pt x="98" y="51"/>
                    <a:pt x="98" y="53"/>
                    <a:pt x="102" y="53"/>
                  </a:cubicBezTo>
                  <a:cubicBezTo>
                    <a:pt x="120" y="53"/>
                    <a:pt x="120" y="53"/>
                    <a:pt x="120" y="53"/>
                  </a:cubicBezTo>
                  <a:cubicBezTo>
                    <a:pt x="123" y="53"/>
                    <a:pt x="125" y="51"/>
                    <a:pt x="125" y="48"/>
                  </a:cubicBezTo>
                  <a:cubicBezTo>
                    <a:pt x="125" y="19"/>
                    <a:pt x="100" y="0"/>
                    <a:pt x="63" y="0"/>
                  </a:cubicBezTo>
                  <a:cubicBezTo>
                    <a:pt x="22" y="0"/>
                    <a:pt x="4" y="25"/>
                    <a:pt x="4" y="4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13" name="Freeform 10">
              <a:extLst>
                <a:ext uri="{FF2B5EF4-FFF2-40B4-BE49-F238E27FC236}">
                  <a16:creationId xmlns:a16="http://schemas.microsoft.com/office/drawing/2014/main" id="{285FBA9D-B6C7-4BE7-90DC-3572BFC95303}"/>
                </a:ext>
              </a:extLst>
            </p:cNvPr>
            <p:cNvSpPr>
              <a:spLocks/>
            </p:cNvSpPr>
            <p:nvPr userDrawn="1"/>
          </p:nvSpPr>
          <p:spPr bwMode="auto">
            <a:xfrm>
              <a:off x="3062" y="1722"/>
              <a:ext cx="312" cy="474"/>
            </a:xfrm>
            <a:custGeom>
              <a:avLst/>
              <a:gdLst>
                <a:gd name="T0" fmla="*/ 67 w 165"/>
                <a:gd name="T1" fmla="*/ 0 h 250"/>
                <a:gd name="T2" fmla="*/ 0 w 165"/>
                <a:gd name="T3" fmla="*/ 86 h 250"/>
                <a:gd name="T4" fmla="*/ 82 w 165"/>
                <a:gd name="T5" fmla="*/ 174 h 250"/>
                <a:gd name="T6" fmla="*/ 137 w 165"/>
                <a:gd name="T7" fmla="*/ 152 h 250"/>
                <a:gd name="T8" fmla="*/ 137 w 165"/>
                <a:gd name="T9" fmla="*/ 173 h 250"/>
                <a:gd name="T10" fmla="*/ 89 w 165"/>
                <a:gd name="T11" fmla="*/ 222 h 250"/>
                <a:gd name="T12" fmla="*/ 48 w 165"/>
                <a:gd name="T13" fmla="*/ 194 h 250"/>
                <a:gd name="T14" fmla="*/ 43 w 165"/>
                <a:gd name="T15" fmla="*/ 190 h 250"/>
                <a:gd name="T16" fmla="*/ 24 w 165"/>
                <a:gd name="T17" fmla="*/ 190 h 250"/>
                <a:gd name="T18" fmla="*/ 19 w 165"/>
                <a:gd name="T19" fmla="*/ 195 h 250"/>
                <a:gd name="T20" fmla="*/ 89 w 165"/>
                <a:gd name="T21" fmla="*/ 250 h 250"/>
                <a:gd name="T22" fmla="*/ 165 w 165"/>
                <a:gd name="T23" fmla="*/ 174 h 250"/>
                <a:gd name="T24" fmla="*/ 165 w 165"/>
                <a:gd name="T25" fmla="*/ 7 h 250"/>
                <a:gd name="T26" fmla="*/ 162 w 165"/>
                <a:gd name="T27" fmla="*/ 4 h 250"/>
                <a:gd name="T28" fmla="*/ 140 w 165"/>
                <a:gd name="T29" fmla="*/ 4 h 250"/>
                <a:gd name="T30" fmla="*/ 137 w 165"/>
                <a:gd name="T31" fmla="*/ 7 h 250"/>
                <a:gd name="T32" fmla="*/ 137 w 165"/>
                <a:gd name="T33" fmla="*/ 21 h 250"/>
                <a:gd name="T34" fmla="*/ 99 w 165"/>
                <a:gd name="T35" fmla="*/ 0 h 250"/>
                <a:gd name="T36" fmla="*/ 96 w 165"/>
                <a:gd name="T37" fmla="*/ 3 h 250"/>
                <a:gd name="T38" fmla="*/ 96 w 165"/>
                <a:gd name="T39" fmla="*/ 28 h 250"/>
                <a:gd name="T40" fmla="*/ 97 w 165"/>
                <a:gd name="T41" fmla="*/ 31 h 250"/>
                <a:gd name="T42" fmla="*/ 138 w 165"/>
                <a:gd name="T43" fmla="*/ 87 h 250"/>
                <a:gd name="T44" fmla="*/ 83 w 165"/>
                <a:gd name="T45" fmla="*/ 146 h 250"/>
                <a:gd name="T46" fmla="*/ 29 w 165"/>
                <a:gd name="T47" fmla="*/ 87 h 250"/>
                <a:gd name="T48" fmla="*/ 68 w 165"/>
                <a:gd name="T49" fmla="*/ 31 h 250"/>
                <a:gd name="T50" fmla="*/ 70 w 165"/>
                <a:gd name="T51" fmla="*/ 29 h 250"/>
                <a:gd name="T52" fmla="*/ 70 w 165"/>
                <a:gd name="T53" fmla="*/ 3 h 250"/>
                <a:gd name="T54" fmla="*/ 67 w 165"/>
                <a:gd name="T55" fmla="*/ 0 h 250"/>
                <a:gd name="T56" fmla="*/ 67 w 165"/>
                <a:gd name="T57"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5" h="250">
                  <a:moveTo>
                    <a:pt x="67" y="0"/>
                  </a:moveTo>
                  <a:cubicBezTo>
                    <a:pt x="29" y="8"/>
                    <a:pt x="0" y="44"/>
                    <a:pt x="0" y="86"/>
                  </a:cubicBezTo>
                  <a:cubicBezTo>
                    <a:pt x="0" y="135"/>
                    <a:pt x="37" y="174"/>
                    <a:pt x="82" y="174"/>
                  </a:cubicBezTo>
                  <a:cubicBezTo>
                    <a:pt x="103" y="174"/>
                    <a:pt x="122" y="166"/>
                    <a:pt x="137" y="152"/>
                  </a:cubicBezTo>
                  <a:cubicBezTo>
                    <a:pt x="137" y="173"/>
                    <a:pt x="137" y="173"/>
                    <a:pt x="137" y="173"/>
                  </a:cubicBezTo>
                  <a:cubicBezTo>
                    <a:pt x="137" y="205"/>
                    <a:pt x="120" y="222"/>
                    <a:pt x="89" y="222"/>
                  </a:cubicBezTo>
                  <a:cubicBezTo>
                    <a:pt x="66" y="222"/>
                    <a:pt x="52" y="213"/>
                    <a:pt x="48" y="194"/>
                  </a:cubicBezTo>
                  <a:cubicBezTo>
                    <a:pt x="47" y="192"/>
                    <a:pt x="46" y="190"/>
                    <a:pt x="43" y="190"/>
                  </a:cubicBezTo>
                  <a:cubicBezTo>
                    <a:pt x="24" y="190"/>
                    <a:pt x="24" y="190"/>
                    <a:pt x="24" y="190"/>
                  </a:cubicBezTo>
                  <a:cubicBezTo>
                    <a:pt x="21" y="190"/>
                    <a:pt x="19" y="192"/>
                    <a:pt x="19" y="195"/>
                  </a:cubicBezTo>
                  <a:cubicBezTo>
                    <a:pt x="22" y="228"/>
                    <a:pt x="51" y="250"/>
                    <a:pt x="89" y="250"/>
                  </a:cubicBezTo>
                  <a:cubicBezTo>
                    <a:pt x="135" y="250"/>
                    <a:pt x="165" y="219"/>
                    <a:pt x="165" y="174"/>
                  </a:cubicBezTo>
                  <a:cubicBezTo>
                    <a:pt x="165" y="7"/>
                    <a:pt x="165" y="7"/>
                    <a:pt x="165" y="7"/>
                  </a:cubicBezTo>
                  <a:cubicBezTo>
                    <a:pt x="165" y="5"/>
                    <a:pt x="164" y="4"/>
                    <a:pt x="162" y="4"/>
                  </a:cubicBezTo>
                  <a:cubicBezTo>
                    <a:pt x="140" y="4"/>
                    <a:pt x="140" y="4"/>
                    <a:pt x="140" y="4"/>
                  </a:cubicBezTo>
                  <a:cubicBezTo>
                    <a:pt x="138" y="4"/>
                    <a:pt x="137" y="5"/>
                    <a:pt x="137" y="7"/>
                  </a:cubicBezTo>
                  <a:cubicBezTo>
                    <a:pt x="137" y="21"/>
                    <a:pt x="137" y="21"/>
                    <a:pt x="137" y="21"/>
                  </a:cubicBezTo>
                  <a:cubicBezTo>
                    <a:pt x="126" y="11"/>
                    <a:pt x="113" y="4"/>
                    <a:pt x="99" y="0"/>
                  </a:cubicBezTo>
                  <a:cubicBezTo>
                    <a:pt x="97" y="0"/>
                    <a:pt x="96" y="1"/>
                    <a:pt x="96" y="3"/>
                  </a:cubicBezTo>
                  <a:cubicBezTo>
                    <a:pt x="96" y="28"/>
                    <a:pt x="96" y="28"/>
                    <a:pt x="96" y="28"/>
                  </a:cubicBezTo>
                  <a:cubicBezTo>
                    <a:pt x="96" y="29"/>
                    <a:pt x="96" y="30"/>
                    <a:pt x="97" y="31"/>
                  </a:cubicBezTo>
                  <a:cubicBezTo>
                    <a:pt x="121" y="37"/>
                    <a:pt x="138" y="60"/>
                    <a:pt x="138" y="87"/>
                  </a:cubicBezTo>
                  <a:cubicBezTo>
                    <a:pt x="138" y="119"/>
                    <a:pt x="114" y="146"/>
                    <a:pt x="83" y="146"/>
                  </a:cubicBezTo>
                  <a:cubicBezTo>
                    <a:pt x="53" y="146"/>
                    <a:pt x="29" y="119"/>
                    <a:pt x="29" y="87"/>
                  </a:cubicBezTo>
                  <a:cubicBezTo>
                    <a:pt x="29" y="61"/>
                    <a:pt x="45" y="38"/>
                    <a:pt x="68" y="31"/>
                  </a:cubicBezTo>
                  <a:cubicBezTo>
                    <a:pt x="69" y="31"/>
                    <a:pt x="70" y="30"/>
                    <a:pt x="70" y="29"/>
                  </a:cubicBezTo>
                  <a:cubicBezTo>
                    <a:pt x="70" y="3"/>
                    <a:pt x="70" y="3"/>
                    <a:pt x="70" y="3"/>
                  </a:cubicBezTo>
                  <a:cubicBezTo>
                    <a:pt x="70" y="1"/>
                    <a:pt x="69" y="0"/>
                    <a:pt x="67" y="0"/>
                  </a:cubicBezTo>
                  <a:cubicBezTo>
                    <a:pt x="67" y="0"/>
                    <a:pt x="67" y="0"/>
                    <a:pt x="6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14" name="Oval 11">
              <a:extLst>
                <a:ext uri="{FF2B5EF4-FFF2-40B4-BE49-F238E27FC236}">
                  <a16:creationId xmlns:a16="http://schemas.microsoft.com/office/drawing/2014/main" id="{48DD9144-12C1-4B89-9F6D-92B4361D96B3}"/>
                </a:ext>
              </a:extLst>
            </p:cNvPr>
            <p:cNvSpPr>
              <a:spLocks noChangeArrowheads="1"/>
            </p:cNvSpPr>
            <p:nvPr userDrawn="1"/>
          </p:nvSpPr>
          <p:spPr bwMode="auto">
            <a:xfrm>
              <a:off x="284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15" name="Oval 12">
              <a:extLst>
                <a:ext uri="{FF2B5EF4-FFF2-40B4-BE49-F238E27FC236}">
                  <a16:creationId xmlns:a16="http://schemas.microsoft.com/office/drawing/2014/main" id="{01B98C09-7AAE-43C7-82DE-9DB278B02F42}"/>
                </a:ext>
              </a:extLst>
            </p:cNvPr>
            <p:cNvSpPr>
              <a:spLocks noChangeArrowheads="1"/>
            </p:cNvSpPr>
            <p:nvPr userDrawn="1"/>
          </p:nvSpPr>
          <p:spPr bwMode="auto">
            <a:xfrm>
              <a:off x="387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16" name="Freeform 13">
              <a:extLst>
                <a:ext uri="{FF2B5EF4-FFF2-40B4-BE49-F238E27FC236}">
                  <a16:creationId xmlns:a16="http://schemas.microsoft.com/office/drawing/2014/main" id="{DF4FD3F7-7AD2-4CA4-8D7C-34E6C136A5E6}"/>
                </a:ext>
              </a:extLst>
            </p:cNvPr>
            <p:cNvSpPr>
              <a:spLocks/>
            </p:cNvSpPr>
            <p:nvPr userDrawn="1"/>
          </p:nvSpPr>
          <p:spPr bwMode="auto">
            <a:xfrm>
              <a:off x="4062" y="1584"/>
              <a:ext cx="242" cy="462"/>
            </a:xfrm>
            <a:custGeom>
              <a:avLst/>
              <a:gdLst>
                <a:gd name="T0" fmla="*/ 39 w 128"/>
                <a:gd name="T1" fmla="*/ 55 h 244"/>
                <a:gd name="T2" fmla="*/ 39 w 128"/>
                <a:gd name="T3" fmla="*/ 76 h 244"/>
                <a:gd name="T4" fmla="*/ 4 w 128"/>
                <a:gd name="T5" fmla="*/ 76 h 244"/>
                <a:gd name="T6" fmla="*/ 0 w 128"/>
                <a:gd name="T7" fmla="*/ 81 h 244"/>
                <a:gd name="T8" fmla="*/ 0 w 128"/>
                <a:gd name="T9" fmla="*/ 99 h 244"/>
                <a:gd name="T10" fmla="*/ 4 w 128"/>
                <a:gd name="T11" fmla="*/ 103 h 244"/>
                <a:gd name="T12" fmla="*/ 39 w 128"/>
                <a:gd name="T13" fmla="*/ 103 h 244"/>
                <a:gd name="T14" fmla="*/ 39 w 128"/>
                <a:gd name="T15" fmla="*/ 239 h 244"/>
                <a:gd name="T16" fmla="*/ 44 w 128"/>
                <a:gd name="T17" fmla="*/ 244 h 244"/>
                <a:gd name="T18" fmla="*/ 62 w 128"/>
                <a:gd name="T19" fmla="*/ 244 h 244"/>
                <a:gd name="T20" fmla="*/ 67 w 128"/>
                <a:gd name="T21" fmla="*/ 239 h 244"/>
                <a:gd name="T22" fmla="*/ 67 w 128"/>
                <a:gd name="T23" fmla="*/ 103 h 244"/>
                <a:gd name="T24" fmla="*/ 120 w 128"/>
                <a:gd name="T25" fmla="*/ 103 h 244"/>
                <a:gd name="T26" fmla="*/ 125 w 128"/>
                <a:gd name="T27" fmla="*/ 99 h 244"/>
                <a:gd name="T28" fmla="*/ 125 w 128"/>
                <a:gd name="T29" fmla="*/ 81 h 244"/>
                <a:gd name="T30" fmla="*/ 120 w 128"/>
                <a:gd name="T31" fmla="*/ 76 h 244"/>
                <a:gd name="T32" fmla="*/ 67 w 128"/>
                <a:gd name="T33" fmla="*/ 76 h 244"/>
                <a:gd name="T34" fmla="*/ 67 w 128"/>
                <a:gd name="T35" fmla="*/ 55 h 244"/>
                <a:gd name="T36" fmla="*/ 91 w 128"/>
                <a:gd name="T37" fmla="*/ 27 h 244"/>
                <a:gd name="T38" fmla="*/ 122 w 128"/>
                <a:gd name="T39" fmla="*/ 37 h 244"/>
                <a:gd name="T40" fmla="*/ 125 w 128"/>
                <a:gd name="T41" fmla="*/ 38 h 244"/>
                <a:gd name="T42" fmla="*/ 128 w 128"/>
                <a:gd name="T43" fmla="*/ 33 h 244"/>
                <a:gd name="T44" fmla="*/ 128 w 128"/>
                <a:gd name="T45" fmla="*/ 16 h 244"/>
                <a:gd name="T46" fmla="*/ 125 w 128"/>
                <a:gd name="T47" fmla="*/ 9 h 244"/>
                <a:gd name="T48" fmla="*/ 89 w 128"/>
                <a:gd name="T49" fmla="*/ 0 h 244"/>
                <a:gd name="T50" fmla="*/ 39 w 128"/>
                <a:gd name="T51" fmla="*/ 5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244">
                  <a:moveTo>
                    <a:pt x="39" y="55"/>
                  </a:moveTo>
                  <a:cubicBezTo>
                    <a:pt x="39" y="76"/>
                    <a:pt x="39" y="76"/>
                    <a:pt x="39" y="76"/>
                  </a:cubicBezTo>
                  <a:cubicBezTo>
                    <a:pt x="4" y="76"/>
                    <a:pt x="4" y="76"/>
                    <a:pt x="4" y="76"/>
                  </a:cubicBezTo>
                  <a:cubicBezTo>
                    <a:pt x="1" y="76"/>
                    <a:pt x="0" y="78"/>
                    <a:pt x="0" y="81"/>
                  </a:cubicBezTo>
                  <a:cubicBezTo>
                    <a:pt x="0" y="99"/>
                    <a:pt x="0" y="99"/>
                    <a:pt x="0" y="99"/>
                  </a:cubicBezTo>
                  <a:cubicBezTo>
                    <a:pt x="0" y="102"/>
                    <a:pt x="1" y="103"/>
                    <a:pt x="4" y="103"/>
                  </a:cubicBezTo>
                  <a:cubicBezTo>
                    <a:pt x="39" y="103"/>
                    <a:pt x="39" y="103"/>
                    <a:pt x="39" y="103"/>
                  </a:cubicBezTo>
                  <a:cubicBezTo>
                    <a:pt x="39" y="239"/>
                    <a:pt x="39" y="239"/>
                    <a:pt x="39" y="239"/>
                  </a:cubicBezTo>
                  <a:cubicBezTo>
                    <a:pt x="39" y="242"/>
                    <a:pt x="41" y="244"/>
                    <a:pt x="44" y="244"/>
                  </a:cubicBezTo>
                  <a:cubicBezTo>
                    <a:pt x="62" y="244"/>
                    <a:pt x="62" y="244"/>
                    <a:pt x="62" y="244"/>
                  </a:cubicBezTo>
                  <a:cubicBezTo>
                    <a:pt x="65" y="244"/>
                    <a:pt x="67" y="242"/>
                    <a:pt x="67" y="239"/>
                  </a:cubicBezTo>
                  <a:cubicBezTo>
                    <a:pt x="67" y="103"/>
                    <a:pt x="67" y="103"/>
                    <a:pt x="67" y="103"/>
                  </a:cubicBezTo>
                  <a:cubicBezTo>
                    <a:pt x="120" y="103"/>
                    <a:pt x="120" y="103"/>
                    <a:pt x="120" y="103"/>
                  </a:cubicBezTo>
                  <a:cubicBezTo>
                    <a:pt x="123" y="103"/>
                    <a:pt x="125" y="102"/>
                    <a:pt x="125" y="99"/>
                  </a:cubicBezTo>
                  <a:cubicBezTo>
                    <a:pt x="125" y="81"/>
                    <a:pt x="125" y="81"/>
                    <a:pt x="125" y="81"/>
                  </a:cubicBezTo>
                  <a:cubicBezTo>
                    <a:pt x="125" y="78"/>
                    <a:pt x="123" y="76"/>
                    <a:pt x="120" y="76"/>
                  </a:cubicBezTo>
                  <a:cubicBezTo>
                    <a:pt x="67" y="76"/>
                    <a:pt x="67" y="76"/>
                    <a:pt x="67" y="76"/>
                  </a:cubicBezTo>
                  <a:cubicBezTo>
                    <a:pt x="67" y="55"/>
                    <a:pt x="67" y="55"/>
                    <a:pt x="67" y="55"/>
                  </a:cubicBezTo>
                  <a:cubicBezTo>
                    <a:pt x="67" y="38"/>
                    <a:pt x="76" y="27"/>
                    <a:pt x="91" y="27"/>
                  </a:cubicBezTo>
                  <a:cubicBezTo>
                    <a:pt x="102" y="27"/>
                    <a:pt x="110" y="30"/>
                    <a:pt x="122" y="37"/>
                  </a:cubicBezTo>
                  <a:cubicBezTo>
                    <a:pt x="123" y="38"/>
                    <a:pt x="124" y="38"/>
                    <a:pt x="125" y="38"/>
                  </a:cubicBezTo>
                  <a:cubicBezTo>
                    <a:pt x="127" y="38"/>
                    <a:pt x="128" y="36"/>
                    <a:pt x="128" y="33"/>
                  </a:cubicBezTo>
                  <a:cubicBezTo>
                    <a:pt x="128" y="16"/>
                    <a:pt x="128" y="16"/>
                    <a:pt x="128" y="16"/>
                  </a:cubicBezTo>
                  <a:cubicBezTo>
                    <a:pt x="128" y="13"/>
                    <a:pt x="128" y="11"/>
                    <a:pt x="125" y="9"/>
                  </a:cubicBezTo>
                  <a:cubicBezTo>
                    <a:pt x="114" y="3"/>
                    <a:pt x="103" y="0"/>
                    <a:pt x="89" y="0"/>
                  </a:cubicBezTo>
                  <a:cubicBezTo>
                    <a:pt x="54" y="0"/>
                    <a:pt x="39" y="29"/>
                    <a:pt x="39"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17" name="Freeform 14">
              <a:extLst>
                <a:ext uri="{FF2B5EF4-FFF2-40B4-BE49-F238E27FC236}">
                  <a16:creationId xmlns:a16="http://schemas.microsoft.com/office/drawing/2014/main" id="{E3F74A4C-3F35-49ED-8FDB-98270CD3D01E}"/>
                </a:ext>
              </a:extLst>
            </p:cNvPr>
            <p:cNvSpPr>
              <a:spLocks/>
            </p:cNvSpPr>
            <p:nvPr userDrawn="1"/>
          </p:nvSpPr>
          <p:spPr bwMode="auto">
            <a:xfrm>
              <a:off x="2071" y="1578"/>
              <a:ext cx="632" cy="631"/>
            </a:xfrm>
            <a:custGeom>
              <a:avLst/>
              <a:gdLst>
                <a:gd name="T0" fmla="*/ 181 w 334"/>
                <a:gd name="T1" fmla="*/ 1 h 333"/>
                <a:gd name="T2" fmla="*/ 180 w 334"/>
                <a:gd name="T3" fmla="*/ 4 h 333"/>
                <a:gd name="T4" fmla="*/ 180 w 334"/>
                <a:gd name="T5" fmla="*/ 26 h 333"/>
                <a:gd name="T6" fmla="*/ 180 w 334"/>
                <a:gd name="T7" fmla="*/ 26 h 333"/>
                <a:gd name="T8" fmla="*/ 182 w 334"/>
                <a:gd name="T9" fmla="*/ 28 h 333"/>
                <a:gd name="T10" fmla="*/ 306 w 334"/>
                <a:gd name="T11" fmla="*/ 166 h 333"/>
                <a:gd name="T12" fmla="*/ 167 w 334"/>
                <a:gd name="T13" fmla="*/ 305 h 333"/>
                <a:gd name="T14" fmla="*/ 28 w 334"/>
                <a:gd name="T15" fmla="*/ 166 h 333"/>
                <a:gd name="T16" fmla="*/ 152 w 334"/>
                <a:gd name="T17" fmla="*/ 28 h 333"/>
                <a:gd name="T18" fmla="*/ 154 w 334"/>
                <a:gd name="T19" fmla="*/ 26 h 333"/>
                <a:gd name="T20" fmla="*/ 154 w 334"/>
                <a:gd name="T21" fmla="*/ 26 h 333"/>
                <a:gd name="T22" fmla="*/ 154 w 334"/>
                <a:gd name="T23" fmla="*/ 4 h 333"/>
                <a:gd name="T24" fmla="*/ 153 w 334"/>
                <a:gd name="T25" fmla="*/ 1 h 333"/>
                <a:gd name="T26" fmla="*/ 150 w 334"/>
                <a:gd name="T27" fmla="*/ 0 h 333"/>
                <a:gd name="T28" fmla="*/ 149 w 334"/>
                <a:gd name="T29" fmla="*/ 0 h 333"/>
                <a:gd name="T30" fmla="*/ 149 w 334"/>
                <a:gd name="T31" fmla="*/ 0 h 333"/>
                <a:gd name="T32" fmla="*/ 0 w 334"/>
                <a:gd name="T33" fmla="*/ 166 h 333"/>
                <a:gd name="T34" fmla="*/ 167 w 334"/>
                <a:gd name="T35" fmla="*/ 333 h 333"/>
                <a:gd name="T36" fmla="*/ 334 w 334"/>
                <a:gd name="T37" fmla="*/ 166 h 333"/>
                <a:gd name="T38" fmla="*/ 185 w 334"/>
                <a:gd name="T39" fmla="*/ 0 h 333"/>
                <a:gd name="T40" fmla="*/ 185 w 334"/>
                <a:gd name="T41" fmla="*/ 0 h 333"/>
                <a:gd name="T42" fmla="*/ 184 w 334"/>
                <a:gd name="T43" fmla="*/ 0 h 333"/>
                <a:gd name="T44" fmla="*/ 181 w 334"/>
                <a:gd name="T45" fmla="*/ 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4" h="333">
                  <a:moveTo>
                    <a:pt x="181" y="1"/>
                  </a:moveTo>
                  <a:cubicBezTo>
                    <a:pt x="180" y="2"/>
                    <a:pt x="180" y="3"/>
                    <a:pt x="180" y="4"/>
                  </a:cubicBezTo>
                  <a:cubicBezTo>
                    <a:pt x="180" y="26"/>
                    <a:pt x="180" y="26"/>
                    <a:pt x="180" y="26"/>
                  </a:cubicBezTo>
                  <a:cubicBezTo>
                    <a:pt x="180" y="26"/>
                    <a:pt x="180" y="26"/>
                    <a:pt x="180" y="26"/>
                  </a:cubicBezTo>
                  <a:cubicBezTo>
                    <a:pt x="180" y="27"/>
                    <a:pt x="181" y="28"/>
                    <a:pt x="182" y="28"/>
                  </a:cubicBezTo>
                  <a:cubicBezTo>
                    <a:pt x="251" y="35"/>
                    <a:pt x="306" y="94"/>
                    <a:pt x="306" y="166"/>
                  </a:cubicBezTo>
                  <a:cubicBezTo>
                    <a:pt x="306" y="243"/>
                    <a:pt x="244" y="305"/>
                    <a:pt x="167" y="305"/>
                  </a:cubicBezTo>
                  <a:cubicBezTo>
                    <a:pt x="90" y="305"/>
                    <a:pt x="28" y="243"/>
                    <a:pt x="28" y="166"/>
                  </a:cubicBezTo>
                  <a:cubicBezTo>
                    <a:pt x="28" y="94"/>
                    <a:pt x="82" y="35"/>
                    <a:pt x="152" y="28"/>
                  </a:cubicBezTo>
                  <a:cubicBezTo>
                    <a:pt x="153" y="28"/>
                    <a:pt x="154" y="27"/>
                    <a:pt x="154" y="26"/>
                  </a:cubicBezTo>
                  <a:cubicBezTo>
                    <a:pt x="154" y="26"/>
                    <a:pt x="154" y="26"/>
                    <a:pt x="154" y="26"/>
                  </a:cubicBezTo>
                  <a:cubicBezTo>
                    <a:pt x="154" y="4"/>
                    <a:pt x="154" y="4"/>
                    <a:pt x="154" y="4"/>
                  </a:cubicBezTo>
                  <a:cubicBezTo>
                    <a:pt x="154" y="3"/>
                    <a:pt x="154" y="2"/>
                    <a:pt x="153" y="1"/>
                  </a:cubicBezTo>
                  <a:cubicBezTo>
                    <a:pt x="152" y="0"/>
                    <a:pt x="151" y="0"/>
                    <a:pt x="150" y="0"/>
                  </a:cubicBezTo>
                  <a:cubicBezTo>
                    <a:pt x="149" y="0"/>
                    <a:pt x="149" y="0"/>
                    <a:pt x="149" y="0"/>
                  </a:cubicBezTo>
                  <a:cubicBezTo>
                    <a:pt x="149" y="0"/>
                    <a:pt x="149" y="0"/>
                    <a:pt x="149" y="0"/>
                  </a:cubicBezTo>
                  <a:cubicBezTo>
                    <a:pt x="65" y="9"/>
                    <a:pt x="0" y="80"/>
                    <a:pt x="0" y="166"/>
                  </a:cubicBezTo>
                  <a:cubicBezTo>
                    <a:pt x="0" y="258"/>
                    <a:pt x="75" y="333"/>
                    <a:pt x="167" y="333"/>
                  </a:cubicBezTo>
                  <a:cubicBezTo>
                    <a:pt x="259" y="333"/>
                    <a:pt x="334" y="258"/>
                    <a:pt x="334" y="166"/>
                  </a:cubicBezTo>
                  <a:cubicBezTo>
                    <a:pt x="334" y="80"/>
                    <a:pt x="269" y="9"/>
                    <a:pt x="185" y="0"/>
                  </a:cubicBezTo>
                  <a:cubicBezTo>
                    <a:pt x="185" y="0"/>
                    <a:pt x="185" y="0"/>
                    <a:pt x="185" y="0"/>
                  </a:cubicBezTo>
                  <a:cubicBezTo>
                    <a:pt x="185" y="0"/>
                    <a:pt x="184" y="0"/>
                    <a:pt x="184" y="0"/>
                  </a:cubicBezTo>
                  <a:cubicBezTo>
                    <a:pt x="183" y="0"/>
                    <a:pt x="182" y="0"/>
                    <a:pt x="18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grpSp>
    </p:spTree>
    <p:extLst>
      <p:ext uri="{BB962C8B-B14F-4D97-AF65-F5344CB8AC3E}">
        <p14:creationId xmlns:p14="http://schemas.microsoft.com/office/powerpoint/2010/main" val="3355799997"/>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type="title" preserve="1">
  <p:cSld name="Title Slide Dark">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806139"/>
            <a:ext cx="9144001" cy="3245724"/>
          </a:xfrm>
        </p:spPr>
        <p:txBody>
          <a:bodyPr anchor="ctr"/>
          <a:lstStyle>
            <a:lvl1pPr algn="ctr">
              <a:defRPr sz="4000">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524000" y="5714325"/>
            <a:ext cx="9144001" cy="453754"/>
          </a:xfrm>
        </p:spPr>
        <p:txBody>
          <a:bodyPr/>
          <a:lstStyle>
            <a:lvl1pPr marL="0" indent="0" algn="ctr">
              <a:buNone/>
              <a:defRPr sz="2400">
                <a:solidFill>
                  <a:schemeClr val="bg1"/>
                </a:solidFill>
              </a:defRPr>
            </a:lvl1pPr>
            <a:lvl2pPr marL="521258" indent="0" algn="ctr">
              <a:buNone/>
              <a:defRPr sz="2280"/>
            </a:lvl2pPr>
            <a:lvl3pPr marL="1042512" indent="0" algn="ctr">
              <a:buNone/>
              <a:defRPr sz="2052"/>
            </a:lvl3pPr>
            <a:lvl4pPr marL="1563773" indent="0" algn="ctr">
              <a:buNone/>
              <a:defRPr sz="1824"/>
            </a:lvl4pPr>
            <a:lvl5pPr marL="2085031" indent="0" algn="ctr">
              <a:buNone/>
              <a:defRPr sz="1824"/>
            </a:lvl5pPr>
            <a:lvl6pPr marL="2606285" indent="0" algn="ctr">
              <a:buNone/>
              <a:defRPr sz="1824"/>
            </a:lvl6pPr>
            <a:lvl7pPr marL="3127543" indent="0" algn="ctr">
              <a:buNone/>
              <a:defRPr sz="1824"/>
            </a:lvl7pPr>
            <a:lvl8pPr marL="3648803" indent="0" algn="ctr">
              <a:buNone/>
              <a:defRPr sz="1824"/>
            </a:lvl8pPr>
            <a:lvl9pPr marL="4170060" indent="0" algn="ctr">
              <a:buNone/>
              <a:defRPr sz="1824"/>
            </a:lvl9pPr>
          </a:lstStyle>
          <a:p>
            <a:r>
              <a:rPr lang="en-US"/>
              <a:t>Click to edit Master subtitle style</a:t>
            </a:r>
            <a:endParaRPr lang="en-US" dirty="0"/>
          </a:p>
        </p:txBody>
      </p:sp>
      <p:grpSp>
        <p:nvGrpSpPr>
          <p:cNvPr id="18" name="Group 4">
            <a:extLst>
              <a:ext uri="{FF2B5EF4-FFF2-40B4-BE49-F238E27FC236}">
                <a16:creationId xmlns:a16="http://schemas.microsoft.com/office/drawing/2014/main" id="{8FDBE2B1-3DA3-43D4-9DC3-2E772835078F}"/>
              </a:ext>
            </a:extLst>
          </p:cNvPr>
          <p:cNvGrpSpPr>
            <a:grpSpLocks noChangeAspect="1"/>
          </p:cNvGrpSpPr>
          <p:nvPr userDrawn="1"/>
        </p:nvGrpSpPr>
        <p:grpSpPr bwMode="auto">
          <a:xfrm>
            <a:off x="5155508" y="685816"/>
            <a:ext cx="1880984" cy="458559"/>
            <a:chOff x="2071" y="1578"/>
            <a:chExt cx="2587" cy="631"/>
          </a:xfrm>
          <a:gradFill>
            <a:gsLst>
              <a:gs pos="50000">
                <a:srgbClr val="00E487"/>
              </a:gs>
              <a:gs pos="100000">
                <a:srgbClr val="1ECBD0"/>
              </a:gs>
            </a:gsLst>
            <a:lin ang="18900000" scaled="0"/>
          </a:gradFill>
        </p:grpSpPr>
        <p:sp>
          <p:nvSpPr>
            <p:cNvPr id="19" name="Freeform 5">
              <a:extLst>
                <a:ext uri="{FF2B5EF4-FFF2-40B4-BE49-F238E27FC236}">
                  <a16:creationId xmlns:a16="http://schemas.microsoft.com/office/drawing/2014/main" id="{7FB346E6-4510-4BED-AA2E-6743A40A5077}"/>
                </a:ext>
              </a:extLst>
            </p:cNvPr>
            <p:cNvSpPr>
              <a:spLocks/>
            </p:cNvSpPr>
            <p:nvPr userDrawn="1"/>
          </p:nvSpPr>
          <p:spPr bwMode="auto">
            <a:xfrm>
              <a:off x="2765" y="1728"/>
              <a:ext cx="244" cy="318"/>
            </a:xfrm>
            <a:custGeom>
              <a:avLst/>
              <a:gdLst>
                <a:gd name="T0" fmla="*/ 12 w 129"/>
                <a:gd name="T1" fmla="*/ 0 h 168"/>
                <a:gd name="T2" fmla="*/ 8 w 129"/>
                <a:gd name="T3" fmla="*/ 4 h 168"/>
                <a:gd name="T4" fmla="*/ 8 w 129"/>
                <a:gd name="T5" fmla="*/ 25 h 168"/>
                <a:gd name="T6" fmla="*/ 12 w 129"/>
                <a:gd name="T7" fmla="*/ 29 h 168"/>
                <a:gd name="T8" fmla="*/ 48 w 129"/>
                <a:gd name="T9" fmla="*/ 29 h 168"/>
                <a:gd name="T10" fmla="*/ 48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2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2" y="0"/>
                  </a:moveTo>
                  <a:cubicBezTo>
                    <a:pt x="9" y="0"/>
                    <a:pt x="8" y="1"/>
                    <a:pt x="8" y="4"/>
                  </a:cubicBezTo>
                  <a:cubicBezTo>
                    <a:pt x="8" y="25"/>
                    <a:pt x="8" y="25"/>
                    <a:pt x="8" y="25"/>
                  </a:cubicBezTo>
                  <a:cubicBezTo>
                    <a:pt x="8" y="27"/>
                    <a:pt x="9" y="29"/>
                    <a:pt x="12" y="29"/>
                  </a:cubicBezTo>
                  <a:cubicBezTo>
                    <a:pt x="48" y="29"/>
                    <a:pt x="48" y="29"/>
                    <a:pt x="48" y="29"/>
                  </a:cubicBezTo>
                  <a:cubicBezTo>
                    <a:pt x="48" y="140"/>
                    <a:pt x="48" y="140"/>
                    <a:pt x="48"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8" y="140"/>
                    <a:pt x="125" y="140"/>
                  </a:cubicBezTo>
                  <a:cubicBezTo>
                    <a:pt x="76" y="140"/>
                    <a:pt x="76" y="140"/>
                    <a:pt x="76" y="140"/>
                  </a:cubicBezTo>
                  <a:cubicBezTo>
                    <a:pt x="76" y="4"/>
                    <a:pt x="76" y="4"/>
                    <a:pt x="76" y="4"/>
                  </a:cubicBezTo>
                  <a:cubicBezTo>
                    <a:pt x="76" y="1"/>
                    <a:pt x="75" y="0"/>
                    <a:pt x="72" y="0"/>
                  </a:cubicBez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20" name="Freeform 6">
              <a:extLst>
                <a:ext uri="{FF2B5EF4-FFF2-40B4-BE49-F238E27FC236}">
                  <a16:creationId xmlns:a16="http://schemas.microsoft.com/office/drawing/2014/main" id="{1653ECA1-3AB4-47BE-A42E-29B1E3B7D882}"/>
                </a:ext>
              </a:extLst>
            </p:cNvPr>
            <p:cNvSpPr>
              <a:spLocks/>
            </p:cNvSpPr>
            <p:nvPr userDrawn="1"/>
          </p:nvSpPr>
          <p:spPr bwMode="auto">
            <a:xfrm>
              <a:off x="3798" y="1728"/>
              <a:ext cx="244" cy="318"/>
            </a:xfrm>
            <a:custGeom>
              <a:avLst/>
              <a:gdLst>
                <a:gd name="T0" fmla="*/ 11 w 129"/>
                <a:gd name="T1" fmla="*/ 0 h 168"/>
                <a:gd name="T2" fmla="*/ 8 w 129"/>
                <a:gd name="T3" fmla="*/ 4 h 168"/>
                <a:gd name="T4" fmla="*/ 8 w 129"/>
                <a:gd name="T5" fmla="*/ 25 h 168"/>
                <a:gd name="T6" fmla="*/ 11 w 129"/>
                <a:gd name="T7" fmla="*/ 29 h 168"/>
                <a:gd name="T8" fmla="*/ 47 w 129"/>
                <a:gd name="T9" fmla="*/ 29 h 168"/>
                <a:gd name="T10" fmla="*/ 47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1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1" y="0"/>
                  </a:moveTo>
                  <a:cubicBezTo>
                    <a:pt x="9" y="0"/>
                    <a:pt x="8" y="1"/>
                    <a:pt x="8" y="4"/>
                  </a:cubicBezTo>
                  <a:cubicBezTo>
                    <a:pt x="8" y="25"/>
                    <a:pt x="8" y="25"/>
                    <a:pt x="8" y="25"/>
                  </a:cubicBezTo>
                  <a:cubicBezTo>
                    <a:pt x="8" y="27"/>
                    <a:pt x="9" y="29"/>
                    <a:pt x="11" y="29"/>
                  </a:cubicBezTo>
                  <a:cubicBezTo>
                    <a:pt x="47" y="29"/>
                    <a:pt x="47" y="29"/>
                    <a:pt x="47" y="29"/>
                  </a:cubicBezTo>
                  <a:cubicBezTo>
                    <a:pt x="47" y="140"/>
                    <a:pt x="47" y="140"/>
                    <a:pt x="47"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7" y="140"/>
                    <a:pt x="125" y="140"/>
                  </a:cubicBezTo>
                  <a:cubicBezTo>
                    <a:pt x="76" y="140"/>
                    <a:pt x="76" y="140"/>
                    <a:pt x="76" y="140"/>
                  </a:cubicBezTo>
                  <a:cubicBezTo>
                    <a:pt x="76" y="4"/>
                    <a:pt x="76" y="4"/>
                    <a:pt x="76" y="4"/>
                  </a:cubicBezTo>
                  <a:cubicBezTo>
                    <a:pt x="75" y="1"/>
                    <a:pt x="74" y="0"/>
                    <a:pt x="72" y="0"/>
                  </a:cubicBez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21" name="Freeform 7">
              <a:extLst>
                <a:ext uri="{FF2B5EF4-FFF2-40B4-BE49-F238E27FC236}">
                  <a16:creationId xmlns:a16="http://schemas.microsoft.com/office/drawing/2014/main" id="{0D986EC0-5473-4884-81B3-875C9DA7C543}"/>
                </a:ext>
              </a:extLst>
            </p:cNvPr>
            <p:cNvSpPr>
              <a:spLocks/>
            </p:cNvSpPr>
            <p:nvPr userDrawn="1"/>
          </p:nvSpPr>
          <p:spPr bwMode="auto">
            <a:xfrm>
              <a:off x="4361" y="1728"/>
              <a:ext cx="297" cy="464"/>
            </a:xfrm>
            <a:custGeom>
              <a:avLst/>
              <a:gdLst>
                <a:gd name="T0" fmla="*/ 132 w 157"/>
                <a:gd name="T1" fmla="*/ 0 h 245"/>
                <a:gd name="T2" fmla="*/ 127 w 157"/>
                <a:gd name="T3" fmla="*/ 3 h 245"/>
                <a:gd name="T4" fmla="*/ 127 w 157"/>
                <a:gd name="T5" fmla="*/ 3 h 245"/>
                <a:gd name="T6" fmla="*/ 79 w 157"/>
                <a:gd name="T7" fmla="*/ 128 h 245"/>
                <a:gd name="T8" fmla="*/ 30 w 157"/>
                <a:gd name="T9" fmla="*/ 4 h 245"/>
                <a:gd name="T10" fmla="*/ 25 w 157"/>
                <a:gd name="T11" fmla="*/ 0 h 245"/>
                <a:gd name="T12" fmla="*/ 4 w 157"/>
                <a:gd name="T13" fmla="*/ 0 h 245"/>
                <a:gd name="T14" fmla="*/ 0 w 157"/>
                <a:gd name="T15" fmla="*/ 3 h 245"/>
                <a:gd name="T16" fmla="*/ 1 w 157"/>
                <a:gd name="T17" fmla="*/ 6 h 245"/>
                <a:gd name="T18" fmla="*/ 1 w 157"/>
                <a:gd name="T19" fmla="*/ 6 h 245"/>
                <a:gd name="T20" fmla="*/ 1 w 157"/>
                <a:gd name="T21" fmla="*/ 6 h 245"/>
                <a:gd name="T22" fmla="*/ 64 w 157"/>
                <a:gd name="T23" fmla="*/ 168 h 245"/>
                <a:gd name="T24" fmla="*/ 59 w 157"/>
                <a:gd name="T25" fmla="*/ 182 h 245"/>
                <a:gd name="T26" fmla="*/ 48 w 157"/>
                <a:gd name="T27" fmla="*/ 205 h 245"/>
                <a:gd name="T28" fmla="*/ 38 w 157"/>
                <a:gd name="T29" fmla="*/ 215 h 245"/>
                <a:gd name="T30" fmla="*/ 30 w 157"/>
                <a:gd name="T31" fmla="*/ 217 h 245"/>
                <a:gd name="T32" fmla="*/ 26 w 157"/>
                <a:gd name="T33" fmla="*/ 216 h 245"/>
                <a:gd name="T34" fmla="*/ 14 w 157"/>
                <a:gd name="T35" fmla="*/ 213 h 245"/>
                <a:gd name="T36" fmla="*/ 7 w 157"/>
                <a:gd name="T37" fmla="*/ 210 h 245"/>
                <a:gd name="T38" fmla="*/ 3 w 157"/>
                <a:gd name="T39" fmla="*/ 215 h 245"/>
                <a:gd name="T40" fmla="*/ 3 w 157"/>
                <a:gd name="T41" fmla="*/ 233 h 245"/>
                <a:gd name="T42" fmla="*/ 3 w 157"/>
                <a:gd name="T43" fmla="*/ 233 h 245"/>
                <a:gd name="T44" fmla="*/ 7 w 157"/>
                <a:gd name="T45" fmla="*/ 240 h 245"/>
                <a:gd name="T46" fmla="*/ 32 w 157"/>
                <a:gd name="T47" fmla="*/ 245 h 245"/>
                <a:gd name="T48" fmla="*/ 54 w 157"/>
                <a:gd name="T49" fmla="*/ 238 h 245"/>
                <a:gd name="T50" fmla="*/ 73 w 157"/>
                <a:gd name="T51" fmla="*/ 220 h 245"/>
                <a:gd name="T52" fmla="*/ 79 w 157"/>
                <a:gd name="T53" fmla="*/ 208 h 245"/>
                <a:gd name="T54" fmla="*/ 156 w 157"/>
                <a:gd name="T55" fmla="*/ 6 h 245"/>
                <a:gd name="T56" fmla="*/ 157 w 157"/>
                <a:gd name="T57" fmla="*/ 3 h 245"/>
                <a:gd name="T58" fmla="*/ 153 w 157"/>
                <a:gd name="T59" fmla="*/ 0 h 245"/>
                <a:gd name="T60" fmla="*/ 132 w 157"/>
                <a:gd name="T6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7" h="245">
                  <a:moveTo>
                    <a:pt x="132" y="0"/>
                  </a:moveTo>
                  <a:cubicBezTo>
                    <a:pt x="129" y="0"/>
                    <a:pt x="128" y="1"/>
                    <a:pt x="127" y="3"/>
                  </a:cubicBezTo>
                  <a:cubicBezTo>
                    <a:pt x="127" y="3"/>
                    <a:pt x="127" y="3"/>
                    <a:pt x="127" y="3"/>
                  </a:cubicBezTo>
                  <a:cubicBezTo>
                    <a:pt x="79" y="128"/>
                    <a:pt x="79" y="128"/>
                    <a:pt x="79" y="128"/>
                  </a:cubicBezTo>
                  <a:cubicBezTo>
                    <a:pt x="30" y="4"/>
                    <a:pt x="30" y="4"/>
                    <a:pt x="30" y="4"/>
                  </a:cubicBezTo>
                  <a:cubicBezTo>
                    <a:pt x="29" y="1"/>
                    <a:pt x="28" y="0"/>
                    <a:pt x="25" y="0"/>
                  </a:cubicBezTo>
                  <a:cubicBezTo>
                    <a:pt x="4" y="0"/>
                    <a:pt x="4" y="0"/>
                    <a:pt x="4" y="0"/>
                  </a:cubicBezTo>
                  <a:cubicBezTo>
                    <a:pt x="2" y="0"/>
                    <a:pt x="0" y="1"/>
                    <a:pt x="0" y="3"/>
                  </a:cubicBezTo>
                  <a:cubicBezTo>
                    <a:pt x="0" y="4"/>
                    <a:pt x="1" y="5"/>
                    <a:pt x="1" y="6"/>
                  </a:cubicBezTo>
                  <a:cubicBezTo>
                    <a:pt x="1" y="6"/>
                    <a:pt x="1" y="6"/>
                    <a:pt x="1" y="6"/>
                  </a:cubicBezTo>
                  <a:cubicBezTo>
                    <a:pt x="1" y="6"/>
                    <a:pt x="1" y="6"/>
                    <a:pt x="1" y="6"/>
                  </a:cubicBezTo>
                  <a:cubicBezTo>
                    <a:pt x="64" y="168"/>
                    <a:pt x="64" y="168"/>
                    <a:pt x="64" y="168"/>
                  </a:cubicBezTo>
                  <a:cubicBezTo>
                    <a:pt x="59" y="182"/>
                    <a:pt x="59" y="182"/>
                    <a:pt x="59" y="182"/>
                  </a:cubicBezTo>
                  <a:cubicBezTo>
                    <a:pt x="57" y="187"/>
                    <a:pt x="53" y="199"/>
                    <a:pt x="48" y="205"/>
                  </a:cubicBezTo>
                  <a:cubicBezTo>
                    <a:pt x="44" y="211"/>
                    <a:pt x="42" y="213"/>
                    <a:pt x="38" y="215"/>
                  </a:cubicBezTo>
                  <a:cubicBezTo>
                    <a:pt x="35" y="216"/>
                    <a:pt x="33" y="217"/>
                    <a:pt x="30" y="217"/>
                  </a:cubicBezTo>
                  <a:cubicBezTo>
                    <a:pt x="28" y="217"/>
                    <a:pt x="27" y="217"/>
                    <a:pt x="26" y="216"/>
                  </a:cubicBezTo>
                  <a:cubicBezTo>
                    <a:pt x="22" y="216"/>
                    <a:pt x="18" y="214"/>
                    <a:pt x="14" y="213"/>
                  </a:cubicBezTo>
                  <a:cubicBezTo>
                    <a:pt x="11" y="212"/>
                    <a:pt x="9" y="210"/>
                    <a:pt x="7" y="210"/>
                  </a:cubicBezTo>
                  <a:cubicBezTo>
                    <a:pt x="5" y="210"/>
                    <a:pt x="3" y="212"/>
                    <a:pt x="3" y="215"/>
                  </a:cubicBezTo>
                  <a:cubicBezTo>
                    <a:pt x="3" y="233"/>
                    <a:pt x="3" y="233"/>
                    <a:pt x="3" y="233"/>
                  </a:cubicBezTo>
                  <a:cubicBezTo>
                    <a:pt x="3" y="233"/>
                    <a:pt x="3" y="233"/>
                    <a:pt x="3" y="233"/>
                  </a:cubicBezTo>
                  <a:cubicBezTo>
                    <a:pt x="3" y="236"/>
                    <a:pt x="4" y="238"/>
                    <a:pt x="7" y="240"/>
                  </a:cubicBezTo>
                  <a:cubicBezTo>
                    <a:pt x="15" y="243"/>
                    <a:pt x="21" y="245"/>
                    <a:pt x="32" y="245"/>
                  </a:cubicBezTo>
                  <a:cubicBezTo>
                    <a:pt x="41" y="244"/>
                    <a:pt x="47" y="242"/>
                    <a:pt x="54" y="238"/>
                  </a:cubicBezTo>
                  <a:cubicBezTo>
                    <a:pt x="61" y="233"/>
                    <a:pt x="67" y="227"/>
                    <a:pt x="73" y="220"/>
                  </a:cubicBezTo>
                  <a:cubicBezTo>
                    <a:pt x="75" y="216"/>
                    <a:pt x="77" y="212"/>
                    <a:pt x="79" y="208"/>
                  </a:cubicBezTo>
                  <a:cubicBezTo>
                    <a:pt x="83" y="200"/>
                    <a:pt x="144" y="40"/>
                    <a:pt x="156" y="6"/>
                  </a:cubicBezTo>
                  <a:cubicBezTo>
                    <a:pt x="157" y="5"/>
                    <a:pt x="157" y="4"/>
                    <a:pt x="157" y="3"/>
                  </a:cubicBezTo>
                  <a:cubicBezTo>
                    <a:pt x="157" y="1"/>
                    <a:pt x="155" y="0"/>
                    <a:pt x="153" y="0"/>
                  </a:cubicBezTo>
                  <a:lnTo>
                    <a:pt x="1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22" name="Freeform 8">
              <a:extLst>
                <a:ext uri="{FF2B5EF4-FFF2-40B4-BE49-F238E27FC236}">
                  <a16:creationId xmlns:a16="http://schemas.microsoft.com/office/drawing/2014/main" id="{CEAC8C8C-A319-4A4F-95A2-5FFCE55E3ADF}"/>
                </a:ext>
              </a:extLst>
            </p:cNvPr>
            <p:cNvSpPr>
              <a:spLocks/>
            </p:cNvSpPr>
            <p:nvPr userDrawn="1"/>
          </p:nvSpPr>
          <p:spPr bwMode="auto">
            <a:xfrm>
              <a:off x="3457" y="1726"/>
              <a:ext cx="263" cy="322"/>
            </a:xfrm>
            <a:custGeom>
              <a:avLst/>
              <a:gdLst>
                <a:gd name="T0" fmla="*/ 28 w 139"/>
                <a:gd name="T1" fmla="*/ 21 h 170"/>
                <a:gd name="T2" fmla="*/ 28 w 139"/>
                <a:gd name="T3" fmla="*/ 6 h 170"/>
                <a:gd name="T4" fmla="*/ 25 w 139"/>
                <a:gd name="T5" fmla="*/ 3 h 170"/>
                <a:gd name="T6" fmla="*/ 4 w 139"/>
                <a:gd name="T7" fmla="*/ 3 h 170"/>
                <a:gd name="T8" fmla="*/ 0 w 139"/>
                <a:gd name="T9" fmla="*/ 6 h 170"/>
                <a:gd name="T10" fmla="*/ 0 w 139"/>
                <a:gd name="T11" fmla="*/ 167 h 170"/>
                <a:gd name="T12" fmla="*/ 4 w 139"/>
                <a:gd name="T13" fmla="*/ 170 h 170"/>
                <a:gd name="T14" fmla="*/ 25 w 139"/>
                <a:gd name="T15" fmla="*/ 170 h 170"/>
                <a:gd name="T16" fmla="*/ 28 w 139"/>
                <a:gd name="T17" fmla="*/ 167 h 170"/>
                <a:gd name="T18" fmla="*/ 28 w 139"/>
                <a:gd name="T19" fmla="*/ 68 h 170"/>
                <a:gd name="T20" fmla="*/ 70 w 139"/>
                <a:gd name="T21" fmla="*/ 28 h 170"/>
                <a:gd name="T22" fmla="*/ 111 w 139"/>
                <a:gd name="T23" fmla="*/ 68 h 170"/>
                <a:gd name="T24" fmla="*/ 111 w 139"/>
                <a:gd name="T25" fmla="*/ 167 h 170"/>
                <a:gd name="T26" fmla="*/ 111 w 139"/>
                <a:gd name="T27" fmla="*/ 167 h 170"/>
                <a:gd name="T28" fmla="*/ 114 w 139"/>
                <a:gd name="T29" fmla="*/ 170 h 170"/>
                <a:gd name="T30" fmla="*/ 136 w 139"/>
                <a:gd name="T31" fmla="*/ 170 h 170"/>
                <a:gd name="T32" fmla="*/ 139 w 139"/>
                <a:gd name="T33" fmla="*/ 167 h 170"/>
                <a:gd name="T34" fmla="*/ 139 w 139"/>
                <a:gd name="T35" fmla="*/ 68 h 170"/>
                <a:gd name="T36" fmla="*/ 139 w 139"/>
                <a:gd name="T37" fmla="*/ 68 h 170"/>
                <a:gd name="T38" fmla="*/ 139 w 139"/>
                <a:gd name="T39" fmla="*/ 68 h 170"/>
                <a:gd name="T40" fmla="*/ 120 w 139"/>
                <a:gd name="T41" fmla="*/ 20 h 170"/>
                <a:gd name="T42" fmla="*/ 70 w 139"/>
                <a:gd name="T43" fmla="*/ 0 h 170"/>
                <a:gd name="T44" fmla="*/ 28 w 139"/>
                <a:gd name="T45" fmla="*/ 2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170">
                  <a:moveTo>
                    <a:pt x="28" y="21"/>
                  </a:moveTo>
                  <a:cubicBezTo>
                    <a:pt x="28" y="6"/>
                    <a:pt x="28" y="6"/>
                    <a:pt x="28" y="6"/>
                  </a:cubicBezTo>
                  <a:cubicBezTo>
                    <a:pt x="28" y="4"/>
                    <a:pt x="27" y="3"/>
                    <a:pt x="25" y="3"/>
                  </a:cubicBezTo>
                  <a:cubicBezTo>
                    <a:pt x="4" y="3"/>
                    <a:pt x="4" y="3"/>
                    <a:pt x="4" y="3"/>
                  </a:cubicBezTo>
                  <a:cubicBezTo>
                    <a:pt x="1" y="3"/>
                    <a:pt x="0" y="4"/>
                    <a:pt x="0" y="6"/>
                  </a:cubicBezTo>
                  <a:cubicBezTo>
                    <a:pt x="0" y="167"/>
                    <a:pt x="0" y="167"/>
                    <a:pt x="0" y="167"/>
                  </a:cubicBezTo>
                  <a:cubicBezTo>
                    <a:pt x="0" y="169"/>
                    <a:pt x="1" y="170"/>
                    <a:pt x="4" y="170"/>
                  </a:cubicBezTo>
                  <a:cubicBezTo>
                    <a:pt x="25" y="170"/>
                    <a:pt x="25" y="170"/>
                    <a:pt x="25" y="170"/>
                  </a:cubicBezTo>
                  <a:cubicBezTo>
                    <a:pt x="27" y="170"/>
                    <a:pt x="28" y="169"/>
                    <a:pt x="28" y="167"/>
                  </a:cubicBezTo>
                  <a:cubicBezTo>
                    <a:pt x="28" y="68"/>
                    <a:pt x="28" y="68"/>
                    <a:pt x="28" y="68"/>
                  </a:cubicBezTo>
                  <a:cubicBezTo>
                    <a:pt x="28" y="49"/>
                    <a:pt x="42" y="28"/>
                    <a:pt x="70" y="28"/>
                  </a:cubicBezTo>
                  <a:cubicBezTo>
                    <a:pt x="97" y="28"/>
                    <a:pt x="111" y="49"/>
                    <a:pt x="111" y="68"/>
                  </a:cubicBezTo>
                  <a:cubicBezTo>
                    <a:pt x="111" y="167"/>
                    <a:pt x="111" y="167"/>
                    <a:pt x="111" y="167"/>
                  </a:cubicBezTo>
                  <a:cubicBezTo>
                    <a:pt x="111" y="167"/>
                    <a:pt x="111" y="167"/>
                    <a:pt x="111" y="167"/>
                  </a:cubicBezTo>
                  <a:cubicBezTo>
                    <a:pt x="111" y="169"/>
                    <a:pt x="112" y="170"/>
                    <a:pt x="114" y="170"/>
                  </a:cubicBezTo>
                  <a:cubicBezTo>
                    <a:pt x="136" y="170"/>
                    <a:pt x="136" y="170"/>
                    <a:pt x="136" y="170"/>
                  </a:cubicBezTo>
                  <a:cubicBezTo>
                    <a:pt x="138" y="170"/>
                    <a:pt x="139" y="169"/>
                    <a:pt x="139" y="167"/>
                  </a:cubicBezTo>
                  <a:cubicBezTo>
                    <a:pt x="139" y="68"/>
                    <a:pt x="139" y="68"/>
                    <a:pt x="139" y="68"/>
                  </a:cubicBezTo>
                  <a:cubicBezTo>
                    <a:pt x="139" y="68"/>
                    <a:pt x="139" y="68"/>
                    <a:pt x="139" y="68"/>
                  </a:cubicBezTo>
                  <a:cubicBezTo>
                    <a:pt x="139" y="68"/>
                    <a:pt x="139" y="68"/>
                    <a:pt x="139" y="68"/>
                  </a:cubicBezTo>
                  <a:cubicBezTo>
                    <a:pt x="139" y="51"/>
                    <a:pt x="133" y="35"/>
                    <a:pt x="120" y="20"/>
                  </a:cubicBezTo>
                  <a:cubicBezTo>
                    <a:pt x="109" y="7"/>
                    <a:pt x="88" y="0"/>
                    <a:pt x="70" y="0"/>
                  </a:cubicBezTo>
                  <a:cubicBezTo>
                    <a:pt x="41" y="0"/>
                    <a:pt x="28" y="21"/>
                    <a:pt x="28"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23" name="Freeform 9">
              <a:extLst>
                <a:ext uri="{FF2B5EF4-FFF2-40B4-BE49-F238E27FC236}">
                  <a16:creationId xmlns:a16="http://schemas.microsoft.com/office/drawing/2014/main" id="{F28C50EA-77B2-44BA-85E0-41720CE671B9}"/>
                </a:ext>
              </a:extLst>
            </p:cNvPr>
            <p:cNvSpPr>
              <a:spLocks/>
            </p:cNvSpPr>
            <p:nvPr userDrawn="1"/>
          </p:nvSpPr>
          <p:spPr bwMode="auto">
            <a:xfrm>
              <a:off x="2264" y="1724"/>
              <a:ext cx="246" cy="328"/>
            </a:xfrm>
            <a:custGeom>
              <a:avLst/>
              <a:gdLst>
                <a:gd name="T0" fmla="*/ 4 w 130"/>
                <a:gd name="T1" fmla="*/ 48 h 173"/>
                <a:gd name="T2" fmla="*/ 56 w 130"/>
                <a:gd name="T3" fmla="*/ 97 h 173"/>
                <a:gd name="T4" fmla="*/ 57 w 130"/>
                <a:gd name="T5" fmla="*/ 98 h 173"/>
                <a:gd name="T6" fmla="*/ 101 w 130"/>
                <a:gd name="T7" fmla="*/ 124 h 173"/>
                <a:gd name="T8" fmla="*/ 66 w 130"/>
                <a:gd name="T9" fmla="*/ 146 h 173"/>
                <a:gd name="T10" fmla="*/ 30 w 130"/>
                <a:gd name="T11" fmla="*/ 118 h 173"/>
                <a:gd name="T12" fmla="*/ 26 w 130"/>
                <a:gd name="T13" fmla="*/ 114 h 173"/>
                <a:gd name="T14" fmla="*/ 5 w 130"/>
                <a:gd name="T15" fmla="*/ 114 h 173"/>
                <a:gd name="T16" fmla="*/ 0 w 130"/>
                <a:gd name="T17" fmla="*/ 118 h 173"/>
                <a:gd name="T18" fmla="*/ 65 w 130"/>
                <a:gd name="T19" fmla="*/ 173 h 173"/>
                <a:gd name="T20" fmla="*/ 130 w 130"/>
                <a:gd name="T21" fmla="*/ 120 h 173"/>
                <a:gd name="T22" fmla="*/ 72 w 130"/>
                <a:gd name="T23" fmla="*/ 74 h 173"/>
                <a:gd name="T24" fmla="*/ 32 w 130"/>
                <a:gd name="T25" fmla="*/ 48 h 173"/>
                <a:gd name="T26" fmla="*/ 63 w 130"/>
                <a:gd name="T27" fmla="*/ 27 h 173"/>
                <a:gd name="T28" fmla="*/ 97 w 130"/>
                <a:gd name="T29" fmla="*/ 49 h 173"/>
                <a:gd name="T30" fmla="*/ 102 w 130"/>
                <a:gd name="T31" fmla="*/ 53 h 173"/>
                <a:gd name="T32" fmla="*/ 120 w 130"/>
                <a:gd name="T33" fmla="*/ 53 h 173"/>
                <a:gd name="T34" fmla="*/ 125 w 130"/>
                <a:gd name="T35" fmla="*/ 48 h 173"/>
                <a:gd name="T36" fmla="*/ 63 w 130"/>
                <a:gd name="T37" fmla="*/ 0 h 173"/>
                <a:gd name="T38" fmla="*/ 4 w 130"/>
                <a:gd name="T39" fmla="*/ 4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173">
                  <a:moveTo>
                    <a:pt x="4" y="48"/>
                  </a:moveTo>
                  <a:cubicBezTo>
                    <a:pt x="4" y="77"/>
                    <a:pt x="19" y="91"/>
                    <a:pt x="56" y="97"/>
                  </a:cubicBezTo>
                  <a:cubicBezTo>
                    <a:pt x="57" y="98"/>
                    <a:pt x="57" y="98"/>
                    <a:pt x="57" y="98"/>
                  </a:cubicBezTo>
                  <a:cubicBezTo>
                    <a:pt x="83" y="102"/>
                    <a:pt x="101" y="105"/>
                    <a:pt x="101" y="124"/>
                  </a:cubicBezTo>
                  <a:cubicBezTo>
                    <a:pt x="101" y="139"/>
                    <a:pt x="83" y="146"/>
                    <a:pt x="66" y="146"/>
                  </a:cubicBezTo>
                  <a:cubicBezTo>
                    <a:pt x="46" y="146"/>
                    <a:pt x="33" y="136"/>
                    <a:pt x="30" y="118"/>
                  </a:cubicBezTo>
                  <a:cubicBezTo>
                    <a:pt x="30" y="116"/>
                    <a:pt x="29" y="114"/>
                    <a:pt x="26" y="114"/>
                  </a:cubicBezTo>
                  <a:cubicBezTo>
                    <a:pt x="5" y="114"/>
                    <a:pt x="5" y="114"/>
                    <a:pt x="5" y="114"/>
                  </a:cubicBezTo>
                  <a:cubicBezTo>
                    <a:pt x="2" y="114"/>
                    <a:pt x="0" y="116"/>
                    <a:pt x="0" y="118"/>
                  </a:cubicBezTo>
                  <a:cubicBezTo>
                    <a:pt x="0" y="150"/>
                    <a:pt x="27" y="173"/>
                    <a:pt x="65" y="173"/>
                  </a:cubicBezTo>
                  <a:cubicBezTo>
                    <a:pt x="104" y="173"/>
                    <a:pt x="130" y="151"/>
                    <a:pt x="130" y="120"/>
                  </a:cubicBezTo>
                  <a:cubicBezTo>
                    <a:pt x="130" y="86"/>
                    <a:pt x="100" y="79"/>
                    <a:pt x="72" y="74"/>
                  </a:cubicBezTo>
                  <a:cubicBezTo>
                    <a:pt x="37" y="68"/>
                    <a:pt x="32" y="58"/>
                    <a:pt x="32" y="48"/>
                  </a:cubicBezTo>
                  <a:cubicBezTo>
                    <a:pt x="32" y="32"/>
                    <a:pt x="49" y="27"/>
                    <a:pt x="63" y="27"/>
                  </a:cubicBezTo>
                  <a:cubicBezTo>
                    <a:pt x="82" y="27"/>
                    <a:pt x="94" y="34"/>
                    <a:pt x="97" y="49"/>
                  </a:cubicBezTo>
                  <a:cubicBezTo>
                    <a:pt x="98" y="51"/>
                    <a:pt x="98" y="53"/>
                    <a:pt x="102" y="53"/>
                  </a:cubicBezTo>
                  <a:cubicBezTo>
                    <a:pt x="120" y="53"/>
                    <a:pt x="120" y="53"/>
                    <a:pt x="120" y="53"/>
                  </a:cubicBezTo>
                  <a:cubicBezTo>
                    <a:pt x="123" y="53"/>
                    <a:pt x="125" y="51"/>
                    <a:pt x="125" y="48"/>
                  </a:cubicBezTo>
                  <a:cubicBezTo>
                    <a:pt x="125" y="19"/>
                    <a:pt x="100" y="0"/>
                    <a:pt x="63" y="0"/>
                  </a:cubicBezTo>
                  <a:cubicBezTo>
                    <a:pt x="22" y="0"/>
                    <a:pt x="4" y="25"/>
                    <a:pt x="4" y="4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24" name="Freeform 10">
              <a:extLst>
                <a:ext uri="{FF2B5EF4-FFF2-40B4-BE49-F238E27FC236}">
                  <a16:creationId xmlns:a16="http://schemas.microsoft.com/office/drawing/2014/main" id="{29C9869C-B6EC-4057-A952-E2CE4A44C368}"/>
                </a:ext>
              </a:extLst>
            </p:cNvPr>
            <p:cNvSpPr>
              <a:spLocks/>
            </p:cNvSpPr>
            <p:nvPr userDrawn="1"/>
          </p:nvSpPr>
          <p:spPr bwMode="auto">
            <a:xfrm>
              <a:off x="3062" y="1722"/>
              <a:ext cx="312" cy="474"/>
            </a:xfrm>
            <a:custGeom>
              <a:avLst/>
              <a:gdLst>
                <a:gd name="T0" fmla="*/ 67 w 165"/>
                <a:gd name="T1" fmla="*/ 0 h 250"/>
                <a:gd name="T2" fmla="*/ 0 w 165"/>
                <a:gd name="T3" fmla="*/ 86 h 250"/>
                <a:gd name="T4" fmla="*/ 82 w 165"/>
                <a:gd name="T5" fmla="*/ 174 h 250"/>
                <a:gd name="T6" fmla="*/ 137 w 165"/>
                <a:gd name="T7" fmla="*/ 152 h 250"/>
                <a:gd name="T8" fmla="*/ 137 w 165"/>
                <a:gd name="T9" fmla="*/ 173 h 250"/>
                <a:gd name="T10" fmla="*/ 89 w 165"/>
                <a:gd name="T11" fmla="*/ 222 h 250"/>
                <a:gd name="T12" fmla="*/ 48 w 165"/>
                <a:gd name="T13" fmla="*/ 194 h 250"/>
                <a:gd name="T14" fmla="*/ 43 w 165"/>
                <a:gd name="T15" fmla="*/ 190 h 250"/>
                <a:gd name="T16" fmla="*/ 24 w 165"/>
                <a:gd name="T17" fmla="*/ 190 h 250"/>
                <a:gd name="T18" fmla="*/ 19 w 165"/>
                <a:gd name="T19" fmla="*/ 195 h 250"/>
                <a:gd name="T20" fmla="*/ 89 w 165"/>
                <a:gd name="T21" fmla="*/ 250 h 250"/>
                <a:gd name="T22" fmla="*/ 165 w 165"/>
                <a:gd name="T23" fmla="*/ 174 h 250"/>
                <a:gd name="T24" fmla="*/ 165 w 165"/>
                <a:gd name="T25" fmla="*/ 7 h 250"/>
                <a:gd name="T26" fmla="*/ 162 w 165"/>
                <a:gd name="T27" fmla="*/ 4 h 250"/>
                <a:gd name="T28" fmla="*/ 140 w 165"/>
                <a:gd name="T29" fmla="*/ 4 h 250"/>
                <a:gd name="T30" fmla="*/ 137 w 165"/>
                <a:gd name="T31" fmla="*/ 7 h 250"/>
                <a:gd name="T32" fmla="*/ 137 w 165"/>
                <a:gd name="T33" fmla="*/ 21 h 250"/>
                <a:gd name="T34" fmla="*/ 99 w 165"/>
                <a:gd name="T35" fmla="*/ 0 h 250"/>
                <a:gd name="T36" fmla="*/ 96 w 165"/>
                <a:gd name="T37" fmla="*/ 3 h 250"/>
                <a:gd name="T38" fmla="*/ 96 w 165"/>
                <a:gd name="T39" fmla="*/ 28 h 250"/>
                <a:gd name="T40" fmla="*/ 97 w 165"/>
                <a:gd name="T41" fmla="*/ 31 h 250"/>
                <a:gd name="T42" fmla="*/ 138 w 165"/>
                <a:gd name="T43" fmla="*/ 87 h 250"/>
                <a:gd name="T44" fmla="*/ 83 w 165"/>
                <a:gd name="T45" fmla="*/ 146 h 250"/>
                <a:gd name="T46" fmla="*/ 29 w 165"/>
                <a:gd name="T47" fmla="*/ 87 h 250"/>
                <a:gd name="T48" fmla="*/ 68 w 165"/>
                <a:gd name="T49" fmla="*/ 31 h 250"/>
                <a:gd name="T50" fmla="*/ 70 w 165"/>
                <a:gd name="T51" fmla="*/ 29 h 250"/>
                <a:gd name="T52" fmla="*/ 70 w 165"/>
                <a:gd name="T53" fmla="*/ 3 h 250"/>
                <a:gd name="T54" fmla="*/ 67 w 165"/>
                <a:gd name="T55" fmla="*/ 0 h 250"/>
                <a:gd name="T56" fmla="*/ 67 w 165"/>
                <a:gd name="T57"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5" h="250">
                  <a:moveTo>
                    <a:pt x="67" y="0"/>
                  </a:moveTo>
                  <a:cubicBezTo>
                    <a:pt x="29" y="8"/>
                    <a:pt x="0" y="44"/>
                    <a:pt x="0" y="86"/>
                  </a:cubicBezTo>
                  <a:cubicBezTo>
                    <a:pt x="0" y="135"/>
                    <a:pt x="37" y="174"/>
                    <a:pt x="82" y="174"/>
                  </a:cubicBezTo>
                  <a:cubicBezTo>
                    <a:pt x="103" y="174"/>
                    <a:pt x="122" y="166"/>
                    <a:pt x="137" y="152"/>
                  </a:cubicBezTo>
                  <a:cubicBezTo>
                    <a:pt x="137" y="173"/>
                    <a:pt x="137" y="173"/>
                    <a:pt x="137" y="173"/>
                  </a:cubicBezTo>
                  <a:cubicBezTo>
                    <a:pt x="137" y="205"/>
                    <a:pt x="120" y="222"/>
                    <a:pt x="89" y="222"/>
                  </a:cubicBezTo>
                  <a:cubicBezTo>
                    <a:pt x="66" y="222"/>
                    <a:pt x="52" y="213"/>
                    <a:pt x="48" y="194"/>
                  </a:cubicBezTo>
                  <a:cubicBezTo>
                    <a:pt x="47" y="192"/>
                    <a:pt x="46" y="190"/>
                    <a:pt x="43" y="190"/>
                  </a:cubicBezTo>
                  <a:cubicBezTo>
                    <a:pt x="24" y="190"/>
                    <a:pt x="24" y="190"/>
                    <a:pt x="24" y="190"/>
                  </a:cubicBezTo>
                  <a:cubicBezTo>
                    <a:pt x="21" y="190"/>
                    <a:pt x="19" y="192"/>
                    <a:pt x="19" y="195"/>
                  </a:cubicBezTo>
                  <a:cubicBezTo>
                    <a:pt x="22" y="228"/>
                    <a:pt x="51" y="250"/>
                    <a:pt x="89" y="250"/>
                  </a:cubicBezTo>
                  <a:cubicBezTo>
                    <a:pt x="135" y="250"/>
                    <a:pt x="165" y="219"/>
                    <a:pt x="165" y="174"/>
                  </a:cubicBezTo>
                  <a:cubicBezTo>
                    <a:pt x="165" y="7"/>
                    <a:pt x="165" y="7"/>
                    <a:pt x="165" y="7"/>
                  </a:cubicBezTo>
                  <a:cubicBezTo>
                    <a:pt x="165" y="5"/>
                    <a:pt x="164" y="4"/>
                    <a:pt x="162" y="4"/>
                  </a:cubicBezTo>
                  <a:cubicBezTo>
                    <a:pt x="140" y="4"/>
                    <a:pt x="140" y="4"/>
                    <a:pt x="140" y="4"/>
                  </a:cubicBezTo>
                  <a:cubicBezTo>
                    <a:pt x="138" y="4"/>
                    <a:pt x="137" y="5"/>
                    <a:pt x="137" y="7"/>
                  </a:cubicBezTo>
                  <a:cubicBezTo>
                    <a:pt x="137" y="21"/>
                    <a:pt x="137" y="21"/>
                    <a:pt x="137" y="21"/>
                  </a:cubicBezTo>
                  <a:cubicBezTo>
                    <a:pt x="126" y="11"/>
                    <a:pt x="113" y="4"/>
                    <a:pt x="99" y="0"/>
                  </a:cubicBezTo>
                  <a:cubicBezTo>
                    <a:pt x="97" y="0"/>
                    <a:pt x="96" y="1"/>
                    <a:pt x="96" y="3"/>
                  </a:cubicBezTo>
                  <a:cubicBezTo>
                    <a:pt x="96" y="28"/>
                    <a:pt x="96" y="28"/>
                    <a:pt x="96" y="28"/>
                  </a:cubicBezTo>
                  <a:cubicBezTo>
                    <a:pt x="96" y="29"/>
                    <a:pt x="96" y="30"/>
                    <a:pt x="97" y="31"/>
                  </a:cubicBezTo>
                  <a:cubicBezTo>
                    <a:pt x="121" y="37"/>
                    <a:pt x="138" y="60"/>
                    <a:pt x="138" y="87"/>
                  </a:cubicBezTo>
                  <a:cubicBezTo>
                    <a:pt x="138" y="119"/>
                    <a:pt x="114" y="146"/>
                    <a:pt x="83" y="146"/>
                  </a:cubicBezTo>
                  <a:cubicBezTo>
                    <a:pt x="53" y="146"/>
                    <a:pt x="29" y="119"/>
                    <a:pt x="29" y="87"/>
                  </a:cubicBezTo>
                  <a:cubicBezTo>
                    <a:pt x="29" y="61"/>
                    <a:pt x="45" y="38"/>
                    <a:pt x="68" y="31"/>
                  </a:cubicBezTo>
                  <a:cubicBezTo>
                    <a:pt x="69" y="31"/>
                    <a:pt x="70" y="30"/>
                    <a:pt x="70" y="29"/>
                  </a:cubicBezTo>
                  <a:cubicBezTo>
                    <a:pt x="70" y="3"/>
                    <a:pt x="70" y="3"/>
                    <a:pt x="70" y="3"/>
                  </a:cubicBezTo>
                  <a:cubicBezTo>
                    <a:pt x="70" y="1"/>
                    <a:pt x="69" y="0"/>
                    <a:pt x="67" y="0"/>
                  </a:cubicBezTo>
                  <a:cubicBezTo>
                    <a:pt x="67" y="0"/>
                    <a:pt x="67" y="0"/>
                    <a:pt x="6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25" name="Oval 11">
              <a:extLst>
                <a:ext uri="{FF2B5EF4-FFF2-40B4-BE49-F238E27FC236}">
                  <a16:creationId xmlns:a16="http://schemas.microsoft.com/office/drawing/2014/main" id="{873AF13F-0640-4C6D-8CAF-BB8A2322C17A}"/>
                </a:ext>
              </a:extLst>
            </p:cNvPr>
            <p:cNvSpPr>
              <a:spLocks noChangeArrowheads="1"/>
            </p:cNvSpPr>
            <p:nvPr userDrawn="1"/>
          </p:nvSpPr>
          <p:spPr bwMode="auto">
            <a:xfrm>
              <a:off x="284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26" name="Oval 12">
              <a:extLst>
                <a:ext uri="{FF2B5EF4-FFF2-40B4-BE49-F238E27FC236}">
                  <a16:creationId xmlns:a16="http://schemas.microsoft.com/office/drawing/2014/main" id="{982EC9D7-A8C0-4B37-9B60-32F310D91764}"/>
                </a:ext>
              </a:extLst>
            </p:cNvPr>
            <p:cNvSpPr>
              <a:spLocks noChangeArrowheads="1"/>
            </p:cNvSpPr>
            <p:nvPr userDrawn="1"/>
          </p:nvSpPr>
          <p:spPr bwMode="auto">
            <a:xfrm>
              <a:off x="387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27" name="Freeform 13">
              <a:extLst>
                <a:ext uri="{FF2B5EF4-FFF2-40B4-BE49-F238E27FC236}">
                  <a16:creationId xmlns:a16="http://schemas.microsoft.com/office/drawing/2014/main" id="{7D1A8101-5969-46D3-86E7-3F858A3779AD}"/>
                </a:ext>
              </a:extLst>
            </p:cNvPr>
            <p:cNvSpPr>
              <a:spLocks/>
            </p:cNvSpPr>
            <p:nvPr userDrawn="1"/>
          </p:nvSpPr>
          <p:spPr bwMode="auto">
            <a:xfrm>
              <a:off x="4062" y="1584"/>
              <a:ext cx="242" cy="462"/>
            </a:xfrm>
            <a:custGeom>
              <a:avLst/>
              <a:gdLst>
                <a:gd name="T0" fmla="*/ 39 w 128"/>
                <a:gd name="T1" fmla="*/ 55 h 244"/>
                <a:gd name="T2" fmla="*/ 39 w 128"/>
                <a:gd name="T3" fmla="*/ 76 h 244"/>
                <a:gd name="T4" fmla="*/ 4 w 128"/>
                <a:gd name="T5" fmla="*/ 76 h 244"/>
                <a:gd name="T6" fmla="*/ 0 w 128"/>
                <a:gd name="T7" fmla="*/ 81 h 244"/>
                <a:gd name="T8" fmla="*/ 0 w 128"/>
                <a:gd name="T9" fmla="*/ 99 h 244"/>
                <a:gd name="T10" fmla="*/ 4 w 128"/>
                <a:gd name="T11" fmla="*/ 103 h 244"/>
                <a:gd name="T12" fmla="*/ 39 w 128"/>
                <a:gd name="T13" fmla="*/ 103 h 244"/>
                <a:gd name="T14" fmla="*/ 39 w 128"/>
                <a:gd name="T15" fmla="*/ 239 h 244"/>
                <a:gd name="T16" fmla="*/ 44 w 128"/>
                <a:gd name="T17" fmla="*/ 244 h 244"/>
                <a:gd name="T18" fmla="*/ 62 w 128"/>
                <a:gd name="T19" fmla="*/ 244 h 244"/>
                <a:gd name="T20" fmla="*/ 67 w 128"/>
                <a:gd name="T21" fmla="*/ 239 h 244"/>
                <a:gd name="T22" fmla="*/ 67 w 128"/>
                <a:gd name="T23" fmla="*/ 103 h 244"/>
                <a:gd name="T24" fmla="*/ 120 w 128"/>
                <a:gd name="T25" fmla="*/ 103 h 244"/>
                <a:gd name="T26" fmla="*/ 125 w 128"/>
                <a:gd name="T27" fmla="*/ 99 h 244"/>
                <a:gd name="T28" fmla="*/ 125 w 128"/>
                <a:gd name="T29" fmla="*/ 81 h 244"/>
                <a:gd name="T30" fmla="*/ 120 w 128"/>
                <a:gd name="T31" fmla="*/ 76 h 244"/>
                <a:gd name="T32" fmla="*/ 67 w 128"/>
                <a:gd name="T33" fmla="*/ 76 h 244"/>
                <a:gd name="T34" fmla="*/ 67 w 128"/>
                <a:gd name="T35" fmla="*/ 55 h 244"/>
                <a:gd name="T36" fmla="*/ 91 w 128"/>
                <a:gd name="T37" fmla="*/ 27 h 244"/>
                <a:gd name="T38" fmla="*/ 122 w 128"/>
                <a:gd name="T39" fmla="*/ 37 h 244"/>
                <a:gd name="T40" fmla="*/ 125 w 128"/>
                <a:gd name="T41" fmla="*/ 38 h 244"/>
                <a:gd name="T42" fmla="*/ 128 w 128"/>
                <a:gd name="T43" fmla="*/ 33 h 244"/>
                <a:gd name="T44" fmla="*/ 128 w 128"/>
                <a:gd name="T45" fmla="*/ 16 h 244"/>
                <a:gd name="T46" fmla="*/ 125 w 128"/>
                <a:gd name="T47" fmla="*/ 9 h 244"/>
                <a:gd name="T48" fmla="*/ 89 w 128"/>
                <a:gd name="T49" fmla="*/ 0 h 244"/>
                <a:gd name="T50" fmla="*/ 39 w 128"/>
                <a:gd name="T51" fmla="*/ 5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244">
                  <a:moveTo>
                    <a:pt x="39" y="55"/>
                  </a:moveTo>
                  <a:cubicBezTo>
                    <a:pt x="39" y="76"/>
                    <a:pt x="39" y="76"/>
                    <a:pt x="39" y="76"/>
                  </a:cubicBezTo>
                  <a:cubicBezTo>
                    <a:pt x="4" y="76"/>
                    <a:pt x="4" y="76"/>
                    <a:pt x="4" y="76"/>
                  </a:cubicBezTo>
                  <a:cubicBezTo>
                    <a:pt x="1" y="76"/>
                    <a:pt x="0" y="78"/>
                    <a:pt x="0" y="81"/>
                  </a:cubicBezTo>
                  <a:cubicBezTo>
                    <a:pt x="0" y="99"/>
                    <a:pt x="0" y="99"/>
                    <a:pt x="0" y="99"/>
                  </a:cubicBezTo>
                  <a:cubicBezTo>
                    <a:pt x="0" y="102"/>
                    <a:pt x="1" y="103"/>
                    <a:pt x="4" y="103"/>
                  </a:cubicBezTo>
                  <a:cubicBezTo>
                    <a:pt x="39" y="103"/>
                    <a:pt x="39" y="103"/>
                    <a:pt x="39" y="103"/>
                  </a:cubicBezTo>
                  <a:cubicBezTo>
                    <a:pt x="39" y="239"/>
                    <a:pt x="39" y="239"/>
                    <a:pt x="39" y="239"/>
                  </a:cubicBezTo>
                  <a:cubicBezTo>
                    <a:pt x="39" y="242"/>
                    <a:pt x="41" y="244"/>
                    <a:pt x="44" y="244"/>
                  </a:cubicBezTo>
                  <a:cubicBezTo>
                    <a:pt x="62" y="244"/>
                    <a:pt x="62" y="244"/>
                    <a:pt x="62" y="244"/>
                  </a:cubicBezTo>
                  <a:cubicBezTo>
                    <a:pt x="65" y="244"/>
                    <a:pt x="67" y="242"/>
                    <a:pt x="67" y="239"/>
                  </a:cubicBezTo>
                  <a:cubicBezTo>
                    <a:pt x="67" y="103"/>
                    <a:pt x="67" y="103"/>
                    <a:pt x="67" y="103"/>
                  </a:cubicBezTo>
                  <a:cubicBezTo>
                    <a:pt x="120" y="103"/>
                    <a:pt x="120" y="103"/>
                    <a:pt x="120" y="103"/>
                  </a:cubicBezTo>
                  <a:cubicBezTo>
                    <a:pt x="123" y="103"/>
                    <a:pt x="125" y="102"/>
                    <a:pt x="125" y="99"/>
                  </a:cubicBezTo>
                  <a:cubicBezTo>
                    <a:pt x="125" y="81"/>
                    <a:pt x="125" y="81"/>
                    <a:pt x="125" y="81"/>
                  </a:cubicBezTo>
                  <a:cubicBezTo>
                    <a:pt x="125" y="78"/>
                    <a:pt x="123" y="76"/>
                    <a:pt x="120" y="76"/>
                  </a:cubicBezTo>
                  <a:cubicBezTo>
                    <a:pt x="67" y="76"/>
                    <a:pt x="67" y="76"/>
                    <a:pt x="67" y="76"/>
                  </a:cubicBezTo>
                  <a:cubicBezTo>
                    <a:pt x="67" y="55"/>
                    <a:pt x="67" y="55"/>
                    <a:pt x="67" y="55"/>
                  </a:cubicBezTo>
                  <a:cubicBezTo>
                    <a:pt x="67" y="38"/>
                    <a:pt x="76" y="27"/>
                    <a:pt x="91" y="27"/>
                  </a:cubicBezTo>
                  <a:cubicBezTo>
                    <a:pt x="102" y="27"/>
                    <a:pt x="110" y="30"/>
                    <a:pt x="122" y="37"/>
                  </a:cubicBezTo>
                  <a:cubicBezTo>
                    <a:pt x="123" y="38"/>
                    <a:pt x="124" y="38"/>
                    <a:pt x="125" y="38"/>
                  </a:cubicBezTo>
                  <a:cubicBezTo>
                    <a:pt x="127" y="38"/>
                    <a:pt x="128" y="36"/>
                    <a:pt x="128" y="33"/>
                  </a:cubicBezTo>
                  <a:cubicBezTo>
                    <a:pt x="128" y="16"/>
                    <a:pt x="128" y="16"/>
                    <a:pt x="128" y="16"/>
                  </a:cubicBezTo>
                  <a:cubicBezTo>
                    <a:pt x="128" y="13"/>
                    <a:pt x="128" y="11"/>
                    <a:pt x="125" y="9"/>
                  </a:cubicBezTo>
                  <a:cubicBezTo>
                    <a:pt x="114" y="3"/>
                    <a:pt x="103" y="0"/>
                    <a:pt x="89" y="0"/>
                  </a:cubicBezTo>
                  <a:cubicBezTo>
                    <a:pt x="54" y="0"/>
                    <a:pt x="39" y="29"/>
                    <a:pt x="39"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28" name="Freeform 14">
              <a:extLst>
                <a:ext uri="{FF2B5EF4-FFF2-40B4-BE49-F238E27FC236}">
                  <a16:creationId xmlns:a16="http://schemas.microsoft.com/office/drawing/2014/main" id="{3C52E1A8-F273-4077-90B8-12412F0A51D2}"/>
                </a:ext>
              </a:extLst>
            </p:cNvPr>
            <p:cNvSpPr>
              <a:spLocks/>
            </p:cNvSpPr>
            <p:nvPr userDrawn="1"/>
          </p:nvSpPr>
          <p:spPr bwMode="auto">
            <a:xfrm>
              <a:off x="2071" y="1578"/>
              <a:ext cx="632" cy="631"/>
            </a:xfrm>
            <a:custGeom>
              <a:avLst/>
              <a:gdLst>
                <a:gd name="T0" fmla="*/ 181 w 334"/>
                <a:gd name="T1" fmla="*/ 1 h 333"/>
                <a:gd name="T2" fmla="*/ 180 w 334"/>
                <a:gd name="T3" fmla="*/ 4 h 333"/>
                <a:gd name="T4" fmla="*/ 180 w 334"/>
                <a:gd name="T5" fmla="*/ 26 h 333"/>
                <a:gd name="T6" fmla="*/ 180 w 334"/>
                <a:gd name="T7" fmla="*/ 26 h 333"/>
                <a:gd name="T8" fmla="*/ 182 w 334"/>
                <a:gd name="T9" fmla="*/ 28 h 333"/>
                <a:gd name="T10" fmla="*/ 306 w 334"/>
                <a:gd name="T11" fmla="*/ 166 h 333"/>
                <a:gd name="T12" fmla="*/ 167 w 334"/>
                <a:gd name="T13" fmla="*/ 305 h 333"/>
                <a:gd name="T14" fmla="*/ 28 w 334"/>
                <a:gd name="T15" fmla="*/ 166 h 333"/>
                <a:gd name="T16" fmla="*/ 152 w 334"/>
                <a:gd name="T17" fmla="*/ 28 h 333"/>
                <a:gd name="T18" fmla="*/ 154 w 334"/>
                <a:gd name="T19" fmla="*/ 26 h 333"/>
                <a:gd name="T20" fmla="*/ 154 w 334"/>
                <a:gd name="T21" fmla="*/ 26 h 333"/>
                <a:gd name="T22" fmla="*/ 154 w 334"/>
                <a:gd name="T23" fmla="*/ 4 h 333"/>
                <a:gd name="T24" fmla="*/ 153 w 334"/>
                <a:gd name="T25" fmla="*/ 1 h 333"/>
                <a:gd name="T26" fmla="*/ 150 w 334"/>
                <a:gd name="T27" fmla="*/ 0 h 333"/>
                <a:gd name="T28" fmla="*/ 149 w 334"/>
                <a:gd name="T29" fmla="*/ 0 h 333"/>
                <a:gd name="T30" fmla="*/ 149 w 334"/>
                <a:gd name="T31" fmla="*/ 0 h 333"/>
                <a:gd name="T32" fmla="*/ 0 w 334"/>
                <a:gd name="T33" fmla="*/ 166 h 333"/>
                <a:gd name="T34" fmla="*/ 167 w 334"/>
                <a:gd name="T35" fmla="*/ 333 h 333"/>
                <a:gd name="T36" fmla="*/ 334 w 334"/>
                <a:gd name="T37" fmla="*/ 166 h 333"/>
                <a:gd name="T38" fmla="*/ 185 w 334"/>
                <a:gd name="T39" fmla="*/ 0 h 333"/>
                <a:gd name="T40" fmla="*/ 185 w 334"/>
                <a:gd name="T41" fmla="*/ 0 h 333"/>
                <a:gd name="T42" fmla="*/ 184 w 334"/>
                <a:gd name="T43" fmla="*/ 0 h 333"/>
                <a:gd name="T44" fmla="*/ 181 w 334"/>
                <a:gd name="T45" fmla="*/ 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4" h="333">
                  <a:moveTo>
                    <a:pt x="181" y="1"/>
                  </a:moveTo>
                  <a:cubicBezTo>
                    <a:pt x="180" y="2"/>
                    <a:pt x="180" y="3"/>
                    <a:pt x="180" y="4"/>
                  </a:cubicBezTo>
                  <a:cubicBezTo>
                    <a:pt x="180" y="26"/>
                    <a:pt x="180" y="26"/>
                    <a:pt x="180" y="26"/>
                  </a:cubicBezTo>
                  <a:cubicBezTo>
                    <a:pt x="180" y="26"/>
                    <a:pt x="180" y="26"/>
                    <a:pt x="180" y="26"/>
                  </a:cubicBezTo>
                  <a:cubicBezTo>
                    <a:pt x="180" y="27"/>
                    <a:pt x="181" y="28"/>
                    <a:pt x="182" y="28"/>
                  </a:cubicBezTo>
                  <a:cubicBezTo>
                    <a:pt x="251" y="35"/>
                    <a:pt x="306" y="94"/>
                    <a:pt x="306" y="166"/>
                  </a:cubicBezTo>
                  <a:cubicBezTo>
                    <a:pt x="306" y="243"/>
                    <a:pt x="244" y="305"/>
                    <a:pt x="167" y="305"/>
                  </a:cubicBezTo>
                  <a:cubicBezTo>
                    <a:pt x="90" y="305"/>
                    <a:pt x="28" y="243"/>
                    <a:pt x="28" y="166"/>
                  </a:cubicBezTo>
                  <a:cubicBezTo>
                    <a:pt x="28" y="94"/>
                    <a:pt x="82" y="35"/>
                    <a:pt x="152" y="28"/>
                  </a:cubicBezTo>
                  <a:cubicBezTo>
                    <a:pt x="153" y="28"/>
                    <a:pt x="154" y="27"/>
                    <a:pt x="154" y="26"/>
                  </a:cubicBezTo>
                  <a:cubicBezTo>
                    <a:pt x="154" y="26"/>
                    <a:pt x="154" y="26"/>
                    <a:pt x="154" y="26"/>
                  </a:cubicBezTo>
                  <a:cubicBezTo>
                    <a:pt x="154" y="4"/>
                    <a:pt x="154" y="4"/>
                    <a:pt x="154" y="4"/>
                  </a:cubicBezTo>
                  <a:cubicBezTo>
                    <a:pt x="154" y="3"/>
                    <a:pt x="154" y="2"/>
                    <a:pt x="153" y="1"/>
                  </a:cubicBezTo>
                  <a:cubicBezTo>
                    <a:pt x="152" y="0"/>
                    <a:pt x="151" y="0"/>
                    <a:pt x="150" y="0"/>
                  </a:cubicBezTo>
                  <a:cubicBezTo>
                    <a:pt x="149" y="0"/>
                    <a:pt x="149" y="0"/>
                    <a:pt x="149" y="0"/>
                  </a:cubicBezTo>
                  <a:cubicBezTo>
                    <a:pt x="149" y="0"/>
                    <a:pt x="149" y="0"/>
                    <a:pt x="149" y="0"/>
                  </a:cubicBezTo>
                  <a:cubicBezTo>
                    <a:pt x="65" y="9"/>
                    <a:pt x="0" y="80"/>
                    <a:pt x="0" y="166"/>
                  </a:cubicBezTo>
                  <a:cubicBezTo>
                    <a:pt x="0" y="258"/>
                    <a:pt x="75" y="333"/>
                    <a:pt x="167" y="333"/>
                  </a:cubicBezTo>
                  <a:cubicBezTo>
                    <a:pt x="259" y="333"/>
                    <a:pt x="334" y="258"/>
                    <a:pt x="334" y="166"/>
                  </a:cubicBezTo>
                  <a:cubicBezTo>
                    <a:pt x="334" y="80"/>
                    <a:pt x="269" y="9"/>
                    <a:pt x="185" y="0"/>
                  </a:cubicBezTo>
                  <a:cubicBezTo>
                    <a:pt x="185" y="0"/>
                    <a:pt x="185" y="0"/>
                    <a:pt x="185" y="0"/>
                  </a:cubicBezTo>
                  <a:cubicBezTo>
                    <a:pt x="185" y="0"/>
                    <a:pt x="184" y="0"/>
                    <a:pt x="184" y="0"/>
                  </a:cubicBezTo>
                  <a:cubicBezTo>
                    <a:pt x="183" y="0"/>
                    <a:pt x="182" y="0"/>
                    <a:pt x="18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grpSp>
    </p:spTree>
    <p:extLst>
      <p:ext uri="{BB962C8B-B14F-4D97-AF65-F5344CB8AC3E}">
        <p14:creationId xmlns:p14="http://schemas.microsoft.com/office/powerpoint/2010/main" val="188615849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806139"/>
            <a:ext cx="9144001" cy="3245724"/>
          </a:xfrm>
        </p:spPr>
        <p:txBody>
          <a:bodyPr anchor="ctr"/>
          <a:lstStyle>
            <a:lvl1pPr algn="ctr">
              <a:defRPr sz="4400">
                <a:solidFill>
                  <a:schemeClr val="tx1"/>
                </a:solidFill>
                <a:latin typeface="+mj-lt"/>
              </a:defRPr>
            </a:lvl1pPr>
          </a:lstStyle>
          <a:p>
            <a:r>
              <a:rPr lang="en-US"/>
              <a:t>Click to edit Master title style</a:t>
            </a:r>
          </a:p>
        </p:txBody>
      </p:sp>
      <p:sp>
        <p:nvSpPr>
          <p:cNvPr id="3" name="Subtitle 2"/>
          <p:cNvSpPr>
            <a:spLocks noGrp="1"/>
          </p:cNvSpPr>
          <p:nvPr>
            <p:ph type="subTitle" idx="1"/>
          </p:nvPr>
        </p:nvSpPr>
        <p:spPr>
          <a:xfrm>
            <a:off x="1524000" y="5714325"/>
            <a:ext cx="9144001" cy="453754"/>
          </a:xfrm>
        </p:spPr>
        <p:txBody>
          <a:bodyPr/>
          <a:lstStyle>
            <a:lvl1pPr marL="0" indent="0" algn="ctr">
              <a:buNone/>
              <a:defRPr sz="2400">
                <a:solidFill>
                  <a:schemeClr val="tx1"/>
                </a:solidFill>
              </a:defRPr>
            </a:lvl1pPr>
            <a:lvl2pPr marL="521258" indent="0" algn="ctr">
              <a:buNone/>
              <a:defRPr sz="2280"/>
            </a:lvl2pPr>
            <a:lvl3pPr marL="1042512" indent="0" algn="ctr">
              <a:buNone/>
              <a:defRPr sz="2052"/>
            </a:lvl3pPr>
            <a:lvl4pPr marL="1563773" indent="0" algn="ctr">
              <a:buNone/>
              <a:defRPr sz="1824"/>
            </a:lvl4pPr>
            <a:lvl5pPr marL="2085031" indent="0" algn="ctr">
              <a:buNone/>
              <a:defRPr sz="1824"/>
            </a:lvl5pPr>
            <a:lvl6pPr marL="2606285" indent="0" algn="ctr">
              <a:buNone/>
              <a:defRPr sz="1824"/>
            </a:lvl6pPr>
            <a:lvl7pPr marL="3127543" indent="0" algn="ctr">
              <a:buNone/>
              <a:defRPr sz="1824"/>
            </a:lvl7pPr>
            <a:lvl8pPr marL="3648803" indent="0" algn="ctr">
              <a:buNone/>
              <a:defRPr sz="1824"/>
            </a:lvl8pPr>
            <a:lvl9pPr marL="4170060" indent="0" algn="ctr">
              <a:buNone/>
              <a:defRPr sz="1824"/>
            </a:lvl9pPr>
          </a:lstStyle>
          <a:p>
            <a:r>
              <a:rPr lang="en-US"/>
              <a:t>Click to edit Master subtitle style</a:t>
            </a:r>
          </a:p>
        </p:txBody>
      </p:sp>
      <p:grpSp>
        <p:nvGrpSpPr>
          <p:cNvPr id="6" name="Group 4">
            <a:extLst>
              <a:ext uri="{FF2B5EF4-FFF2-40B4-BE49-F238E27FC236}">
                <a16:creationId xmlns:a16="http://schemas.microsoft.com/office/drawing/2014/main" id="{8F869F46-098E-40E7-8BBE-A2BB1CDE06F8}"/>
              </a:ext>
            </a:extLst>
          </p:cNvPr>
          <p:cNvGrpSpPr>
            <a:grpSpLocks noChangeAspect="1"/>
          </p:cNvGrpSpPr>
          <p:nvPr/>
        </p:nvGrpSpPr>
        <p:grpSpPr bwMode="auto">
          <a:xfrm>
            <a:off x="4682788" y="411163"/>
            <a:ext cx="2826424" cy="396000"/>
            <a:chOff x="0" y="1622"/>
            <a:chExt cx="7680" cy="1076"/>
          </a:xfrm>
          <a:solidFill>
            <a:schemeClr val="tx1"/>
          </a:solidFill>
        </p:grpSpPr>
        <p:sp>
          <p:nvSpPr>
            <p:cNvPr id="19" name="Freeform 5">
              <a:extLst>
                <a:ext uri="{FF2B5EF4-FFF2-40B4-BE49-F238E27FC236}">
                  <a16:creationId xmlns:a16="http://schemas.microsoft.com/office/drawing/2014/main" id="{A3EE1E7C-2EB2-4210-BB5A-9E018E234924}"/>
                </a:ext>
              </a:extLst>
            </p:cNvPr>
            <p:cNvSpPr>
              <a:spLocks/>
            </p:cNvSpPr>
            <p:nvPr/>
          </p:nvSpPr>
          <p:spPr bwMode="auto">
            <a:xfrm>
              <a:off x="1489" y="1874"/>
              <a:ext cx="479" cy="565"/>
            </a:xfrm>
            <a:custGeom>
              <a:avLst/>
              <a:gdLst>
                <a:gd name="T0" fmla="*/ 766 w 766"/>
                <a:gd name="T1" fmla="*/ 745 h 903"/>
                <a:gd name="T2" fmla="*/ 447 w 766"/>
                <a:gd name="T3" fmla="*/ 903 h 903"/>
                <a:gd name="T4" fmla="*/ 0 w 766"/>
                <a:gd name="T5" fmla="*/ 452 h 903"/>
                <a:gd name="T6" fmla="*/ 447 w 766"/>
                <a:gd name="T7" fmla="*/ 0 h 903"/>
                <a:gd name="T8" fmla="*/ 745 w 766"/>
                <a:gd name="T9" fmla="*/ 136 h 903"/>
                <a:gd name="T10" fmla="*/ 668 w 766"/>
                <a:gd name="T11" fmla="*/ 193 h 903"/>
                <a:gd name="T12" fmla="*/ 447 w 766"/>
                <a:gd name="T13" fmla="*/ 80 h 903"/>
                <a:gd name="T14" fmla="*/ 94 w 766"/>
                <a:gd name="T15" fmla="*/ 452 h 903"/>
                <a:gd name="T16" fmla="*/ 447 w 766"/>
                <a:gd name="T17" fmla="*/ 823 h 903"/>
                <a:gd name="T18" fmla="*/ 694 w 766"/>
                <a:gd name="T19" fmla="*/ 694 h 903"/>
                <a:gd name="T20" fmla="*/ 766 w 766"/>
                <a:gd name="T21" fmla="*/ 745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6" h="903">
                  <a:moveTo>
                    <a:pt x="766" y="745"/>
                  </a:moveTo>
                  <a:cubicBezTo>
                    <a:pt x="708" y="834"/>
                    <a:pt x="590" y="903"/>
                    <a:pt x="447" y="903"/>
                  </a:cubicBezTo>
                  <a:cubicBezTo>
                    <a:pt x="192" y="903"/>
                    <a:pt x="0" y="713"/>
                    <a:pt x="0" y="452"/>
                  </a:cubicBezTo>
                  <a:cubicBezTo>
                    <a:pt x="0" y="191"/>
                    <a:pt x="192" y="0"/>
                    <a:pt x="447" y="0"/>
                  </a:cubicBezTo>
                  <a:cubicBezTo>
                    <a:pt x="554" y="0"/>
                    <a:pt x="670" y="40"/>
                    <a:pt x="745" y="136"/>
                  </a:cubicBezTo>
                  <a:cubicBezTo>
                    <a:pt x="668" y="193"/>
                    <a:pt x="668" y="193"/>
                    <a:pt x="668" y="193"/>
                  </a:cubicBezTo>
                  <a:cubicBezTo>
                    <a:pt x="634" y="137"/>
                    <a:pt x="539" y="80"/>
                    <a:pt x="447" y="80"/>
                  </a:cubicBezTo>
                  <a:cubicBezTo>
                    <a:pt x="226" y="80"/>
                    <a:pt x="94" y="254"/>
                    <a:pt x="94" y="452"/>
                  </a:cubicBezTo>
                  <a:cubicBezTo>
                    <a:pt x="94" y="650"/>
                    <a:pt x="226" y="823"/>
                    <a:pt x="447" y="823"/>
                  </a:cubicBezTo>
                  <a:cubicBezTo>
                    <a:pt x="537" y="823"/>
                    <a:pt x="630" y="793"/>
                    <a:pt x="694" y="694"/>
                  </a:cubicBezTo>
                  <a:lnTo>
                    <a:pt x="766" y="7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20" name="Freeform 6">
              <a:extLst>
                <a:ext uri="{FF2B5EF4-FFF2-40B4-BE49-F238E27FC236}">
                  <a16:creationId xmlns:a16="http://schemas.microsoft.com/office/drawing/2014/main" id="{D3C16D21-72E5-46B0-8CC0-4B3CD95935E6}"/>
                </a:ext>
              </a:extLst>
            </p:cNvPr>
            <p:cNvSpPr>
              <a:spLocks noEditPoints="1"/>
            </p:cNvSpPr>
            <p:nvPr/>
          </p:nvSpPr>
          <p:spPr bwMode="auto">
            <a:xfrm>
              <a:off x="2014" y="1874"/>
              <a:ext cx="560" cy="565"/>
            </a:xfrm>
            <a:custGeom>
              <a:avLst/>
              <a:gdLst>
                <a:gd name="T0" fmla="*/ 448 w 896"/>
                <a:gd name="T1" fmla="*/ 80 h 903"/>
                <a:gd name="T2" fmla="*/ 95 w 896"/>
                <a:gd name="T3" fmla="*/ 452 h 903"/>
                <a:gd name="T4" fmla="*/ 448 w 896"/>
                <a:gd name="T5" fmla="*/ 823 h 903"/>
                <a:gd name="T6" fmla="*/ 801 w 896"/>
                <a:gd name="T7" fmla="*/ 452 h 903"/>
                <a:gd name="T8" fmla="*/ 448 w 896"/>
                <a:gd name="T9" fmla="*/ 80 h 903"/>
                <a:gd name="T10" fmla="*/ 448 w 896"/>
                <a:gd name="T11" fmla="*/ 903 h 903"/>
                <a:gd name="T12" fmla="*/ 0 w 896"/>
                <a:gd name="T13" fmla="*/ 452 h 903"/>
                <a:gd name="T14" fmla="*/ 448 w 896"/>
                <a:gd name="T15" fmla="*/ 0 h 903"/>
                <a:gd name="T16" fmla="*/ 896 w 896"/>
                <a:gd name="T17" fmla="*/ 452 h 903"/>
                <a:gd name="T18" fmla="*/ 448 w 896"/>
                <a:gd name="T19" fmla="*/ 903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6" h="903">
                  <a:moveTo>
                    <a:pt x="448" y="80"/>
                  </a:moveTo>
                  <a:cubicBezTo>
                    <a:pt x="227" y="80"/>
                    <a:pt x="95" y="254"/>
                    <a:pt x="95" y="452"/>
                  </a:cubicBezTo>
                  <a:cubicBezTo>
                    <a:pt x="95" y="649"/>
                    <a:pt x="227" y="823"/>
                    <a:pt x="448" y="823"/>
                  </a:cubicBezTo>
                  <a:cubicBezTo>
                    <a:pt x="669" y="823"/>
                    <a:pt x="801" y="649"/>
                    <a:pt x="801" y="452"/>
                  </a:cubicBezTo>
                  <a:cubicBezTo>
                    <a:pt x="801" y="254"/>
                    <a:pt x="669" y="80"/>
                    <a:pt x="448" y="80"/>
                  </a:cubicBezTo>
                  <a:moveTo>
                    <a:pt x="448" y="903"/>
                  </a:moveTo>
                  <a:cubicBezTo>
                    <a:pt x="192" y="903"/>
                    <a:pt x="0" y="712"/>
                    <a:pt x="0" y="452"/>
                  </a:cubicBezTo>
                  <a:cubicBezTo>
                    <a:pt x="0" y="191"/>
                    <a:pt x="192" y="0"/>
                    <a:pt x="448" y="0"/>
                  </a:cubicBezTo>
                  <a:cubicBezTo>
                    <a:pt x="704" y="0"/>
                    <a:pt x="896" y="191"/>
                    <a:pt x="896" y="452"/>
                  </a:cubicBezTo>
                  <a:cubicBezTo>
                    <a:pt x="896" y="712"/>
                    <a:pt x="704" y="903"/>
                    <a:pt x="448" y="90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21" name="Freeform 7">
              <a:extLst>
                <a:ext uri="{FF2B5EF4-FFF2-40B4-BE49-F238E27FC236}">
                  <a16:creationId xmlns:a16="http://schemas.microsoft.com/office/drawing/2014/main" id="{D9C247EA-B9C8-4819-BE22-2C1BAA954EDB}"/>
                </a:ext>
              </a:extLst>
            </p:cNvPr>
            <p:cNvSpPr>
              <a:spLocks/>
            </p:cNvSpPr>
            <p:nvPr/>
          </p:nvSpPr>
          <p:spPr bwMode="auto">
            <a:xfrm>
              <a:off x="2672" y="1888"/>
              <a:ext cx="305" cy="538"/>
            </a:xfrm>
            <a:custGeom>
              <a:avLst/>
              <a:gdLst>
                <a:gd name="T0" fmla="*/ 0 w 305"/>
                <a:gd name="T1" fmla="*/ 0 h 538"/>
                <a:gd name="T2" fmla="*/ 0 w 305"/>
                <a:gd name="T3" fmla="*/ 538 h 538"/>
                <a:gd name="T4" fmla="*/ 305 w 305"/>
                <a:gd name="T5" fmla="*/ 538 h 538"/>
                <a:gd name="T6" fmla="*/ 305 w 305"/>
                <a:gd name="T7" fmla="*/ 488 h 538"/>
                <a:gd name="T8" fmla="*/ 55 w 305"/>
                <a:gd name="T9" fmla="*/ 488 h 538"/>
                <a:gd name="T10" fmla="*/ 55 w 305"/>
                <a:gd name="T11" fmla="*/ 0 h 538"/>
                <a:gd name="T12" fmla="*/ 0 w 305"/>
                <a:gd name="T13" fmla="*/ 0 h 538"/>
              </a:gdLst>
              <a:ahLst/>
              <a:cxnLst>
                <a:cxn ang="0">
                  <a:pos x="T0" y="T1"/>
                </a:cxn>
                <a:cxn ang="0">
                  <a:pos x="T2" y="T3"/>
                </a:cxn>
                <a:cxn ang="0">
                  <a:pos x="T4" y="T5"/>
                </a:cxn>
                <a:cxn ang="0">
                  <a:pos x="T6" y="T7"/>
                </a:cxn>
                <a:cxn ang="0">
                  <a:pos x="T8" y="T9"/>
                </a:cxn>
                <a:cxn ang="0">
                  <a:pos x="T10" y="T11"/>
                </a:cxn>
                <a:cxn ang="0">
                  <a:pos x="T12" y="T13"/>
                </a:cxn>
              </a:cxnLst>
              <a:rect l="0" t="0" r="r" b="b"/>
              <a:pathLst>
                <a:path w="305" h="538">
                  <a:moveTo>
                    <a:pt x="0" y="0"/>
                  </a:moveTo>
                  <a:lnTo>
                    <a:pt x="0" y="538"/>
                  </a:lnTo>
                  <a:lnTo>
                    <a:pt x="305" y="538"/>
                  </a:lnTo>
                  <a:lnTo>
                    <a:pt x="305" y="488"/>
                  </a:lnTo>
                  <a:lnTo>
                    <a:pt x="55" y="488"/>
                  </a:lnTo>
                  <a:lnTo>
                    <a:pt x="55"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22" name="Freeform 8">
              <a:extLst>
                <a:ext uri="{FF2B5EF4-FFF2-40B4-BE49-F238E27FC236}">
                  <a16:creationId xmlns:a16="http://schemas.microsoft.com/office/drawing/2014/main" id="{99AEA120-CF54-48F5-BF11-5391371ECA70}"/>
                </a:ext>
              </a:extLst>
            </p:cNvPr>
            <p:cNvSpPr>
              <a:spLocks noEditPoints="1"/>
            </p:cNvSpPr>
            <p:nvPr/>
          </p:nvSpPr>
          <p:spPr bwMode="auto">
            <a:xfrm>
              <a:off x="2997" y="1874"/>
              <a:ext cx="561" cy="565"/>
            </a:xfrm>
            <a:custGeom>
              <a:avLst/>
              <a:gdLst>
                <a:gd name="T0" fmla="*/ 448 w 896"/>
                <a:gd name="T1" fmla="*/ 80 h 903"/>
                <a:gd name="T2" fmla="*/ 95 w 896"/>
                <a:gd name="T3" fmla="*/ 452 h 903"/>
                <a:gd name="T4" fmla="*/ 448 w 896"/>
                <a:gd name="T5" fmla="*/ 823 h 903"/>
                <a:gd name="T6" fmla="*/ 801 w 896"/>
                <a:gd name="T7" fmla="*/ 452 h 903"/>
                <a:gd name="T8" fmla="*/ 448 w 896"/>
                <a:gd name="T9" fmla="*/ 80 h 903"/>
                <a:gd name="T10" fmla="*/ 448 w 896"/>
                <a:gd name="T11" fmla="*/ 903 h 903"/>
                <a:gd name="T12" fmla="*/ 0 w 896"/>
                <a:gd name="T13" fmla="*/ 452 h 903"/>
                <a:gd name="T14" fmla="*/ 448 w 896"/>
                <a:gd name="T15" fmla="*/ 0 h 903"/>
                <a:gd name="T16" fmla="*/ 896 w 896"/>
                <a:gd name="T17" fmla="*/ 452 h 903"/>
                <a:gd name="T18" fmla="*/ 448 w 896"/>
                <a:gd name="T19" fmla="*/ 903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6" h="903">
                  <a:moveTo>
                    <a:pt x="448" y="80"/>
                  </a:moveTo>
                  <a:cubicBezTo>
                    <a:pt x="227" y="80"/>
                    <a:pt x="95" y="254"/>
                    <a:pt x="95" y="452"/>
                  </a:cubicBezTo>
                  <a:cubicBezTo>
                    <a:pt x="95" y="649"/>
                    <a:pt x="227" y="823"/>
                    <a:pt x="448" y="823"/>
                  </a:cubicBezTo>
                  <a:cubicBezTo>
                    <a:pt x="669" y="823"/>
                    <a:pt x="801" y="649"/>
                    <a:pt x="801" y="452"/>
                  </a:cubicBezTo>
                  <a:cubicBezTo>
                    <a:pt x="801" y="254"/>
                    <a:pt x="669" y="80"/>
                    <a:pt x="448" y="80"/>
                  </a:cubicBezTo>
                  <a:moveTo>
                    <a:pt x="448" y="903"/>
                  </a:moveTo>
                  <a:cubicBezTo>
                    <a:pt x="192" y="903"/>
                    <a:pt x="0" y="712"/>
                    <a:pt x="0" y="452"/>
                  </a:cubicBezTo>
                  <a:cubicBezTo>
                    <a:pt x="0" y="191"/>
                    <a:pt x="192" y="0"/>
                    <a:pt x="448" y="0"/>
                  </a:cubicBezTo>
                  <a:cubicBezTo>
                    <a:pt x="704" y="0"/>
                    <a:pt x="896" y="191"/>
                    <a:pt x="896" y="452"/>
                  </a:cubicBezTo>
                  <a:cubicBezTo>
                    <a:pt x="896" y="712"/>
                    <a:pt x="704" y="903"/>
                    <a:pt x="448" y="90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23" name="Freeform 9">
              <a:extLst>
                <a:ext uri="{FF2B5EF4-FFF2-40B4-BE49-F238E27FC236}">
                  <a16:creationId xmlns:a16="http://schemas.microsoft.com/office/drawing/2014/main" id="{38DF2852-0A8E-49FE-BDD2-2B742DE98460}"/>
                </a:ext>
              </a:extLst>
            </p:cNvPr>
            <p:cNvSpPr>
              <a:spLocks/>
            </p:cNvSpPr>
            <p:nvPr/>
          </p:nvSpPr>
          <p:spPr bwMode="auto">
            <a:xfrm>
              <a:off x="4182" y="1888"/>
              <a:ext cx="503" cy="538"/>
            </a:xfrm>
            <a:custGeom>
              <a:avLst/>
              <a:gdLst>
                <a:gd name="T0" fmla="*/ 0 w 503"/>
                <a:gd name="T1" fmla="*/ 0 h 538"/>
                <a:gd name="T2" fmla="*/ 119 w 503"/>
                <a:gd name="T3" fmla="*/ 0 h 538"/>
                <a:gd name="T4" fmla="*/ 119 w 503"/>
                <a:gd name="T5" fmla="*/ 243 h 538"/>
                <a:gd name="T6" fmla="*/ 327 w 503"/>
                <a:gd name="T7" fmla="*/ 0 h 538"/>
                <a:gd name="T8" fmla="*/ 482 w 503"/>
                <a:gd name="T9" fmla="*/ 0 h 538"/>
                <a:gd name="T10" fmla="*/ 243 w 503"/>
                <a:gd name="T11" fmla="*/ 270 h 538"/>
                <a:gd name="T12" fmla="*/ 503 w 503"/>
                <a:gd name="T13" fmla="*/ 538 h 538"/>
                <a:gd name="T14" fmla="*/ 337 w 503"/>
                <a:gd name="T15" fmla="*/ 538 h 538"/>
                <a:gd name="T16" fmla="*/ 119 w 503"/>
                <a:gd name="T17" fmla="*/ 302 h 538"/>
                <a:gd name="T18" fmla="*/ 119 w 503"/>
                <a:gd name="T19" fmla="*/ 538 h 538"/>
                <a:gd name="T20" fmla="*/ 0 w 503"/>
                <a:gd name="T21" fmla="*/ 538 h 538"/>
                <a:gd name="T22" fmla="*/ 0 w 503"/>
                <a:gd name="T23"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3" h="538">
                  <a:moveTo>
                    <a:pt x="0" y="0"/>
                  </a:moveTo>
                  <a:lnTo>
                    <a:pt x="119" y="0"/>
                  </a:lnTo>
                  <a:lnTo>
                    <a:pt x="119" y="243"/>
                  </a:lnTo>
                  <a:lnTo>
                    <a:pt x="327" y="0"/>
                  </a:lnTo>
                  <a:lnTo>
                    <a:pt x="482" y="0"/>
                  </a:lnTo>
                  <a:lnTo>
                    <a:pt x="243" y="270"/>
                  </a:lnTo>
                  <a:lnTo>
                    <a:pt x="503" y="538"/>
                  </a:lnTo>
                  <a:lnTo>
                    <a:pt x="337" y="538"/>
                  </a:lnTo>
                  <a:lnTo>
                    <a:pt x="119" y="302"/>
                  </a:lnTo>
                  <a:lnTo>
                    <a:pt x="119" y="538"/>
                  </a:lnTo>
                  <a:lnTo>
                    <a:pt x="0" y="53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24" name="Rectangle 10">
              <a:extLst>
                <a:ext uri="{FF2B5EF4-FFF2-40B4-BE49-F238E27FC236}">
                  <a16:creationId xmlns:a16="http://schemas.microsoft.com/office/drawing/2014/main" id="{2B752DEC-79E9-4690-A0A0-3FBBBA423250}"/>
                </a:ext>
              </a:extLst>
            </p:cNvPr>
            <p:cNvSpPr>
              <a:spLocks noChangeArrowheads="1"/>
            </p:cNvSpPr>
            <p:nvPr/>
          </p:nvSpPr>
          <p:spPr bwMode="auto">
            <a:xfrm>
              <a:off x="4743" y="1888"/>
              <a:ext cx="118" cy="5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25" name="Freeform 11">
              <a:extLst>
                <a:ext uri="{FF2B5EF4-FFF2-40B4-BE49-F238E27FC236}">
                  <a16:creationId xmlns:a16="http://schemas.microsoft.com/office/drawing/2014/main" id="{7AE7A572-E336-4C83-BDA6-9B0E52C1C02D}"/>
                </a:ext>
              </a:extLst>
            </p:cNvPr>
            <p:cNvSpPr>
              <a:spLocks/>
            </p:cNvSpPr>
            <p:nvPr/>
          </p:nvSpPr>
          <p:spPr bwMode="auto">
            <a:xfrm>
              <a:off x="4980" y="1888"/>
              <a:ext cx="509" cy="538"/>
            </a:xfrm>
            <a:custGeom>
              <a:avLst/>
              <a:gdLst>
                <a:gd name="T0" fmla="*/ 0 w 509"/>
                <a:gd name="T1" fmla="*/ 0 h 538"/>
                <a:gd name="T2" fmla="*/ 160 w 509"/>
                <a:gd name="T3" fmla="*/ 0 h 538"/>
                <a:gd name="T4" fmla="*/ 389 w 509"/>
                <a:gd name="T5" fmla="*/ 374 h 538"/>
                <a:gd name="T6" fmla="*/ 391 w 509"/>
                <a:gd name="T7" fmla="*/ 374 h 538"/>
                <a:gd name="T8" fmla="*/ 391 w 509"/>
                <a:gd name="T9" fmla="*/ 0 h 538"/>
                <a:gd name="T10" fmla="*/ 509 w 509"/>
                <a:gd name="T11" fmla="*/ 0 h 538"/>
                <a:gd name="T12" fmla="*/ 509 w 509"/>
                <a:gd name="T13" fmla="*/ 538 h 538"/>
                <a:gd name="T14" fmla="*/ 354 w 509"/>
                <a:gd name="T15" fmla="*/ 538 h 538"/>
                <a:gd name="T16" fmla="*/ 120 w 509"/>
                <a:gd name="T17" fmla="*/ 155 h 538"/>
                <a:gd name="T18" fmla="*/ 118 w 509"/>
                <a:gd name="T19" fmla="*/ 155 h 538"/>
                <a:gd name="T20" fmla="*/ 118 w 509"/>
                <a:gd name="T21" fmla="*/ 538 h 538"/>
                <a:gd name="T22" fmla="*/ 0 w 509"/>
                <a:gd name="T23" fmla="*/ 538 h 538"/>
                <a:gd name="T24" fmla="*/ 0 w 509"/>
                <a:gd name="T25"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9" h="538">
                  <a:moveTo>
                    <a:pt x="0" y="0"/>
                  </a:moveTo>
                  <a:lnTo>
                    <a:pt x="160" y="0"/>
                  </a:lnTo>
                  <a:lnTo>
                    <a:pt x="389" y="374"/>
                  </a:lnTo>
                  <a:lnTo>
                    <a:pt x="391" y="374"/>
                  </a:lnTo>
                  <a:lnTo>
                    <a:pt x="391" y="0"/>
                  </a:lnTo>
                  <a:lnTo>
                    <a:pt x="509" y="0"/>
                  </a:lnTo>
                  <a:lnTo>
                    <a:pt x="509" y="538"/>
                  </a:lnTo>
                  <a:lnTo>
                    <a:pt x="354" y="538"/>
                  </a:lnTo>
                  <a:lnTo>
                    <a:pt x="120" y="155"/>
                  </a:lnTo>
                  <a:lnTo>
                    <a:pt x="118" y="155"/>
                  </a:lnTo>
                  <a:lnTo>
                    <a:pt x="118" y="538"/>
                  </a:lnTo>
                  <a:lnTo>
                    <a:pt x="0" y="53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26" name="Freeform 12">
              <a:extLst>
                <a:ext uri="{FF2B5EF4-FFF2-40B4-BE49-F238E27FC236}">
                  <a16:creationId xmlns:a16="http://schemas.microsoft.com/office/drawing/2014/main" id="{005E76D6-C2C1-494C-9CF4-E975FD4C9CF7}"/>
                </a:ext>
              </a:extLst>
            </p:cNvPr>
            <p:cNvSpPr>
              <a:spLocks/>
            </p:cNvSpPr>
            <p:nvPr/>
          </p:nvSpPr>
          <p:spPr bwMode="auto">
            <a:xfrm>
              <a:off x="5608" y="1888"/>
              <a:ext cx="378" cy="538"/>
            </a:xfrm>
            <a:custGeom>
              <a:avLst/>
              <a:gdLst>
                <a:gd name="T0" fmla="*/ 0 w 378"/>
                <a:gd name="T1" fmla="*/ 0 h 538"/>
                <a:gd name="T2" fmla="*/ 0 w 378"/>
                <a:gd name="T3" fmla="*/ 538 h 538"/>
                <a:gd name="T4" fmla="*/ 378 w 378"/>
                <a:gd name="T5" fmla="*/ 538 h 538"/>
                <a:gd name="T6" fmla="*/ 378 w 378"/>
                <a:gd name="T7" fmla="*/ 433 h 538"/>
                <a:gd name="T8" fmla="*/ 118 w 378"/>
                <a:gd name="T9" fmla="*/ 433 h 538"/>
                <a:gd name="T10" fmla="*/ 118 w 378"/>
                <a:gd name="T11" fmla="*/ 319 h 538"/>
                <a:gd name="T12" fmla="*/ 351 w 378"/>
                <a:gd name="T13" fmla="*/ 319 h 538"/>
                <a:gd name="T14" fmla="*/ 351 w 378"/>
                <a:gd name="T15" fmla="*/ 210 h 538"/>
                <a:gd name="T16" fmla="*/ 118 w 378"/>
                <a:gd name="T17" fmla="*/ 210 h 538"/>
                <a:gd name="T18" fmla="*/ 118 w 378"/>
                <a:gd name="T19" fmla="*/ 105 h 538"/>
                <a:gd name="T20" fmla="*/ 364 w 378"/>
                <a:gd name="T21" fmla="*/ 105 h 538"/>
                <a:gd name="T22" fmla="*/ 364 w 378"/>
                <a:gd name="T23" fmla="*/ 0 h 538"/>
                <a:gd name="T24" fmla="*/ 0 w 378"/>
                <a:gd name="T25"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8" h="538">
                  <a:moveTo>
                    <a:pt x="0" y="0"/>
                  </a:moveTo>
                  <a:lnTo>
                    <a:pt x="0" y="538"/>
                  </a:lnTo>
                  <a:lnTo>
                    <a:pt x="378" y="538"/>
                  </a:lnTo>
                  <a:lnTo>
                    <a:pt x="378" y="433"/>
                  </a:lnTo>
                  <a:lnTo>
                    <a:pt x="118" y="433"/>
                  </a:lnTo>
                  <a:lnTo>
                    <a:pt x="118" y="319"/>
                  </a:lnTo>
                  <a:lnTo>
                    <a:pt x="351" y="319"/>
                  </a:lnTo>
                  <a:lnTo>
                    <a:pt x="351" y="210"/>
                  </a:lnTo>
                  <a:lnTo>
                    <a:pt x="118" y="210"/>
                  </a:lnTo>
                  <a:lnTo>
                    <a:pt x="118" y="105"/>
                  </a:lnTo>
                  <a:lnTo>
                    <a:pt x="364" y="105"/>
                  </a:lnTo>
                  <a:lnTo>
                    <a:pt x="364"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27" name="Freeform 13">
              <a:extLst>
                <a:ext uri="{FF2B5EF4-FFF2-40B4-BE49-F238E27FC236}">
                  <a16:creationId xmlns:a16="http://schemas.microsoft.com/office/drawing/2014/main" id="{B21D3D1A-E9E0-4884-884F-492A6AB4F231}"/>
                </a:ext>
              </a:extLst>
            </p:cNvPr>
            <p:cNvSpPr>
              <a:spLocks/>
            </p:cNvSpPr>
            <p:nvPr/>
          </p:nvSpPr>
          <p:spPr bwMode="auto">
            <a:xfrm>
              <a:off x="6052" y="1888"/>
              <a:ext cx="424" cy="538"/>
            </a:xfrm>
            <a:custGeom>
              <a:avLst/>
              <a:gdLst>
                <a:gd name="T0" fmla="*/ 0 w 424"/>
                <a:gd name="T1" fmla="*/ 0 h 538"/>
                <a:gd name="T2" fmla="*/ 0 w 424"/>
                <a:gd name="T3" fmla="*/ 105 h 538"/>
                <a:gd name="T4" fmla="*/ 152 w 424"/>
                <a:gd name="T5" fmla="*/ 105 h 538"/>
                <a:gd name="T6" fmla="*/ 152 w 424"/>
                <a:gd name="T7" fmla="*/ 538 h 538"/>
                <a:gd name="T8" fmla="*/ 271 w 424"/>
                <a:gd name="T9" fmla="*/ 538 h 538"/>
                <a:gd name="T10" fmla="*/ 271 w 424"/>
                <a:gd name="T11" fmla="*/ 105 h 538"/>
                <a:gd name="T12" fmla="*/ 424 w 424"/>
                <a:gd name="T13" fmla="*/ 105 h 538"/>
                <a:gd name="T14" fmla="*/ 424 w 424"/>
                <a:gd name="T15" fmla="*/ 0 h 538"/>
                <a:gd name="T16" fmla="*/ 0 w 424"/>
                <a:gd name="T17"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4" h="538">
                  <a:moveTo>
                    <a:pt x="0" y="0"/>
                  </a:moveTo>
                  <a:lnTo>
                    <a:pt x="0" y="105"/>
                  </a:lnTo>
                  <a:lnTo>
                    <a:pt x="152" y="105"/>
                  </a:lnTo>
                  <a:lnTo>
                    <a:pt x="152" y="538"/>
                  </a:lnTo>
                  <a:lnTo>
                    <a:pt x="271" y="538"/>
                  </a:lnTo>
                  <a:lnTo>
                    <a:pt x="271" y="105"/>
                  </a:lnTo>
                  <a:lnTo>
                    <a:pt x="424" y="105"/>
                  </a:lnTo>
                  <a:lnTo>
                    <a:pt x="424"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28" name="Rectangle 14">
              <a:extLst>
                <a:ext uri="{FF2B5EF4-FFF2-40B4-BE49-F238E27FC236}">
                  <a16:creationId xmlns:a16="http://schemas.microsoft.com/office/drawing/2014/main" id="{D4874F0E-D8D1-4B21-B17D-6C8BFFACB223}"/>
                </a:ext>
              </a:extLst>
            </p:cNvPr>
            <p:cNvSpPr>
              <a:spLocks noChangeArrowheads="1"/>
            </p:cNvSpPr>
            <p:nvPr/>
          </p:nvSpPr>
          <p:spPr bwMode="auto">
            <a:xfrm>
              <a:off x="6554" y="1888"/>
              <a:ext cx="119" cy="5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29" name="Freeform 15">
              <a:extLst>
                <a:ext uri="{FF2B5EF4-FFF2-40B4-BE49-F238E27FC236}">
                  <a16:creationId xmlns:a16="http://schemas.microsoft.com/office/drawing/2014/main" id="{09F13DA2-ACD8-46BB-AFA6-FB20A53BBE33}"/>
                </a:ext>
              </a:extLst>
            </p:cNvPr>
            <p:cNvSpPr>
              <a:spLocks noEditPoints="1"/>
            </p:cNvSpPr>
            <p:nvPr/>
          </p:nvSpPr>
          <p:spPr bwMode="auto">
            <a:xfrm>
              <a:off x="3658" y="1888"/>
              <a:ext cx="383" cy="538"/>
            </a:xfrm>
            <a:custGeom>
              <a:avLst/>
              <a:gdLst>
                <a:gd name="T0" fmla="*/ 87 w 613"/>
                <a:gd name="T1" fmla="*/ 376 h 859"/>
                <a:gd name="T2" fmla="*/ 278 w 613"/>
                <a:gd name="T3" fmla="*/ 376 h 859"/>
                <a:gd name="T4" fmla="*/ 462 w 613"/>
                <a:gd name="T5" fmla="*/ 228 h 859"/>
                <a:gd name="T6" fmla="*/ 278 w 613"/>
                <a:gd name="T7" fmla="*/ 82 h 859"/>
                <a:gd name="T8" fmla="*/ 87 w 613"/>
                <a:gd name="T9" fmla="*/ 82 h 859"/>
                <a:gd name="T10" fmla="*/ 87 w 613"/>
                <a:gd name="T11" fmla="*/ 376 h 859"/>
                <a:gd name="T12" fmla="*/ 497 w 613"/>
                <a:gd name="T13" fmla="*/ 859 h 859"/>
                <a:gd name="T14" fmla="*/ 87 w 613"/>
                <a:gd name="T15" fmla="*/ 428 h 859"/>
                <a:gd name="T16" fmla="*/ 87 w 613"/>
                <a:gd name="T17" fmla="*/ 859 h 859"/>
                <a:gd name="T18" fmla="*/ 0 w 613"/>
                <a:gd name="T19" fmla="*/ 859 h 859"/>
                <a:gd name="T20" fmla="*/ 0 w 613"/>
                <a:gd name="T21" fmla="*/ 0 h 859"/>
                <a:gd name="T22" fmla="*/ 270 w 613"/>
                <a:gd name="T23" fmla="*/ 0 h 859"/>
                <a:gd name="T24" fmla="*/ 555 w 613"/>
                <a:gd name="T25" fmla="*/ 228 h 859"/>
                <a:gd name="T26" fmla="*/ 270 w 613"/>
                <a:gd name="T27" fmla="*/ 453 h 859"/>
                <a:gd name="T28" fmla="*/ 222 w 613"/>
                <a:gd name="T29" fmla="*/ 453 h 859"/>
                <a:gd name="T30" fmla="*/ 613 w 613"/>
                <a:gd name="T31" fmla="*/ 859 h 859"/>
                <a:gd name="T32" fmla="*/ 497 w 613"/>
                <a:gd name="T33" fmla="*/ 859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13" h="859">
                  <a:moveTo>
                    <a:pt x="87" y="376"/>
                  </a:moveTo>
                  <a:cubicBezTo>
                    <a:pt x="278" y="376"/>
                    <a:pt x="278" y="376"/>
                    <a:pt x="278" y="376"/>
                  </a:cubicBezTo>
                  <a:cubicBezTo>
                    <a:pt x="396" y="376"/>
                    <a:pt x="462" y="328"/>
                    <a:pt x="462" y="228"/>
                  </a:cubicBezTo>
                  <a:cubicBezTo>
                    <a:pt x="462" y="129"/>
                    <a:pt x="396" y="82"/>
                    <a:pt x="278" y="82"/>
                  </a:cubicBezTo>
                  <a:cubicBezTo>
                    <a:pt x="87" y="82"/>
                    <a:pt x="87" y="82"/>
                    <a:pt x="87" y="82"/>
                  </a:cubicBezTo>
                  <a:lnTo>
                    <a:pt x="87" y="376"/>
                  </a:lnTo>
                  <a:close/>
                  <a:moveTo>
                    <a:pt x="497" y="859"/>
                  </a:moveTo>
                  <a:cubicBezTo>
                    <a:pt x="87" y="428"/>
                    <a:pt x="87" y="428"/>
                    <a:pt x="87" y="428"/>
                  </a:cubicBezTo>
                  <a:cubicBezTo>
                    <a:pt x="87" y="859"/>
                    <a:pt x="87" y="859"/>
                    <a:pt x="87" y="859"/>
                  </a:cubicBezTo>
                  <a:cubicBezTo>
                    <a:pt x="0" y="859"/>
                    <a:pt x="0" y="859"/>
                    <a:pt x="0" y="859"/>
                  </a:cubicBezTo>
                  <a:cubicBezTo>
                    <a:pt x="0" y="0"/>
                    <a:pt x="0" y="0"/>
                    <a:pt x="0" y="0"/>
                  </a:cubicBezTo>
                  <a:cubicBezTo>
                    <a:pt x="270" y="0"/>
                    <a:pt x="270" y="0"/>
                    <a:pt x="270" y="0"/>
                  </a:cubicBezTo>
                  <a:cubicBezTo>
                    <a:pt x="457" y="0"/>
                    <a:pt x="555" y="91"/>
                    <a:pt x="555" y="228"/>
                  </a:cubicBezTo>
                  <a:cubicBezTo>
                    <a:pt x="555" y="367"/>
                    <a:pt x="457" y="453"/>
                    <a:pt x="270" y="453"/>
                  </a:cubicBezTo>
                  <a:cubicBezTo>
                    <a:pt x="222" y="453"/>
                    <a:pt x="222" y="453"/>
                    <a:pt x="222" y="453"/>
                  </a:cubicBezTo>
                  <a:cubicBezTo>
                    <a:pt x="613" y="859"/>
                    <a:pt x="613" y="859"/>
                    <a:pt x="613" y="859"/>
                  </a:cubicBezTo>
                  <a:lnTo>
                    <a:pt x="497" y="8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30" name="Freeform 16">
              <a:extLst>
                <a:ext uri="{FF2B5EF4-FFF2-40B4-BE49-F238E27FC236}">
                  <a16:creationId xmlns:a16="http://schemas.microsoft.com/office/drawing/2014/main" id="{0FCE92F8-0CB6-4C7E-95FD-BEDB676C1AE9}"/>
                </a:ext>
              </a:extLst>
            </p:cNvPr>
            <p:cNvSpPr>
              <a:spLocks/>
            </p:cNvSpPr>
            <p:nvPr/>
          </p:nvSpPr>
          <p:spPr bwMode="auto">
            <a:xfrm>
              <a:off x="6752" y="1881"/>
              <a:ext cx="476" cy="558"/>
            </a:xfrm>
            <a:custGeom>
              <a:avLst/>
              <a:gdLst>
                <a:gd name="T0" fmla="*/ 0 w 761"/>
                <a:gd name="T1" fmla="*/ 447 h 893"/>
                <a:gd name="T2" fmla="*/ 417 w 761"/>
                <a:gd name="T3" fmla="*/ 0 h 893"/>
                <a:gd name="T4" fmla="*/ 747 w 761"/>
                <a:gd name="T5" fmla="*/ 181 h 893"/>
                <a:gd name="T6" fmla="*/ 614 w 761"/>
                <a:gd name="T7" fmla="*/ 285 h 893"/>
                <a:gd name="T8" fmla="*/ 421 w 761"/>
                <a:gd name="T9" fmla="*/ 178 h 893"/>
                <a:gd name="T10" fmla="*/ 197 w 761"/>
                <a:gd name="T11" fmla="*/ 447 h 893"/>
                <a:gd name="T12" fmla="*/ 427 w 761"/>
                <a:gd name="T13" fmla="*/ 715 h 893"/>
                <a:gd name="T14" fmla="*/ 623 w 761"/>
                <a:gd name="T15" fmla="*/ 608 h 893"/>
                <a:gd name="T16" fmla="*/ 761 w 761"/>
                <a:gd name="T17" fmla="*/ 715 h 893"/>
                <a:gd name="T18" fmla="*/ 423 w 761"/>
                <a:gd name="T19" fmla="*/ 893 h 893"/>
                <a:gd name="T20" fmla="*/ 0 w 761"/>
                <a:gd name="T21" fmla="*/ 447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1" h="893">
                  <a:moveTo>
                    <a:pt x="0" y="447"/>
                  </a:moveTo>
                  <a:cubicBezTo>
                    <a:pt x="0" y="177"/>
                    <a:pt x="160" y="0"/>
                    <a:pt x="417" y="0"/>
                  </a:cubicBezTo>
                  <a:cubicBezTo>
                    <a:pt x="582" y="0"/>
                    <a:pt x="698" y="79"/>
                    <a:pt x="747" y="181"/>
                  </a:cubicBezTo>
                  <a:cubicBezTo>
                    <a:pt x="614" y="285"/>
                    <a:pt x="614" y="285"/>
                    <a:pt x="614" y="285"/>
                  </a:cubicBezTo>
                  <a:cubicBezTo>
                    <a:pt x="570" y="211"/>
                    <a:pt x="493" y="178"/>
                    <a:pt x="421" y="178"/>
                  </a:cubicBezTo>
                  <a:cubicBezTo>
                    <a:pt x="295" y="178"/>
                    <a:pt x="197" y="269"/>
                    <a:pt x="197" y="447"/>
                  </a:cubicBezTo>
                  <a:cubicBezTo>
                    <a:pt x="197" y="614"/>
                    <a:pt x="300" y="715"/>
                    <a:pt x="427" y="715"/>
                  </a:cubicBezTo>
                  <a:cubicBezTo>
                    <a:pt x="500" y="715"/>
                    <a:pt x="579" y="682"/>
                    <a:pt x="623" y="608"/>
                  </a:cubicBezTo>
                  <a:cubicBezTo>
                    <a:pt x="761" y="715"/>
                    <a:pt x="761" y="715"/>
                    <a:pt x="761" y="715"/>
                  </a:cubicBezTo>
                  <a:cubicBezTo>
                    <a:pt x="699" y="819"/>
                    <a:pt x="590" y="893"/>
                    <a:pt x="423" y="893"/>
                  </a:cubicBezTo>
                  <a:cubicBezTo>
                    <a:pt x="163" y="893"/>
                    <a:pt x="0" y="716"/>
                    <a:pt x="0" y="44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31" name="Freeform 17">
              <a:extLst>
                <a:ext uri="{FF2B5EF4-FFF2-40B4-BE49-F238E27FC236}">
                  <a16:creationId xmlns:a16="http://schemas.microsoft.com/office/drawing/2014/main" id="{D191AE23-8810-45AE-BD8E-C77B7ADF0A55}"/>
                </a:ext>
              </a:extLst>
            </p:cNvPr>
            <p:cNvSpPr>
              <a:spLocks/>
            </p:cNvSpPr>
            <p:nvPr/>
          </p:nvSpPr>
          <p:spPr bwMode="auto">
            <a:xfrm>
              <a:off x="7271" y="1874"/>
              <a:ext cx="409" cy="565"/>
            </a:xfrm>
            <a:custGeom>
              <a:avLst/>
              <a:gdLst>
                <a:gd name="T0" fmla="*/ 404 w 654"/>
                <a:gd name="T1" fmla="*/ 376 h 903"/>
                <a:gd name="T2" fmla="*/ 287 w 654"/>
                <a:gd name="T3" fmla="*/ 354 h 903"/>
                <a:gd name="T4" fmla="*/ 202 w 654"/>
                <a:gd name="T5" fmla="*/ 264 h 903"/>
                <a:gd name="T6" fmla="*/ 321 w 654"/>
                <a:gd name="T7" fmla="*/ 171 h 903"/>
                <a:gd name="T8" fmla="*/ 478 w 654"/>
                <a:gd name="T9" fmla="*/ 270 h 903"/>
                <a:gd name="T10" fmla="*/ 617 w 654"/>
                <a:gd name="T11" fmla="*/ 163 h 903"/>
                <a:gd name="T12" fmla="*/ 322 w 654"/>
                <a:gd name="T13" fmla="*/ 0 h 903"/>
                <a:gd name="T14" fmla="*/ 12 w 654"/>
                <a:gd name="T15" fmla="*/ 279 h 903"/>
                <a:gd name="T16" fmla="*/ 247 w 654"/>
                <a:gd name="T17" fmla="*/ 523 h 903"/>
                <a:gd name="T18" fmla="*/ 366 w 654"/>
                <a:gd name="T19" fmla="*/ 546 h 903"/>
                <a:gd name="T20" fmla="*/ 459 w 654"/>
                <a:gd name="T21" fmla="*/ 642 h 903"/>
                <a:gd name="T22" fmla="*/ 336 w 654"/>
                <a:gd name="T23" fmla="*/ 734 h 903"/>
                <a:gd name="T24" fmla="*/ 143 w 654"/>
                <a:gd name="T25" fmla="*/ 594 h 903"/>
                <a:gd name="T26" fmla="*/ 0 w 654"/>
                <a:gd name="T27" fmla="*/ 704 h 903"/>
                <a:gd name="T28" fmla="*/ 334 w 654"/>
                <a:gd name="T29" fmla="*/ 903 h 903"/>
                <a:gd name="T30" fmla="*/ 654 w 654"/>
                <a:gd name="T31" fmla="*/ 629 h 903"/>
                <a:gd name="T32" fmla="*/ 404 w 654"/>
                <a:gd name="T33" fmla="*/ 376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4" h="903">
                  <a:moveTo>
                    <a:pt x="404" y="376"/>
                  </a:moveTo>
                  <a:cubicBezTo>
                    <a:pt x="287" y="354"/>
                    <a:pt x="287" y="354"/>
                    <a:pt x="287" y="354"/>
                  </a:cubicBezTo>
                  <a:cubicBezTo>
                    <a:pt x="228" y="344"/>
                    <a:pt x="202" y="305"/>
                    <a:pt x="202" y="264"/>
                  </a:cubicBezTo>
                  <a:cubicBezTo>
                    <a:pt x="202" y="216"/>
                    <a:pt x="249" y="171"/>
                    <a:pt x="321" y="171"/>
                  </a:cubicBezTo>
                  <a:cubicBezTo>
                    <a:pt x="403" y="171"/>
                    <a:pt x="451" y="222"/>
                    <a:pt x="478" y="270"/>
                  </a:cubicBezTo>
                  <a:cubicBezTo>
                    <a:pt x="617" y="163"/>
                    <a:pt x="617" y="163"/>
                    <a:pt x="617" y="163"/>
                  </a:cubicBezTo>
                  <a:cubicBezTo>
                    <a:pt x="578" y="79"/>
                    <a:pt x="491" y="0"/>
                    <a:pt x="322" y="0"/>
                  </a:cubicBezTo>
                  <a:cubicBezTo>
                    <a:pt x="156" y="0"/>
                    <a:pt x="12" y="115"/>
                    <a:pt x="12" y="279"/>
                  </a:cubicBezTo>
                  <a:cubicBezTo>
                    <a:pt x="12" y="407"/>
                    <a:pt x="101" y="496"/>
                    <a:pt x="247" y="523"/>
                  </a:cubicBezTo>
                  <a:cubicBezTo>
                    <a:pt x="366" y="546"/>
                    <a:pt x="366" y="546"/>
                    <a:pt x="366" y="546"/>
                  </a:cubicBezTo>
                  <a:cubicBezTo>
                    <a:pt x="423" y="557"/>
                    <a:pt x="459" y="597"/>
                    <a:pt x="459" y="642"/>
                  </a:cubicBezTo>
                  <a:cubicBezTo>
                    <a:pt x="459" y="695"/>
                    <a:pt x="413" y="734"/>
                    <a:pt x="336" y="734"/>
                  </a:cubicBezTo>
                  <a:cubicBezTo>
                    <a:pt x="219" y="734"/>
                    <a:pt x="161" y="649"/>
                    <a:pt x="143" y="594"/>
                  </a:cubicBezTo>
                  <a:cubicBezTo>
                    <a:pt x="0" y="704"/>
                    <a:pt x="0" y="704"/>
                    <a:pt x="0" y="704"/>
                  </a:cubicBezTo>
                  <a:cubicBezTo>
                    <a:pt x="41" y="806"/>
                    <a:pt x="144" y="903"/>
                    <a:pt x="334" y="903"/>
                  </a:cubicBezTo>
                  <a:cubicBezTo>
                    <a:pt x="541" y="903"/>
                    <a:pt x="654" y="765"/>
                    <a:pt x="654" y="629"/>
                  </a:cubicBezTo>
                  <a:cubicBezTo>
                    <a:pt x="654" y="506"/>
                    <a:pt x="569" y="407"/>
                    <a:pt x="404" y="37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32" name="Freeform 18">
              <a:extLst>
                <a:ext uri="{FF2B5EF4-FFF2-40B4-BE49-F238E27FC236}">
                  <a16:creationId xmlns:a16="http://schemas.microsoft.com/office/drawing/2014/main" id="{AB398A49-2CB9-4E19-A099-5B122098B9F1}"/>
                </a:ext>
              </a:extLst>
            </p:cNvPr>
            <p:cNvSpPr>
              <a:spLocks/>
            </p:cNvSpPr>
            <p:nvPr/>
          </p:nvSpPr>
          <p:spPr bwMode="auto">
            <a:xfrm>
              <a:off x="0" y="1622"/>
              <a:ext cx="857" cy="1076"/>
            </a:xfrm>
            <a:custGeom>
              <a:avLst/>
              <a:gdLst>
                <a:gd name="T0" fmla="*/ 859 w 1370"/>
                <a:gd name="T1" fmla="*/ 1020 h 1719"/>
                <a:gd name="T2" fmla="*/ 859 w 1370"/>
                <a:gd name="T3" fmla="*/ 1336 h 1719"/>
                <a:gd name="T4" fmla="*/ 383 w 1370"/>
                <a:gd name="T5" fmla="*/ 860 h 1719"/>
                <a:gd name="T6" fmla="*/ 859 w 1370"/>
                <a:gd name="T7" fmla="*/ 384 h 1719"/>
                <a:gd name="T8" fmla="*/ 859 w 1370"/>
                <a:gd name="T9" fmla="*/ 714 h 1719"/>
                <a:gd name="T10" fmla="*/ 1370 w 1370"/>
                <a:gd name="T11" fmla="*/ 169 h 1719"/>
                <a:gd name="T12" fmla="*/ 859 w 1370"/>
                <a:gd name="T13" fmla="*/ 0 h 1719"/>
                <a:gd name="T14" fmla="*/ 0 w 1370"/>
                <a:gd name="T15" fmla="*/ 860 h 1719"/>
                <a:gd name="T16" fmla="*/ 859 w 1370"/>
                <a:gd name="T17" fmla="*/ 1719 h 1719"/>
                <a:gd name="T18" fmla="*/ 1335 w 1370"/>
                <a:gd name="T19" fmla="*/ 1575 h 1719"/>
                <a:gd name="T20" fmla="*/ 859 w 1370"/>
                <a:gd name="T21" fmla="*/ 1020 h 1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70" h="1719">
                  <a:moveTo>
                    <a:pt x="859" y="1020"/>
                  </a:moveTo>
                  <a:cubicBezTo>
                    <a:pt x="859" y="1336"/>
                    <a:pt x="859" y="1336"/>
                    <a:pt x="859" y="1336"/>
                  </a:cubicBezTo>
                  <a:cubicBezTo>
                    <a:pt x="596" y="1336"/>
                    <a:pt x="383" y="1122"/>
                    <a:pt x="383" y="860"/>
                  </a:cubicBezTo>
                  <a:cubicBezTo>
                    <a:pt x="383" y="596"/>
                    <a:pt x="596" y="384"/>
                    <a:pt x="859" y="384"/>
                  </a:cubicBezTo>
                  <a:cubicBezTo>
                    <a:pt x="859" y="714"/>
                    <a:pt x="859" y="714"/>
                    <a:pt x="859" y="714"/>
                  </a:cubicBezTo>
                  <a:cubicBezTo>
                    <a:pt x="1370" y="169"/>
                    <a:pt x="1370" y="169"/>
                    <a:pt x="1370" y="169"/>
                  </a:cubicBezTo>
                  <a:cubicBezTo>
                    <a:pt x="1227" y="63"/>
                    <a:pt x="1051" y="0"/>
                    <a:pt x="859" y="0"/>
                  </a:cubicBezTo>
                  <a:cubicBezTo>
                    <a:pt x="385" y="0"/>
                    <a:pt x="0" y="385"/>
                    <a:pt x="0" y="860"/>
                  </a:cubicBezTo>
                  <a:cubicBezTo>
                    <a:pt x="0" y="1334"/>
                    <a:pt x="385" y="1719"/>
                    <a:pt x="859" y="1719"/>
                  </a:cubicBezTo>
                  <a:cubicBezTo>
                    <a:pt x="1035" y="1719"/>
                    <a:pt x="1199" y="1666"/>
                    <a:pt x="1335" y="1575"/>
                  </a:cubicBezTo>
                  <a:lnTo>
                    <a:pt x="859" y="10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33" name="Freeform 19">
              <a:extLst>
                <a:ext uri="{FF2B5EF4-FFF2-40B4-BE49-F238E27FC236}">
                  <a16:creationId xmlns:a16="http://schemas.microsoft.com/office/drawing/2014/main" id="{BE9E44D5-5494-48E0-BB90-6119119C65D4}"/>
                </a:ext>
              </a:extLst>
            </p:cNvPr>
            <p:cNvSpPr>
              <a:spLocks/>
            </p:cNvSpPr>
            <p:nvPr/>
          </p:nvSpPr>
          <p:spPr bwMode="auto">
            <a:xfrm>
              <a:off x="583" y="1854"/>
              <a:ext cx="491" cy="612"/>
            </a:xfrm>
            <a:custGeom>
              <a:avLst/>
              <a:gdLst>
                <a:gd name="T0" fmla="*/ 634 w 786"/>
                <a:gd name="T1" fmla="*/ 0 h 979"/>
                <a:gd name="T2" fmla="*/ 0 w 786"/>
                <a:gd name="T3" fmla="*/ 490 h 979"/>
                <a:gd name="T4" fmla="*/ 634 w 786"/>
                <a:gd name="T5" fmla="*/ 979 h 979"/>
                <a:gd name="T6" fmla="*/ 786 w 786"/>
                <a:gd name="T7" fmla="*/ 490 h 979"/>
                <a:gd name="T8" fmla="*/ 634 w 786"/>
                <a:gd name="T9" fmla="*/ 0 h 979"/>
              </a:gdLst>
              <a:ahLst/>
              <a:cxnLst>
                <a:cxn ang="0">
                  <a:pos x="T0" y="T1"/>
                </a:cxn>
                <a:cxn ang="0">
                  <a:pos x="T2" y="T3"/>
                </a:cxn>
                <a:cxn ang="0">
                  <a:pos x="T4" y="T5"/>
                </a:cxn>
                <a:cxn ang="0">
                  <a:pos x="T6" y="T7"/>
                </a:cxn>
                <a:cxn ang="0">
                  <a:pos x="T8" y="T9"/>
                </a:cxn>
              </a:cxnLst>
              <a:rect l="0" t="0" r="r" b="b"/>
              <a:pathLst>
                <a:path w="786" h="979">
                  <a:moveTo>
                    <a:pt x="634" y="0"/>
                  </a:moveTo>
                  <a:cubicBezTo>
                    <a:pt x="0" y="490"/>
                    <a:pt x="0" y="490"/>
                    <a:pt x="0" y="490"/>
                  </a:cubicBezTo>
                  <a:cubicBezTo>
                    <a:pt x="634" y="979"/>
                    <a:pt x="634" y="979"/>
                    <a:pt x="634" y="979"/>
                  </a:cubicBezTo>
                  <a:cubicBezTo>
                    <a:pt x="730" y="840"/>
                    <a:pt x="786" y="671"/>
                    <a:pt x="786" y="490"/>
                  </a:cubicBezTo>
                  <a:cubicBezTo>
                    <a:pt x="786" y="308"/>
                    <a:pt x="730" y="139"/>
                    <a:pt x="6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spTree>
    <p:extLst>
      <p:ext uri="{BB962C8B-B14F-4D97-AF65-F5344CB8AC3E}">
        <p14:creationId xmlns:p14="http://schemas.microsoft.com/office/powerpoint/2010/main" val="2463752318"/>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type="title" preserve="1">
  <p:cSld name="Title Slide Image">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806139"/>
            <a:ext cx="9144001" cy="3245724"/>
          </a:xfrm>
        </p:spPr>
        <p:txBody>
          <a:bodyPr anchor="ctr"/>
          <a:lstStyle>
            <a:lvl1pPr algn="ctr">
              <a:defRPr sz="4000">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524000" y="5714325"/>
            <a:ext cx="9144001" cy="453754"/>
          </a:xfrm>
        </p:spPr>
        <p:txBody>
          <a:bodyPr/>
          <a:lstStyle>
            <a:lvl1pPr marL="0" indent="0" algn="ctr">
              <a:buNone/>
              <a:defRPr sz="2400">
                <a:solidFill>
                  <a:schemeClr val="bg1"/>
                </a:solidFill>
              </a:defRPr>
            </a:lvl1pPr>
            <a:lvl2pPr marL="521258" indent="0" algn="ctr">
              <a:buNone/>
              <a:defRPr sz="2280"/>
            </a:lvl2pPr>
            <a:lvl3pPr marL="1042512" indent="0" algn="ctr">
              <a:buNone/>
              <a:defRPr sz="2052"/>
            </a:lvl3pPr>
            <a:lvl4pPr marL="1563773" indent="0" algn="ctr">
              <a:buNone/>
              <a:defRPr sz="1824"/>
            </a:lvl4pPr>
            <a:lvl5pPr marL="2085031" indent="0" algn="ctr">
              <a:buNone/>
              <a:defRPr sz="1824"/>
            </a:lvl5pPr>
            <a:lvl6pPr marL="2606285" indent="0" algn="ctr">
              <a:buNone/>
              <a:defRPr sz="1824"/>
            </a:lvl6pPr>
            <a:lvl7pPr marL="3127543" indent="0" algn="ctr">
              <a:buNone/>
              <a:defRPr sz="1824"/>
            </a:lvl7pPr>
            <a:lvl8pPr marL="3648803" indent="0" algn="ctr">
              <a:buNone/>
              <a:defRPr sz="1824"/>
            </a:lvl8pPr>
            <a:lvl9pPr marL="4170060" indent="0" algn="ctr">
              <a:buNone/>
              <a:defRPr sz="1824"/>
            </a:lvl9pPr>
          </a:lstStyle>
          <a:p>
            <a:r>
              <a:rPr lang="en-US"/>
              <a:t>Click to edit Master subtitle style</a:t>
            </a:r>
            <a:endParaRPr lang="en-US" dirty="0"/>
          </a:p>
        </p:txBody>
      </p:sp>
      <p:grpSp>
        <p:nvGrpSpPr>
          <p:cNvPr id="18" name="Group 4">
            <a:extLst>
              <a:ext uri="{FF2B5EF4-FFF2-40B4-BE49-F238E27FC236}">
                <a16:creationId xmlns:a16="http://schemas.microsoft.com/office/drawing/2014/main" id="{C9FB2DA8-4D6B-455E-8E80-67520B04D91C}"/>
              </a:ext>
            </a:extLst>
          </p:cNvPr>
          <p:cNvGrpSpPr>
            <a:grpSpLocks noChangeAspect="1"/>
          </p:cNvGrpSpPr>
          <p:nvPr userDrawn="1"/>
        </p:nvGrpSpPr>
        <p:grpSpPr bwMode="auto">
          <a:xfrm>
            <a:off x="5155508" y="685816"/>
            <a:ext cx="1880984" cy="458559"/>
            <a:chOff x="2071" y="1578"/>
            <a:chExt cx="2587" cy="631"/>
          </a:xfrm>
          <a:gradFill>
            <a:gsLst>
              <a:gs pos="50000">
                <a:srgbClr val="00E487"/>
              </a:gs>
              <a:gs pos="100000">
                <a:srgbClr val="1ECBD0"/>
              </a:gs>
            </a:gsLst>
            <a:lin ang="18900000" scaled="0"/>
          </a:gradFill>
        </p:grpSpPr>
        <p:sp>
          <p:nvSpPr>
            <p:cNvPr id="19" name="Freeform 5">
              <a:extLst>
                <a:ext uri="{FF2B5EF4-FFF2-40B4-BE49-F238E27FC236}">
                  <a16:creationId xmlns:a16="http://schemas.microsoft.com/office/drawing/2014/main" id="{F798D9CB-93C5-4BA2-929A-2CDD20D9AF84}"/>
                </a:ext>
              </a:extLst>
            </p:cNvPr>
            <p:cNvSpPr>
              <a:spLocks/>
            </p:cNvSpPr>
            <p:nvPr userDrawn="1"/>
          </p:nvSpPr>
          <p:spPr bwMode="auto">
            <a:xfrm>
              <a:off x="2765" y="1728"/>
              <a:ext cx="244" cy="318"/>
            </a:xfrm>
            <a:custGeom>
              <a:avLst/>
              <a:gdLst>
                <a:gd name="T0" fmla="*/ 12 w 129"/>
                <a:gd name="T1" fmla="*/ 0 h 168"/>
                <a:gd name="T2" fmla="*/ 8 w 129"/>
                <a:gd name="T3" fmla="*/ 4 h 168"/>
                <a:gd name="T4" fmla="*/ 8 w 129"/>
                <a:gd name="T5" fmla="*/ 25 h 168"/>
                <a:gd name="T6" fmla="*/ 12 w 129"/>
                <a:gd name="T7" fmla="*/ 29 h 168"/>
                <a:gd name="T8" fmla="*/ 48 w 129"/>
                <a:gd name="T9" fmla="*/ 29 h 168"/>
                <a:gd name="T10" fmla="*/ 48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2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2" y="0"/>
                  </a:moveTo>
                  <a:cubicBezTo>
                    <a:pt x="9" y="0"/>
                    <a:pt x="8" y="1"/>
                    <a:pt x="8" y="4"/>
                  </a:cubicBezTo>
                  <a:cubicBezTo>
                    <a:pt x="8" y="25"/>
                    <a:pt x="8" y="25"/>
                    <a:pt x="8" y="25"/>
                  </a:cubicBezTo>
                  <a:cubicBezTo>
                    <a:pt x="8" y="27"/>
                    <a:pt x="9" y="29"/>
                    <a:pt x="12" y="29"/>
                  </a:cubicBezTo>
                  <a:cubicBezTo>
                    <a:pt x="48" y="29"/>
                    <a:pt x="48" y="29"/>
                    <a:pt x="48" y="29"/>
                  </a:cubicBezTo>
                  <a:cubicBezTo>
                    <a:pt x="48" y="140"/>
                    <a:pt x="48" y="140"/>
                    <a:pt x="48"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8" y="140"/>
                    <a:pt x="125" y="140"/>
                  </a:cubicBezTo>
                  <a:cubicBezTo>
                    <a:pt x="76" y="140"/>
                    <a:pt x="76" y="140"/>
                    <a:pt x="76" y="140"/>
                  </a:cubicBezTo>
                  <a:cubicBezTo>
                    <a:pt x="76" y="4"/>
                    <a:pt x="76" y="4"/>
                    <a:pt x="76" y="4"/>
                  </a:cubicBezTo>
                  <a:cubicBezTo>
                    <a:pt x="76" y="1"/>
                    <a:pt x="75" y="0"/>
                    <a:pt x="72" y="0"/>
                  </a:cubicBez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20" name="Freeform 6">
              <a:extLst>
                <a:ext uri="{FF2B5EF4-FFF2-40B4-BE49-F238E27FC236}">
                  <a16:creationId xmlns:a16="http://schemas.microsoft.com/office/drawing/2014/main" id="{FCD076B7-6553-48C6-9C13-12A0A6B2D947}"/>
                </a:ext>
              </a:extLst>
            </p:cNvPr>
            <p:cNvSpPr>
              <a:spLocks/>
            </p:cNvSpPr>
            <p:nvPr userDrawn="1"/>
          </p:nvSpPr>
          <p:spPr bwMode="auto">
            <a:xfrm>
              <a:off x="3798" y="1728"/>
              <a:ext cx="244" cy="318"/>
            </a:xfrm>
            <a:custGeom>
              <a:avLst/>
              <a:gdLst>
                <a:gd name="T0" fmla="*/ 11 w 129"/>
                <a:gd name="T1" fmla="*/ 0 h 168"/>
                <a:gd name="T2" fmla="*/ 8 w 129"/>
                <a:gd name="T3" fmla="*/ 4 h 168"/>
                <a:gd name="T4" fmla="*/ 8 w 129"/>
                <a:gd name="T5" fmla="*/ 25 h 168"/>
                <a:gd name="T6" fmla="*/ 11 w 129"/>
                <a:gd name="T7" fmla="*/ 29 h 168"/>
                <a:gd name="T8" fmla="*/ 47 w 129"/>
                <a:gd name="T9" fmla="*/ 29 h 168"/>
                <a:gd name="T10" fmla="*/ 47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1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1" y="0"/>
                  </a:moveTo>
                  <a:cubicBezTo>
                    <a:pt x="9" y="0"/>
                    <a:pt x="8" y="1"/>
                    <a:pt x="8" y="4"/>
                  </a:cubicBezTo>
                  <a:cubicBezTo>
                    <a:pt x="8" y="25"/>
                    <a:pt x="8" y="25"/>
                    <a:pt x="8" y="25"/>
                  </a:cubicBezTo>
                  <a:cubicBezTo>
                    <a:pt x="8" y="27"/>
                    <a:pt x="9" y="29"/>
                    <a:pt x="11" y="29"/>
                  </a:cubicBezTo>
                  <a:cubicBezTo>
                    <a:pt x="47" y="29"/>
                    <a:pt x="47" y="29"/>
                    <a:pt x="47" y="29"/>
                  </a:cubicBezTo>
                  <a:cubicBezTo>
                    <a:pt x="47" y="140"/>
                    <a:pt x="47" y="140"/>
                    <a:pt x="47"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7" y="140"/>
                    <a:pt x="125" y="140"/>
                  </a:cubicBezTo>
                  <a:cubicBezTo>
                    <a:pt x="76" y="140"/>
                    <a:pt x="76" y="140"/>
                    <a:pt x="76" y="140"/>
                  </a:cubicBezTo>
                  <a:cubicBezTo>
                    <a:pt x="76" y="4"/>
                    <a:pt x="76" y="4"/>
                    <a:pt x="76" y="4"/>
                  </a:cubicBezTo>
                  <a:cubicBezTo>
                    <a:pt x="75" y="1"/>
                    <a:pt x="74" y="0"/>
                    <a:pt x="72" y="0"/>
                  </a:cubicBez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21" name="Freeform 7">
              <a:extLst>
                <a:ext uri="{FF2B5EF4-FFF2-40B4-BE49-F238E27FC236}">
                  <a16:creationId xmlns:a16="http://schemas.microsoft.com/office/drawing/2014/main" id="{A4C76CEC-16C2-4E2B-8318-C92100B82A3E}"/>
                </a:ext>
              </a:extLst>
            </p:cNvPr>
            <p:cNvSpPr>
              <a:spLocks/>
            </p:cNvSpPr>
            <p:nvPr userDrawn="1"/>
          </p:nvSpPr>
          <p:spPr bwMode="auto">
            <a:xfrm>
              <a:off x="4361" y="1728"/>
              <a:ext cx="297" cy="464"/>
            </a:xfrm>
            <a:custGeom>
              <a:avLst/>
              <a:gdLst>
                <a:gd name="T0" fmla="*/ 132 w 157"/>
                <a:gd name="T1" fmla="*/ 0 h 245"/>
                <a:gd name="T2" fmla="*/ 127 w 157"/>
                <a:gd name="T3" fmla="*/ 3 h 245"/>
                <a:gd name="T4" fmla="*/ 127 w 157"/>
                <a:gd name="T5" fmla="*/ 3 h 245"/>
                <a:gd name="T6" fmla="*/ 79 w 157"/>
                <a:gd name="T7" fmla="*/ 128 h 245"/>
                <a:gd name="T8" fmla="*/ 30 w 157"/>
                <a:gd name="T9" fmla="*/ 4 h 245"/>
                <a:gd name="T10" fmla="*/ 25 w 157"/>
                <a:gd name="T11" fmla="*/ 0 h 245"/>
                <a:gd name="T12" fmla="*/ 4 w 157"/>
                <a:gd name="T13" fmla="*/ 0 h 245"/>
                <a:gd name="T14" fmla="*/ 0 w 157"/>
                <a:gd name="T15" fmla="*/ 3 h 245"/>
                <a:gd name="T16" fmla="*/ 1 w 157"/>
                <a:gd name="T17" fmla="*/ 6 h 245"/>
                <a:gd name="T18" fmla="*/ 1 w 157"/>
                <a:gd name="T19" fmla="*/ 6 h 245"/>
                <a:gd name="T20" fmla="*/ 1 w 157"/>
                <a:gd name="T21" fmla="*/ 6 h 245"/>
                <a:gd name="T22" fmla="*/ 64 w 157"/>
                <a:gd name="T23" fmla="*/ 168 h 245"/>
                <a:gd name="T24" fmla="*/ 59 w 157"/>
                <a:gd name="T25" fmla="*/ 182 h 245"/>
                <a:gd name="T26" fmla="*/ 48 w 157"/>
                <a:gd name="T27" fmla="*/ 205 h 245"/>
                <a:gd name="T28" fmla="*/ 38 w 157"/>
                <a:gd name="T29" fmla="*/ 215 h 245"/>
                <a:gd name="T30" fmla="*/ 30 w 157"/>
                <a:gd name="T31" fmla="*/ 217 h 245"/>
                <a:gd name="T32" fmla="*/ 26 w 157"/>
                <a:gd name="T33" fmla="*/ 216 h 245"/>
                <a:gd name="T34" fmla="*/ 14 w 157"/>
                <a:gd name="T35" fmla="*/ 213 h 245"/>
                <a:gd name="T36" fmla="*/ 7 w 157"/>
                <a:gd name="T37" fmla="*/ 210 h 245"/>
                <a:gd name="T38" fmla="*/ 3 w 157"/>
                <a:gd name="T39" fmla="*/ 215 h 245"/>
                <a:gd name="T40" fmla="*/ 3 w 157"/>
                <a:gd name="T41" fmla="*/ 233 h 245"/>
                <a:gd name="T42" fmla="*/ 3 w 157"/>
                <a:gd name="T43" fmla="*/ 233 h 245"/>
                <a:gd name="T44" fmla="*/ 7 w 157"/>
                <a:gd name="T45" fmla="*/ 240 h 245"/>
                <a:gd name="T46" fmla="*/ 32 w 157"/>
                <a:gd name="T47" fmla="*/ 245 h 245"/>
                <a:gd name="T48" fmla="*/ 54 w 157"/>
                <a:gd name="T49" fmla="*/ 238 h 245"/>
                <a:gd name="T50" fmla="*/ 73 w 157"/>
                <a:gd name="T51" fmla="*/ 220 h 245"/>
                <a:gd name="T52" fmla="*/ 79 w 157"/>
                <a:gd name="T53" fmla="*/ 208 h 245"/>
                <a:gd name="T54" fmla="*/ 156 w 157"/>
                <a:gd name="T55" fmla="*/ 6 h 245"/>
                <a:gd name="T56" fmla="*/ 157 w 157"/>
                <a:gd name="T57" fmla="*/ 3 h 245"/>
                <a:gd name="T58" fmla="*/ 153 w 157"/>
                <a:gd name="T59" fmla="*/ 0 h 245"/>
                <a:gd name="T60" fmla="*/ 132 w 157"/>
                <a:gd name="T6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7" h="245">
                  <a:moveTo>
                    <a:pt x="132" y="0"/>
                  </a:moveTo>
                  <a:cubicBezTo>
                    <a:pt x="129" y="0"/>
                    <a:pt x="128" y="1"/>
                    <a:pt x="127" y="3"/>
                  </a:cubicBezTo>
                  <a:cubicBezTo>
                    <a:pt x="127" y="3"/>
                    <a:pt x="127" y="3"/>
                    <a:pt x="127" y="3"/>
                  </a:cubicBezTo>
                  <a:cubicBezTo>
                    <a:pt x="79" y="128"/>
                    <a:pt x="79" y="128"/>
                    <a:pt x="79" y="128"/>
                  </a:cubicBezTo>
                  <a:cubicBezTo>
                    <a:pt x="30" y="4"/>
                    <a:pt x="30" y="4"/>
                    <a:pt x="30" y="4"/>
                  </a:cubicBezTo>
                  <a:cubicBezTo>
                    <a:pt x="29" y="1"/>
                    <a:pt x="28" y="0"/>
                    <a:pt x="25" y="0"/>
                  </a:cubicBezTo>
                  <a:cubicBezTo>
                    <a:pt x="4" y="0"/>
                    <a:pt x="4" y="0"/>
                    <a:pt x="4" y="0"/>
                  </a:cubicBezTo>
                  <a:cubicBezTo>
                    <a:pt x="2" y="0"/>
                    <a:pt x="0" y="1"/>
                    <a:pt x="0" y="3"/>
                  </a:cubicBezTo>
                  <a:cubicBezTo>
                    <a:pt x="0" y="4"/>
                    <a:pt x="1" y="5"/>
                    <a:pt x="1" y="6"/>
                  </a:cubicBezTo>
                  <a:cubicBezTo>
                    <a:pt x="1" y="6"/>
                    <a:pt x="1" y="6"/>
                    <a:pt x="1" y="6"/>
                  </a:cubicBezTo>
                  <a:cubicBezTo>
                    <a:pt x="1" y="6"/>
                    <a:pt x="1" y="6"/>
                    <a:pt x="1" y="6"/>
                  </a:cubicBezTo>
                  <a:cubicBezTo>
                    <a:pt x="64" y="168"/>
                    <a:pt x="64" y="168"/>
                    <a:pt x="64" y="168"/>
                  </a:cubicBezTo>
                  <a:cubicBezTo>
                    <a:pt x="59" y="182"/>
                    <a:pt x="59" y="182"/>
                    <a:pt x="59" y="182"/>
                  </a:cubicBezTo>
                  <a:cubicBezTo>
                    <a:pt x="57" y="187"/>
                    <a:pt x="53" y="199"/>
                    <a:pt x="48" y="205"/>
                  </a:cubicBezTo>
                  <a:cubicBezTo>
                    <a:pt x="44" y="211"/>
                    <a:pt x="42" y="213"/>
                    <a:pt x="38" y="215"/>
                  </a:cubicBezTo>
                  <a:cubicBezTo>
                    <a:pt x="35" y="216"/>
                    <a:pt x="33" y="217"/>
                    <a:pt x="30" y="217"/>
                  </a:cubicBezTo>
                  <a:cubicBezTo>
                    <a:pt x="28" y="217"/>
                    <a:pt x="27" y="217"/>
                    <a:pt x="26" y="216"/>
                  </a:cubicBezTo>
                  <a:cubicBezTo>
                    <a:pt x="22" y="216"/>
                    <a:pt x="18" y="214"/>
                    <a:pt x="14" y="213"/>
                  </a:cubicBezTo>
                  <a:cubicBezTo>
                    <a:pt x="11" y="212"/>
                    <a:pt x="9" y="210"/>
                    <a:pt x="7" y="210"/>
                  </a:cubicBezTo>
                  <a:cubicBezTo>
                    <a:pt x="5" y="210"/>
                    <a:pt x="3" y="212"/>
                    <a:pt x="3" y="215"/>
                  </a:cubicBezTo>
                  <a:cubicBezTo>
                    <a:pt x="3" y="233"/>
                    <a:pt x="3" y="233"/>
                    <a:pt x="3" y="233"/>
                  </a:cubicBezTo>
                  <a:cubicBezTo>
                    <a:pt x="3" y="233"/>
                    <a:pt x="3" y="233"/>
                    <a:pt x="3" y="233"/>
                  </a:cubicBezTo>
                  <a:cubicBezTo>
                    <a:pt x="3" y="236"/>
                    <a:pt x="4" y="238"/>
                    <a:pt x="7" y="240"/>
                  </a:cubicBezTo>
                  <a:cubicBezTo>
                    <a:pt x="15" y="243"/>
                    <a:pt x="21" y="245"/>
                    <a:pt x="32" y="245"/>
                  </a:cubicBezTo>
                  <a:cubicBezTo>
                    <a:pt x="41" y="244"/>
                    <a:pt x="47" y="242"/>
                    <a:pt x="54" y="238"/>
                  </a:cubicBezTo>
                  <a:cubicBezTo>
                    <a:pt x="61" y="233"/>
                    <a:pt x="67" y="227"/>
                    <a:pt x="73" y="220"/>
                  </a:cubicBezTo>
                  <a:cubicBezTo>
                    <a:pt x="75" y="216"/>
                    <a:pt x="77" y="212"/>
                    <a:pt x="79" y="208"/>
                  </a:cubicBezTo>
                  <a:cubicBezTo>
                    <a:pt x="83" y="200"/>
                    <a:pt x="144" y="40"/>
                    <a:pt x="156" y="6"/>
                  </a:cubicBezTo>
                  <a:cubicBezTo>
                    <a:pt x="157" y="5"/>
                    <a:pt x="157" y="4"/>
                    <a:pt x="157" y="3"/>
                  </a:cubicBezTo>
                  <a:cubicBezTo>
                    <a:pt x="157" y="1"/>
                    <a:pt x="155" y="0"/>
                    <a:pt x="153" y="0"/>
                  </a:cubicBezTo>
                  <a:lnTo>
                    <a:pt x="1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22" name="Freeform 8">
              <a:extLst>
                <a:ext uri="{FF2B5EF4-FFF2-40B4-BE49-F238E27FC236}">
                  <a16:creationId xmlns:a16="http://schemas.microsoft.com/office/drawing/2014/main" id="{7619E1B8-E4FD-4146-AF84-8F1DBB0AAB0D}"/>
                </a:ext>
              </a:extLst>
            </p:cNvPr>
            <p:cNvSpPr>
              <a:spLocks/>
            </p:cNvSpPr>
            <p:nvPr userDrawn="1"/>
          </p:nvSpPr>
          <p:spPr bwMode="auto">
            <a:xfrm>
              <a:off x="3457" y="1726"/>
              <a:ext cx="263" cy="322"/>
            </a:xfrm>
            <a:custGeom>
              <a:avLst/>
              <a:gdLst>
                <a:gd name="T0" fmla="*/ 28 w 139"/>
                <a:gd name="T1" fmla="*/ 21 h 170"/>
                <a:gd name="T2" fmla="*/ 28 w 139"/>
                <a:gd name="T3" fmla="*/ 6 h 170"/>
                <a:gd name="T4" fmla="*/ 25 w 139"/>
                <a:gd name="T5" fmla="*/ 3 h 170"/>
                <a:gd name="T6" fmla="*/ 4 w 139"/>
                <a:gd name="T7" fmla="*/ 3 h 170"/>
                <a:gd name="T8" fmla="*/ 0 w 139"/>
                <a:gd name="T9" fmla="*/ 6 h 170"/>
                <a:gd name="T10" fmla="*/ 0 w 139"/>
                <a:gd name="T11" fmla="*/ 167 h 170"/>
                <a:gd name="T12" fmla="*/ 4 w 139"/>
                <a:gd name="T13" fmla="*/ 170 h 170"/>
                <a:gd name="T14" fmla="*/ 25 w 139"/>
                <a:gd name="T15" fmla="*/ 170 h 170"/>
                <a:gd name="T16" fmla="*/ 28 w 139"/>
                <a:gd name="T17" fmla="*/ 167 h 170"/>
                <a:gd name="T18" fmla="*/ 28 w 139"/>
                <a:gd name="T19" fmla="*/ 68 h 170"/>
                <a:gd name="T20" fmla="*/ 70 w 139"/>
                <a:gd name="T21" fmla="*/ 28 h 170"/>
                <a:gd name="T22" fmla="*/ 111 w 139"/>
                <a:gd name="T23" fmla="*/ 68 h 170"/>
                <a:gd name="T24" fmla="*/ 111 w 139"/>
                <a:gd name="T25" fmla="*/ 167 h 170"/>
                <a:gd name="T26" fmla="*/ 111 w 139"/>
                <a:gd name="T27" fmla="*/ 167 h 170"/>
                <a:gd name="T28" fmla="*/ 114 w 139"/>
                <a:gd name="T29" fmla="*/ 170 h 170"/>
                <a:gd name="T30" fmla="*/ 136 w 139"/>
                <a:gd name="T31" fmla="*/ 170 h 170"/>
                <a:gd name="T32" fmla="*/ 139 w 139"/>
                <a:gd name="T33" fmla="*/ 167 h 170"/>
                <a:gd name="T34" fmla="*/ 139 w 139"/>
                <a:gd name="T35" fmla="*/ 68 h 170"/>
                <a:gd name="T36" fmla="*/ 139 w 139"/>
                <a:gd name="T37" fmla="*/ 68 h 170"/>
                <a:gd name="T38" fmla="*/ 139 w 139"/>
                <a:gd name="T39" fmla="*/ 68 h 170"/>
                <a:gd name="T40" fmla="*/ 120 w 139"/>
                <a:gd name="T41" fmla="*/ 20 h 170"/>
                <a:gd name="T42" fmla="*/ 70 w 139"/>
                <a:gd name="T43" fmla="*/ 0 h 170"/>
                <a:gd name="T44" fmla="*/ 28 w 139"/>
                <a:gd name="T45" fmla="*/ 2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170">
                  <a:moveTo>
                    <a:pt x="28" y="21"/>
                  </a:moveTo>
                  <a:cubicBezTo>
                    <a:pt x="28" y="6"/>
                    <a:pt x="28" y="6"/>
                    <a:pt x="28" y="6"/>
                  </a:cubicBezTo>
                  <a:cubicBezTo>
                    <a:pt x="28" y="4"/>
                    <a:pt x="27" y="3"/>
                    <a:pt x="25" y="3"/>
                  </a:cubicBezTo>
                  <a:cubicBezTo>
                    <a:pt x="4" y="3"/>
                    <a:pt x="4" y="3"/>
                    <a:pt x="4" y="3"/>
                  </a:cubicBezTo>
                  <a:cubicBezTo>
                    <a:pt x="1" y="3"/>
                    <a:pt x="0" y="4"/>
                    <a:pt x="0" y="6"/>
                  </a:cubicBezTo>
                  <a:cubicBezTo>
                    <a:pt x="0" y="167"/>
                    <a:pt x="0" y="167"/>
                    <a:pt x="0" y="167"/>
                  </a:cubicBezTo>
                  <a:cubicBezTo>
                    <a:pt x="0" y="169"/>
                    <a:pt x="1" y="170"/>
                    <a:pt x="4" y="170"/>
                  </a:cubicBezTo>
                  <a:cubicBezTo>
                    <a:pt x="25" y="170"/>
                    <a:pt x="25" y="170"/>
                    <a:pt x="25" y="170"/>
                  </a:cubicBezTo>
                  <a:cubicBezTo>
                    <a:pt x="27" y="170"/>
                    <a:pt x="28" y="169"/>
                    <a:pt x="28" y="167"/>
                  </a:cubicBezTo>
                  <a:cubicBezTo>
                    <a:pt x="28" y="68"/>
                    <a:pt x="28" y="68"/>
                    <a:pt x="28" y="68"/>
                  </a:cubicBezTo>
                  <a:cubicBezTo>
                    <a:pt x="28" y="49"/>
                    <a:pt x="42" y="28"/>
                    <a:pt x="70" y="28"/>
                  </a:cubicBezTo>
                  <a:cubicBezTo>
                    <a:pt x="97" y="28"/>
                    <a:pt x="111" y="49"/>
                    <a:pt x="111" y="68"/>
                  </a:cubicBezTo>
                  <a:cubicBezTo>
                    <a:pt x="111" y="167"/>
                    <a:pt x="111" y="167"/>
                    <a:pt x="111" y="167"/>
                  </a:cubicBezTo>
                  <a:cubicBezTo>
                    <a:pt x="111" y="167"/>
                    <a:pt x="111" y="167"/>
                    <a:pt x="111" y="167"/>
                  </a:cubicBezTo>
                  <a:cubicBezTo>
                    <a:pt x="111" y="169"/>
                    <a:pt x="112" y="170"/>
                    <a:pt x="114" y="170"/>
                  </a:cubicBezTo>
                  <a:cubicBezTo>
                    <a:pt x="136" y="170"/>
                    <a:pt x="136" y="170"/>
                    <a:pt x="136" y="170"/>
                  </a:cubicBezTo>
                  <a:cubicBezTo>
                    <a:pt x="138" y="170"/>
                    <a:pt x="139" y="169"/>
                    <a:pt x="139" y="167"/>
                  </a:cubicBezTo>
                  <a:cubicBezTo>
                    <a:pt x="139" y="68"/>
                    <a:pt x="139" y="68"/>
                    <a:pt x="139" y="68"/>
                  </a:cubicBezTo>
                  <a:cubicBezTo>
                    <a:pt x="139" y="68"/>
                    <a:pt x="139" y="68"/>
                    <a:pt x="139" y="68"/>
                  </a:cubicBezTo>
                  <a:cubicBezTo>
                    <a:pt x="139" y="68"/>
                    <a:pt x="139" y="68"/>
                    <a:pt x="139" y="68"/>
                  </a:cubicBezTo>
                  <a:cubicBezTo>
                    <a:pt x="139" y="51"/>
                    <a:pt x="133" y="35"/>
                    <a:pt x="120" y="20"/>
                  </a:cubicBezTo>
                  <a:cubicBezTo>
                    <a:pt x="109" y="7"/>
                    <a:pt x="88" y="0"/>
                    <a:pt x="70" y="0"/>
                  </a:cubicBezTo>
                  <a:cubicBezTo>
                    <a:pt x="41" y="0"/>
                    <a:pt x="28" y="21"/>
                    <a:pt x="28"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23" name="Freeform 9">
              <a:extLst>
                <a:ext uri="{FF2B5EF4-FFF2-40B4-BE49-F238E27FC236}">
                  <a16:creationId xmlns:a16="http://schemas.microsoft.com/office/drawing/2014/main" id="{4FF9C5E1-8FFE-4C45-8CEC-68E52F3E5DC7}"/>
                </a:ext>
              </a:extLst>
            </p:cNvPr>
            <p:cNvSpPr>
              <a:spLocks/>
            </p:cNvSpPr>
            <p:nvPr userDrawn="1"/>
          </p:nvSpPr>
          <p:spPr bwMode="auto">
            <a:xfrm>
              <a:off x="2264" y="1724"/>
              <a:ext cx="246" cy="328"/>
            </a:xfrm>
            <a:custGeom>
              <a:avLst/>
              <a:gdLst>
                <a:gd name="T0" fmla="*/ 4 w 130"/>
                <a:gd name="T1" fmla="*/ 48 h 173"/>
                <a:gd name="T2" fmla="*/ 56 w 130"/>
                <a:gd name="T3" fmla="*/ 97 h 173"/>
                <a:gd name="T4" fmla="*/ 57 w 130"/>
                <a:gd name="T5" fmla="*/ 98 h 173"/>
                <a:gd name="T6" fmla="*/ 101 w 130"/>
                <a:gd name="T7" fmla="*/ 124 h 173"/>
                <a:gd name="T8" fmla="*/ 66 w 130"/>
                <a:gd name="T9" fmla="*/ 146 h 173"/>
                <a:gd name="T10" fmla="*/ 30 w 130"/>
                <a:gd name="T11" fmla="*/ 118 h 173"/>
                <a:gd name="T12" fmla="*/ 26 w 130"/>
                <a:gd name="T13" fmla="*/ 114 h 173"/>
                <a:gd name="T14" fmla="*/ 5 w 130"/>
                <a:gd name="T15" fmla="*/ 114 h 173"/>
                <a:gd name="T16" fmla="*/ 0 w 130"/>
                <a:gd name="T17" fmla="*/ 118 h 173"/>
                <a:gd name="T18" fmla="*/ 65 w 130"/>
                <a:gd name="T19" fmla="*/ 173 h 173"/>
                <a:gd name="T20" fmla="*/ 130 w 130"/>
                <a:gd name="T21" fmla="*/ 120 h 173"/>
                <a:gd name="T22" fmla="*/ 72 w 130"/>
                <a:gd name="T23" fmla="*/ 74 h 173"/>
                <a:gd name="T24" fmla="*/ 32 w 130"/>
                <a:gd name="T25" fmla="*/ 48 h 173"/>
                <a:gd name="T26" fmla="*/ 63 w 130"/>
                <a:gd name="T27" fmla="*/ 27 h 173"/>
                <a:gd name="T28" fmla="*/ 97 w 130"/>
                <a:gd name="T29" fmla="*/ 49 h 173"/>
                <a:gd name="T30" fmla="*/ 102 w 130"/>
                <a:gd name="T31" fmla="*/ 53 h 173"/>
                <a:gd name="T32" fmla="*/ 120 w 130"/>
                <a:gd name="T33" fmla="*/ 53 h 173"/>
                <a:gd name="T34" fmla="*/ 125 w 130"/>
                <a:gd name="T35" fmla="*/ 48 h 173"/>
                <a:gd name="T36" fmla="*/ 63 w 130"/>
                <a:gd name="T37" fmla="*/ 0 h 173"/>
                <a:gd name="T38" fmla="*/ 4 w 130"/>
                <a:gd name="T39" fmla="*/ 4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173">
                  <a:moveTo>
                    <a:pt x="4" y="48"/>
                  </a:moveTo>
                  <a:cubicBezTo>
                    <a:pt x="4" y="77"/>
                    <a:pt x="19" y="91"/>
                    <a:pt x="56" y="97"/>
                  </a:cubicBezTo>
                  <a:cubicBezTo>
                    <a:pt x="57" y="98"/>
                    <a:pt x="57" y="98"/>
                    <a:pt x="57" y="98"/>
                  </a:cubicBezTo>
                  <a:cubicBezTo>
                    <a:pt x="83" y="102"/>
                    <a:pt x="101" y="105"/>
                    <a:pt x="101" y="124"/>
                  </a:cubicBezTo>
                  <a:cubicBezTo>
                    <a:pt x="101" y="139"/>
                    <a:pt x="83" y="146"/>
                    <a:pt x="66" y="146"/>
                  </a:cubicBezTo>
                  <a:cubicBezTo>
                    <a:pt x="46" y="146"/>
                    <a:pt x="33" y="136"/>
                    <a:pt x="30" y="118"/>
                  </a:cubicBezTo>
                  <a:cubicBezTo>
                    <a:pt x="30" y="116"/>
                    <a:pt x="29" y="114"/>
                    <a:pt x="26" y="114"/>
                  </a:cubicBezTo>
                  <a:cubicBezTo>
                    <a:pt x="5" y="114"/>
                    <a:pt x="5" y="114"/>
                    <a:pt x="5" y="114"/>
                  </a:cubicBezTo>
                  <a:cubicBezTo>
                    <a:pt x="2" y="114"/>
                    <a:pt x="0" y="116"/>
                    <a:pt x="0" y="118"/>
                  </a:cubicBezTo>
                  <a:cubicBezTo>
                    <a:pt x="0" y="150"/>
                    <a:pt x="27" y="173"/>
                    <a:pt x="65" y="173"/>
                  </a:cubicBezTo>
                  <a:cubicBezTo>
                    <a:pt x="104" y="173"/>
                    <a:pt x="130" y="151"/>
                    <a:pt x="130" y="120"/>
                  </a:cubicBezTo>
                  <a:cubicBezTo>
                    <a:pt x="130" y="86"/>
                    <a:pt x="100" y="79"/>
                    <a:pt x="72" y="74"/>
                  </a:cubicBezTo>
                  <a:cubicBezTo>
                    <a:pt x="37" y="68"/>
                    <a:pt x="32" y="58"/>
                    <a:pt x="32" y="48"/>
                  </a:cubicBezTo>
                  <a:cubicBezTo>
                    <a:pt x="32" y="32"/>
                    <a:pt x="49" y="27"/>
                    <a:pt x="63" y="27"/>
                  </a:cubicBezTo>
                  <a:cubicBezTo>
                    <a:pt x="82" y="27"/>
                    <a:pt x="94" y="34"/>
                    <a:pt x="97" y="49"/>
                  </a:cubicBezTo>
                  <a:cubicBezTo>
                    <a:pt x="98" y="51"/>
                    <a:pt x="98" y="53"/>
                    <a:pt x="102" y="53"/>
                  </a:cubicBezTo>
                  <a:cubicBezTo>
                    <a:pt x="120" y="53"/>
                    <a:pt x="120" y="53"/>
                    <a:pt x="120" y="53"/>
                  </a:cubicBezTo>
                  <a:cubicBezTo>
                    <a:pt x="123" y="53"/>
                    <a:pt x="125" y="51"/>
                    <a:pt x="125" y="48"/>
                  </a:cubicBezTo>
                  <a:cubicBezTo>
                    <a:pt x="125" y="19"/>
                    <a:pt x="100" y="0"/>
                    <a:pt x="63" y="0"/>
                  </a:cubicBezTo>
                  <a:cubicBezTo>
                    <a:pt x="22" y="0"/>
                    <a:pt x="4" y="25"/>
                    <a:pt x="4" y="4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24" name="Freeform 10">
              <a:extLst>
                <a:ext uri="{FF2B5EF4-FFF2-40B4-BE49-F238E27FC236}">
                  <a16:creationId xmlns:a16="http://schemas.microsoft.com/office/drawing/2014/main" id="{C321A392-CD70-4533-ACCC-383D8BB92B82}"/>
                </a:ext>
              </a:extLst>
            </p:cNvPr>
            <p:cNvSpPr>
              <a:spLocks/>
            </p:cNvSpPr>
            <p:nvPr userDrawn="1"/>
          </p:nvSpPr>
          <p:spPr bwMode="auto">
            <a:xfrm>
              <a:off x="3062" y="1722"/>
              <a:ext cx="312" cy="474"/>
            </a:xfrm>
            <a:custGeom>
              <a:avLst/>
              <a:gdLst>
                <a:gd name="T0" fmla="*/ 67 w 165"/>
                <a:gd name="T1" fmla="*/ 0 h 250"/>
                <a:gd name="T2" fmla="*/ 0 w 165"/>
                <a:gd name="T3" fmla="*/ 86 h 250"/>
                <a:gd name="T4" fmla="*/ 82 w 165"/>
                <a:gd name="T5" fmla="*/ 174 h 250"/>
                <a:gd name="T6" fmla="*/ 137 w 165"/>
                <a:gd name="T7" fmla="*/ 152 h 250"/>
                <a:gd name="T8" fmla="*/ 137 w 165"/>
                <a:gd name="T9" fmla="*/ 173 h 250"/>
                <a:gd name="T10" fmla="*/ 89 w 165"/>
                <a:gd name="T11" fmla="*/ 222 h 250"/>
                <a:gd name="T12" fmla="*/ 48 w 165"/>
                <a:gd name="T13" fmla="*/ 194 h 250"/>
                <a:gd name="T14" fmla="*/ 43 w 165"/>
                <a:gd name="T15" fmla="*/ 190 h 250"/>
                <a:gd name="T16" fmla="*/ 24 w 165"/>
                <a:gd name="T17" fmla="*/ 190 h 250"/>
                <a:gd name="T18" fmla="*/ 19 w 165"/>
                <a:gd name="T19" fmla="*/ 195 h 250"/>
                <a:gd name="T20" fmla="*/ 89 w 165"/>
                <a:gd name="T21" fmla="*/ 250 h 250"/>
                <a:gd name="T22" fmla="*/ 165 w 165"/>
                <a:gd name="T23" fmla="*/ 174 h 250"/>
                <a:gd name="T24" fmla="*/ 165 w 165"/>
                <a:gd name="T25" fmla="*/ 7 h 250"/>
                <a:gd name="T26" fmla="*/ 162 w 165"/>
                <a:gd name="T27" fmla="*/ 4 h 250"/>
                <a:gd name="T28" fmla="*/ 140 w 165"/>
                <a:gd name="T29" fmla="*/ 4 h 250"/>
                <a:gd name="T30" fmla="*/ 137 w 165"/>
                <a:gd name="T31" fmla="*/ 7 h 250"/>
                <a:gd name="T32" fmla="*/ 137 w 165"/>
                <a:gd name="T33" fmla="*/ 21 h 250"/>
                <a:gd name="T34" fmla="*/ 99 w 165"/>
                <a:gd name="T35" fmla="*/ 0 h 250"/>
                <a:gd name="T36" fmla="*/ 96 w 165"/>
                <a:gd name="T37" fmla="*/ 3 h 250"/>
                <a:gd name="T38" fmla="*/ 96 w 165"/>
                <a:gd name="T39" fmla="*/ 28 h 250"/>
                <a:gd name="T40" fmla="*/ 97 w 165"/>
                <a:gd name="T41" fmla="*/ 31 h 250"/>
                <a:gd name="T42" fmla="*/ 138 w 165"/>
                <a:gd name="T43" fmla="*/ 87 h 250"/>
                <a:gd name="T44" fmla="*/ 83 w 165"/>
                <a:gd name="T45" fmla="*/ 146 h 250"/>
                <a:gd name="T46" fmla="*/ 29 w 165"/>
                <a:gd name="T47" fmla="*/ 87 h 250"/>
                <a:gd name="T48" fmla="*/ 68 w 165"/>
                <a:gd name="T49" fmla="*/ 31 h 250"/>
                <a:gd name="T50" fmla="*/ 70 w 165"/>
                <a:gd name="T51" fmla="*/ 29 h 250"/>
                <a:gd name="T52" fmla="*/ 70 w 165"/>
                <a:gd name="T53" fmla="*/ 3 h 250"/>
                <a:gd name="T54" fmla="*/ 67 w 165"/>
                <a:gd name="T55" fmla="*/ 0 h 250"/>
                <a:gd name="T56" fmla="*/ 67 w 165"/>
                <a:gd name="T57"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5" h="250">
                  <a:moveTo>
                    <a:pt x="67" y="0"/>
                  </a:moveTo>
                  <a:cubicBezTo>
                    <a:pt x="29" y="8"/>
                    <a:pt x="0" y="44"/>
                    <a:pt x="0" y="86"/>
                  </a:cubicBezTo>
                  <a:cubicBezTo>
                    <a:pt x="0" y="135"/>
                    <a:pt x="37" y="174"/>
                    <a:pt x="82" y="174"/>
                  </a:cubicBezTo>
                  <a:cubicBezTo>
                    <a:pt x="103" y="174"/>
                    <a:pt x="122" y="166"/>
                    <a:pt x="137" y="152"/>
                  </a:cubicBezTo>
                  <a:cubicBezTo>
                    <a:pt x="137" y="173"/>
                    <a:pt x="137" y="173"/>
                    <a:pt x="137" y="173"/>
                  </a:cubicBezTo>
                  <a:cubicBezTo>
                    <a:pt x="137" y="205"/>
                    <a:pt x="120" y="222"/>
                    <a:pt x="89" y="222"/>
                  </a:cubicBezTo>
                  <a:cubicBezTo>
                    <a:pt x="66" y="222"/>
                    <a:pt x="52" y="213"/>
                    <a:pt x="48" y="194"/>
                  </a:cubicBezTo>
                  <a:cubicBezTo>
                    <a:pt x="47" y="192"/>
                    <a:pt x="46" y="190"/>
                    <a:pt x="43" y="190"/>
                  </a:cubicBezTo>
                  <a:cubicBezTo>
                    <a:pt x="24" y="190"/>
                    <a:pt x="24" y="190"/>
                    <a:pt x="24" y="190"/>
                  </a:cubicBezTo>
                  <a:cubicBezTo>
                    <a:pt x="21" y="190"/>
                    <a:pt x="19" y="192"/>
                    <a:pt x="19" y="195"/>
                  </a:cubicBezTo>
                  <a:cubicBezTo>
                    <a:pt x="22" y="228"/>
                    <a:pt x="51" y="250"/>
                    <a:pt x="89" y="250"/>
                  </a:cubicBezTo>
                  <a:cubicBezTo>
                    <a:pt x="135" y="250"/>
                    <a:pt x="165" y="219"/>
                    <a:pt x="165" y="174"/>
                  </a:cubicBezTo>
                  <a:cubicBezTo>
                    <a:pt x="165" y="7"/>
                    <a:pt x="165" y="7"/>
                    <a:pt x="165" y="7"/>
                  </a:cubicBezTo>
                  <a:cubicBezTo>
                    <a:pt x="165" y="5"/>
                    <a:pt x="164" y="4"/>
                    <a:pt x="162" y="4"/>
                  </a:cubicBezTo>
                  <a:cubicBezTo>
                    <a:pt x="140" y="4"/>
                    <a:pt x="140" y="4"/>
                    <a:pt x="140" y="4"/>
                  </a:cubicBezTo>
                  <a:cubicBezTo>
                    <a:pt x="138" y="4"/>
                    <a:pt x="137" y="5"/>
                    <a:pt x="137" y="7"/>
                  </a:cubicBezTo>
                  <a:cubicBezTo>
                    <a:pt x="137" y="21"/>
                    <a:pt x="137" y="21"/>
                    <a:pt x="137" y="21"/>
                  </a:cubicBezTo>
                  <a:cubicBezTo>
                    <a:pt x="126" y="11"/>
                    <a:pt x="113" y="4"/>
                    <a:pt x="99" y="0"/>
                  </a:cubicBezTo>
                  <a:cubicBezTo>
                    <a:pt x="97" y="0"/>
                    <a:pt x="96" y="1"/>
                    <a:pt x="96" y="3"/>
                  </a:cubicBezTo>
                  <a:cubicBezTo>
                    <a:pt x="96" y="28"/>
                    <a:pt x="96" y="28"/>
                    <a:pt x="96" y="28"/>
                  </a:cubicBezTo>
                  <a:cubicBezTo>
                    <a:pt x="96" y="29"/>
                    <a:pt x="96" y="30"/>
                    <a:pt x="97" y="31"/>
                  </a:cubicBezTo>
                  <a:cubicBezTo>
                    <a:pt x="121" y="37"/>
                    <a:pt x="138" y="60"/>
                    <a:pt x="138" y="87"/>
                  </a:cubicBezTo>
                  <a:cubicBezTo>
                    <a:pt x="138" y="119"/>
                    <a:pt x="114" y="146"/>
                    <a:pt x="83" y="146"/>
                  </a:cubicBezTo>
                  <a:cubicBezTo>
                    <a:pt x="53" y="146"/>
                    <a:pt x="29" y="119"/>
                    <a:pt x="29" y="87"/>
                  </a:cubicBezTo>
                  <a:cubicBezTo>
                    <a:pt x="29" y="61"/>
                    <a:pt x="45" y="38"/>
                    <a:pt x="68" y="31"/>
                  </a:cubicBezTo>
                  <a:cubicBezTo>
                    <a:pt x="69" y="31"/>
                    <a:pt x="70" y="30"/>
                    <a:pt x="70" y="29"/>
                  </a:cubicBezTo>
                  <a:cubicBezTo>
                    <a:pt x="70" y="3"/>
                    <a:pt x="70" y="3"/>
                    <a:pt x="70" y="3"/>
                  </a:cubicBezTo>
                  <a:cubicBezTo>
                    <a:pt x="70" y="1"/>
                    <a:pt x="69" y="0"/>
                    <a:pt x="67" y="0"/>
                  </a:cubicBezTo>
                  <a:cubicBezTo>
                    <a:pt x="67" y="0"/>
                    <a:pt x="67" y="0"/>
                    <a:pt x="6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25" name="Oval 11">
              <a:extLst>
                <a:ext uri="{FF2B5EF4-FFF2-40B4-BE49-F238E27FC236}">
                  <a16:creationId xmlns:a16="http://schemas.microsoft.com/office/drawing/2014/main" id="{C73A465C-03FB-40DA-A381-544599743F7D}"/>
                </a:ext>
              </a:extLst>
            </p:cNvPr>
            <p:cNvSpPr>
              <a:spLocks noChangeArrowheads="1"/>
            </p:cNvSpPr>
            <p:nvPr userDrawn="1"/>
          </p:nvSpPr>
          <p:spPr bwMode="auto">
            <a:xfrm>
              <a:off x="284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26" name="Oval 12">
              <a:extLst>
                <a:ext uri="{FF2B5EF4-FFF2-40B4-BE49-F238E27FC236}">
                  <a16:creationId xmlns:a16="http://schemas.microsoft.com/office/drawing/2014/main" id="{9FFE5527-2DF9-4A01-9E29-E2A442B566E3}"/>
                </a:ext>
              </a:extLst>
            </p:cNvPr>
            <p:cNvSpPr>
              <a:spLocks noChangeArrowheads="1"/>
            </p:cNvSpPr>
            <p:nvPr userDrawn="1"/>
          </p:nvSpPr>
          <p:spPr bwMode="auto">
            <a:xfrm>
              <a:off x="387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27" name="Freeform 13">
              <a:extLst>
                <a:ext uri="{FF2B5EF4-FFF2-40B4-BE49-F238E27FC236}">
                  <a16:creationId xmlns:a16="http://schemas.microsoft.com/office/drawing/2014/main" id="{C27E165C-619B-4F48-8C43-C8AEBFD58E90}"/>
                </a:ext>
              </a:extLst>
            </p:cNvPr>
            <p:cNvSpPr>
              <a:spLocks/>
            </p:cNvSpPr>
            <p:nvPr userDrawn="1"/>
          </p:nvSpPr>
          <p:spPr bwMode="auto">
            <a:xfrm>
              <a:off x="4062" y="1584"/>
              <a:ext cx="242" cy="462"/>
            </a:xfrm>
            <a:custGeom>
              <a:avLst/>
              <a:gdLst>
                <a:gd name="T0" fmla="*/ 39 w 128"/>
                <a:gd name="T1" fmla="*/ 55 h 244"/>
                <a:gd name="T2" fmla="*/ 39 w 128"/>
                <a:gd name="T3" fmla="*/ 76 h 244"/>
                <a:gd name="T4" fmla="*/ 4 w 128"/>
                <a:gd name="T5" fmla="*/ 76 h 244"/>
                <a:gd name="T6" fmla="*/ 0 w 128"/>
                <a:gd name="T7" fmla="*/ 81 h 244"/>
                <a:gd name="T8" fmla="*/ 0 w 128"/>
                <a:gd name="T9" fmla="*/ 99 h 244"/>
                <a:gd name="T10" fmla="*/ 4 w 128"/>
                <a:gd name="T11" fmla="*/ 103 h 244"/>
                <a:gd name="T12" fmla="*/ 39 w 128"/>
                <a:gd name="T13" fmla="*/ 103 h 244"/>
                <a:gd name="T14" fmla="*/ 39 w 128"/>
                <a:gd name="T15" fmla="*/ 239 h 244"/>
                <a:gd name="T16" fmla="*/ 44 w 128"/>
                <a:gd name="T17" fmla="*/ 244 h 244"/>
                <a:gd name="T18" fmla="*/ 62 w 128"/>
                <a:gd name="T19" fmla="*/ 244 h 244"/>
                <a:gd name="T20" fmla="*/ 67 w 128"/>
                <a:gd name="T21" fmla="*/ 239 h 244"/>
                <a:gd name="T22" fmla="*/ 67 w 128"/>
                <a:gd name="T23" fmla="*/ 103 h 244"/>
                <a:gd name="T24" fmla="*/ 120 w 128"/>
                <a:gd name="T25" fmla="*/ 103 h 244"/>
                <a:gd name="T26" fmla="*/ 125 w 128"/>
                <a:gd name="T27" fmla="*/ 99 h 244"/>
                <a:gd name="T28" fmla="*/ 125 w 128"/>
                <a:gd name="T29" fmla="*/ 81 h 244"/>
                <a:gd name="T30" fmla="*/ 120 w 128"/>
                <a:gd name="T31" fmla="*/ 76 h 244"/>
                <a:gd name="T32" fmla="*/ 67 w 128"/>
                <a:gd name="T33" fmla="*/ 76 h 244"/>
                <a:gd name="T34" fmla="*/ 67 w 128"/>
                <a:gd name="T35" fmla="*/ 55 h 244"/>
                <a:gd name="T36" fmla="*/ 91 w 128"/>
                <a:gd name="T37" fmla="*/ 27 h 244"/>
                <a:gd name="T38" fmla="*/ 122 w 128"/>
                <a:gd name="T39" fmla="*/ 37 h 244"/>
                <a:gd name="T40" fmla="*/ 125 w 128"/>
                <a:gd name="T41" fmla="*/ 38 h 244"/>
                <a:gd name="T42" fmla="*/ 128 w 128"/>
                <a:gd name="T43" fmla="*/ 33 h 244"/>
                <a:gd name="T44" fmla="*/ 128 w 128"/>
                <a:gd name="T45" fmla="*/ 16 h 244"/>
                <a:gd name="T46" fmla="*/ 125 w 128"/>
                <a:gd name="T47" fmla="*/ 9 h 244"/>
                <a:gd name="T48" fmla="*/ 89 w 128"/>
                <a:gd name="T49" fmla="*/ 0 h 244"/>
                <a:gd name="T50" fmla="*/ 39 w 128"/>
                <a:gd name="T51" fmla="*/ 5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244">
                  <a:moveTo>
                    <a:pt x="39" y="55"/>
                  </a:moveTo>
                  <a:cubicBezTo>
                    <a:pt x="39" y="76"/>
                    <a:pt x="39" y="76"/>
                    <a:pt x="39" y="76"/>
                  </a:cubicBezTo>
                  <a:cubicBezTo>
                    <a:pt x="4" y="76"/>
                    <a:pt x="4" y="76"/>
                    <a:pt x="4" y="76"/>
                  </a:cubicBezTo>
                  <a:cubicBezTo>
                    <a:pt x="1" y="76"/>
                    <a:pt x="0" y="78"/>
                    <a:pt x="0" y="81"/>
                  </a:cubicBezTo>
                  <a:cubicBezTo>
                    <a:pt x="0" y="99"/>
                    <a:pt x="0" y="99"/>
                    <a:pt x="0" y="99"/>
                  </a:cubicBezTo>
                  <a:cubicBezTo>
                    <a:pt x="0" y="102"/>
                    <a:pt x="1" y="103"/>
                    <a:pt x="4" y="103"/>
                  </a:cubicBezTo>
                  <a:cubicBezTo>
                    <a:pt x="39" y="103"/>
                    <a:pt x="39" y="103"/>
                    <a:pt x="39" y="103"/>
                  </a:cubicBezTo>
                  <a:cubicBezTo>
                    <a:pt x="39" y="239"/>
                    <a:pt x="39" y="239"/>
                    <a:pt x="39" y="239"/>
                  </a:cubicBezTo>
                  <a:cubicBezTo>
                    <a:pt x="39" y="242"/>
                    <a:pt x="41" y="244"/>
                    <a:pt x="44" y="244"/>
                  </a:cubicBezTo>
                  <a:cubicBezTo>
                    <a:pt x="62" y="244"/>
                    <a:pt x="62" y="244"/>
                    <a:pt x="62" y="244"/>
                  </a:cubicBezTo>
                  <a:cubicBezTo>
                    <a:pt x="65" y="244"/>
                    <a:pt x="67" y="242"/>
                    <a:pt x="67" y="239"/>
                  </a:cubicBezTo>
                  <a:cubicBezTo>
                    <a:pt x="67" y="103"/>
                    <a:pt x="67" y="103"/>
                    <a:pt x="67" y="103"/>
                  </a:cubicBezTo>
                  <a:cubicBezTo>
                    <a:pt x="120" y="103"/>
                    <a:pt x="120" y="103"/>
                    <a:pt x="120" y="103"/>
                  </a:cubicBezTo>
                  <a:cubicBezTo>
                    <a:pt x="123" y="103"/>
                    <a:pt x="125" y="102"/>
                    <a:pt x="125" y="99"/>
                  </a:cubicBezTo>
                  <a:cubicBezTo>
                    <a:pt x="125" y="81"/>
                    <a:pt x="125" y="81"/>
                    <a:pt x="125" y="81"/>
                  </a:cubicBezTo>
                  <a:cubicBezTo>
                    <a:pt x="125" y="78"/>
                    <a:pt x="123" y="76"/>
                    <a:pt x="120" y="76"/>
                  </a:cubicBezTo>
                  <a:cubicBezTo>
                    <a:pt x="67" y="76"/>
                    <a:pt x="67" y="76"/>
                    <a:pt x="67" y="76"/>
                  </a:cubicBezTo>
                  <a:cubicBezTo>
                    <a:pt x="67" y="55"/>
                    <a:pt x="67" y="55"/>
                    <a:pt x="67" y="55"/>
                  </a:cubicBezTo>
                  <a:cubicBezTo>
                    <a:pt x="67" y="38"/>
                    <a:pt x="76" y="27"/>
                    <a:pt x="91" y="27"/>
                  </a:cubicBezTo>
                  <a:cubicBezTo>
                    <a:pt x="102" y="27"/>
                    <a:pt x="110" y="30"/>
                    <a:pt x="122" y="37"/>
                  </a:cubicBezTo>
                  <a:cubicBezTo>
                    <a:pt x="123" y="38"/>
                    <a:pt x="124" y="38"/>
                    <a:pt x="125" y="38"/>
                  </a:cubicBezTo>
                  <a:cubicBezTo>
                    <a:pt x="127" y="38"/>
                    <a:pt x="128" y="36"/>
                    <a:pt x="128" y="33"/>
                  </a:cubicBezTo>
                  <a:cubicBezTo>
                    <a:pt x="128" y="16"/>
                    <a:pt x="128" y="16"/>
                    <a:pt x="128" y="16"/>
                  </a:cubicBezTo>
                  <a:cubicBezTo>
                    <a:pt x="128" y="13"/>
                    <a:pt x="128" y="11"/>
                    <a:pt x="125" y="9"/>
                  </a:cubicBezTo>
                  <a:cubicBezTo>
                    <a:pt x="114" y="3"/>
                    <a:pt x="103" y="0"/>
                    <a:pt x="89" y="0"/>
                  </a:cubicBezTo>
                  <a:cubicBezTo>
                    <a:pt x="54" y="0"/>
                    <a:pt x="39" y="29"/>
                    <a:pt x="39"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28" name="Freeform 14">
              <a:extLst>
                <a:ext uri="{FF2B5EF4-FFF2-40B4-BE49-F238E27FC236}">
                  <a16:creationId xmlns:a16="http://schemas.microsoft.com/office/drawing/2014/main" id="{55BAEF4C-20E0-4F60-A41D-DA6C12A98B45}"/>
                </a:ext>
              </a:extLst>
            </p:cNvPr>
            <p:cNvSpPr>
              <a:spLocks/>
            </p:cNvSpPr>
            <p:nvPr userDrawn="1"/>
          </p:nvSpPr>
          <p:spPr bwMode="auto">
            <a:xfrm>
              <a:off x="2071" y="1578"/>
              <a:ext cx="632" cy="631"/>
            </a:xfrm>
            <a:custGeom>
              <a:avLst/>
              <a:gdLst>
                <a:gd name="T0" fmla="*/ 181 w 334"/>
                <a:gd name="T1" fmla="*/ 1 h 333"/>
                <a:gd name="T2" fmla="*/ 180 w 334"/>
                <a:gd name="T3" fmla="*/ 4 h 333"/>
                <a:gd name="T4" fmla="*/ 180 w 334"/>
                <a:gd name="T5" fmla="*/ 26 h 333"/>
                <a:gd name="T6" fmla="*/ 180 w 334"/>
                <a:gd name="T7" fmla="*/ 26 h 333"/>
                <a:gd name="T8" fmla="*/ 182 w 334"/>
                <a:gd name="T9" fmla="*/ 28 h 333"/>
                <a:gd name="T10" fmla="*/ 306 w 334"/>
                <a:gd name="T11" fmla="*/ 166 h 333"/>
                <a:gd name="T12" fmla="*/ 167 w 334"/>
                <a:gd name="T13" fmla="*/ 305 h 333"/>
                <a:gd name="T14" fmla="*/ 28 w 334"/>
                <a:gd name="T15" fmla="*/ 166 h 333"/>
                <a:gd name="T16" fmla="*/ 152 w 334"/>
                <a:gd name="T17" fmla="*/ 28 h 333"/>
                <a:gd name="T18" fmla="*/ 154 w 334"/>
                <a:gd name="T19" fmla="*/ 26 h 333"/>
                <a:gd name="T20" fmla="*/ 154 w 334"/>
                <a:gd name="T21" fmla="*/ 26 h 333"/>
                <a:gd name="T22" fmla="*/ 154 w 334"/>
                <a:gd name="T23" fmla="*/ 4 h 333"/>
                <a:gd name="T24" fmla="*/ 153 w 334"/>
                <a:gd name="T25" fmla="*/ 1 h 333"/>
                <a:gd name="T26" fmla="*/ 150 w 334"/>
                <a:gd name="T27" fmla="*/ 0 h 333"/>
                <a:gd name="T28" fmla="*/ 149 w 334"/>
                <a:gd name="T29" fmla="*/ 0 h 333"/>
                <a:gd name="T30" fmla="*/ 149 w 334"/>
                <a:gd name="T31" fmla="*/ 0 h 333"/>
                <a:gd name="T32" fmla="*/ 0 w 334"/>
                <a:gd name="T33" fmla="*/ 166 h 333"/>
                <a:gd name="T34" fmla="*/ 167 w 334"/>
                <a:gd name="T35" fmla="*/ 333 h 333"/>
                <a:gd name="T36" fmla="*/ 334 w 334"/>
                <a:gd name="T37" fmla="*/ 166 h 333"/>
                <a:gd name="T38" fmla="*/ 185 w 334"/>
                <a:gd name="T39" fmla="*/ 0 h 333"/>
                <a:gd name="T40" fmla="*/ 185 w 334"/>
                <a:gd name="T41" fmla="*/ 0 h 333"/>
                <a:gd name="T42" fmla="*/ 184 w 334"/>
                <a:gd name="T43" fmla="*/ 0 h 333"/>
                <a:gd name="T44" fmla="*/ 181 w 334"/>
                <a:gd name="T45" fmla="*/ 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4" h="333">
                  <a:moveTo>
                    <a:pt x="181" y="1"/>
                  </a:moveTo>
                  <a:cubicBezTo>
                    <a:pt x="180" y="2"/>
                    <a:pt x="180" y="3"/>
                    <a:pt x="180" y="4"/>
                  </a:cubicBezTo>
                  <a:cubicBezTo>
                    <a:pt x="180" y="26"/>
                    <a:pt x="180" y="26"/>
                    <a:pt x="180" y="26"/>
                  </a:cubicBezTo>
                  <a:cubicBezTo>
                    <a:pt x="180" y="26"/>
                    <a:pt x="180" y="26"/>
                    <a:pt x="180" y="26"/>
                  </a:cubicBezTo>
                  <a:cubicBezTo>
                    <a:pt x="180" y="27"/>
                    <a:pt x="181" y="28"/>
                    <a:pt x="182" y="28"/>
                  </a:cubicBezTo>
                  <a:cubicBezTo>
                    <a:pt x="251" y="35"/>
                    <a:pt x="306" y="94"/>
                    <a:pt x="306" y="166"/>
                  </a:cubicBezTo>
                  <a:cubicBezTo>
                    <a:pt x="306" y="243"/>
                    <a:pt x="244" y="305"/>
                    <a:pt x="167" y="305"/>
                  </a:cubicBezTo>
                  <a:cubicBezTo>
                    <a:pt x="90" y="305"/>
                    <a:pt x="28" y="243"/>
                    <a:pt x="28" y="166"/>
                  </a:cubicBezTo>
                  <a:cubicBezTo>
                    <a:pt x="28" y="94"/>
                    <a:pt x="82" y="35"/>
                    <a:pt x="152" y="28"/>
                  </a:cubicBezTo>
                  <a:cubicBezTo>
                    <a:pt x="153" y="28"/>
                    <a:pt x="154" y="27"/>
                    <a:pt x="154" y="26"/>
                  </a:cubicBezTo>
                  <a:cubicBezTo>
                    <a:pt x="154" y="26"/>
                    <a:pt x="154" y="26"/>
                    <a:pt x="154" y="26"/>
                  </a:cubicBezTo>
                  <a:cubicBezTo>
                    <a:pt x="154" y="4"/>
                    <a:pt x="154" y="4"/>
                    <a:pt x="154" y="4"/>
                  </a:cubicBezTo>
                  <a:cubicBezTo>
                    <a:pt x="154" y="3"/>
                    <a:pt x="154" y="2"/>
                    <a:pt x="153" y="1"/>
                  </a:cubicBezTo>
                  <a:cubicBezTo>
                    <a:pt x="152" y="0"/>
                    <a:pt x="151" y="0"/>
                    <a:pt x="150" y="0"/>
                  </a:cubicBezTo>
                  <a:cubicBezTo>
                    <a:pt x="149" y="0"/>
                    <a:pt x="149" y="0"/>
                    <a:pt x="149" y="0"/>
                  </a:cubicBezTo>
                  <a:cubicBezTo>
                    <a:pt x="149" y="0"/>
                    <a:pt x="149" y="0"/>
                    <a:pt x="149" y="0"/>
                  </a:cubicBezTo>
                  <a:cubicBezTo>
                    <a:pt x="65" y="9"/>
                    <a:pt x="0" y="80"/>
                    <a:pt x="0" y="166"/>
                  </a:cubicBezTo>
                  <a:cubicBezTo>
                    <a:pt x="0" y="258"/>
                    <a:pt x="75" y="333"/>
                    <a:pt x="167" y="333"/>
                  </a:cubicBezTo>
                  <a:cubicBezTo>
                    <a:pt x="259" y="333"/>
                    <a:pt x="334" y="258"/>
                    <a:pt x="334" y="166"/>
                  </a:cubicBezTo>
                  <a:cubicBezTo>
                    <a:pt x="334" y="80"/>
                    <a:pt x="269" y="9"/>
                    <a:pt x="185" y="0"/>
                  </a:cubicBezTo>
                  <a:cubicBezTo>
                    <a:pt x="185" y="0"/>
                    <a:pt x="185" y="0"/>
                    <a:pt x="185" y="0"/>
                  </a:cubicBezTo>
                  <a:cubicBezTo>
                    <a:pt x="185" y="0"/>
                    <a:pt x="184" y="0"/>
                    <a:pt x="184" y="0"/>
                  </a:cubicBezTo>
                  <a:cubicBezTo>
                    <a:pt x="183" y="0"/>
                    <a:pt x="182" y="0"/>
                    <a:pt x="18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grpSp>
    </p:spTree>
    <p:extLst>
      <p:ext uri="{BB962C8B-B14F-4D97-AF65-F5344CB8AC3E}">
        <p14:creationId xmlns:p14="http://schemas.microsoft.com/office/powerpoint/2010/main" val="1929875089"/>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10880" y="1521184"/>
            <a:ext cx="6178854" cy="3817442"/>
          </a:xfrm>
        </p:spPr>
        <p:txBody>
          <a:bodyPr anchor="ctr"/>
          <a:lstStyle>
            <a:lvl1pPr marL="0" indent="0">
              <a:buNone/>
              <a:defRPr sz="3000" b="0">
                <a:solidFill>
                  <a:schemeClr val="tx2"/>
                </a:solidFill>
                <a:latin typeface="+mj-lt"/>
              </a:defRPr>
            </a:lvl1pPr>
            <a:lvl2pPr marL="521258" indent="0">
              <a:buNone/>
              <a:defRPr sz="2280">
                <a:solidFill>
                  <a:schemeClr val="tx1">
                    <a:tint val="75000"/>
                  </a:schemeClr>
                </a:solidFill>
              </a:defRPr>
            </a:lvl2pPr>
            <a:lvl3pPr marL="1042512" indent="0">
              <a:buNone/>
              <a:defRPr sz="2052">
                <a:solidFill>
                  <a:schemeClr val="tx1">
                    <a:tint val="75000"/>
                  </a:schemeClr>
                </a:solidFill>
              </a:defRPr>
            </a:lvl3pPr>
            <a:lvl4pPr marL="1563773" indent="0">
              <a:buNone/>
              <a:defRPr sz="1824">
                <a:solidFill>
                  <a:schemeClr val="tx1">
                    <a:tint val="75000"/>
                  </a:schemeClr>
                </a:solidFill>
              </a:defRPr>
            </a:lvl4pPr>
            <a:lvl5pPr marL="2085031" indent="0">
              <a:buNone/>
              <a:defRPr sz="1824">
                <a:solidFill>
                  <a:schemeClr val="tx1">
                    <a:tint val="75000"/>
                  </a:schemeClr>
                </a:solidFill>
              </a:defRPr>
            </a:lvl5pPr>
            <a:lvl6pPr marL="2606285" indent="0">
              <a:buNone/>
              <a:defRPr sz="1824">
                <a:solidFill>
                  <a:schemeClr val="tx1">
                    <a:tint val="75000"/>
                  </a:schemeClr>
                </a:solidFill>
              </a:defRPr>
            </a:lvl6pPr>
            <a:lvl7pPr marL="3127543" indent="0">
              <a:buNone/>
              <a:defRPr sz="1824">
                <a:solidFill>
                  <a:schemeClr val="tx1">
                    <a:tint val="75000"/>
                  </a:schemeClr>
                </a:solidFill>
              </a:defRPr>
            </a:lvl7pPr>
            <a:lvl8pPr marL="3648803" indent="0">
              <a:buNone/>
              <a:defRPr sz="1824">
                <a:solidFill>
                  <a:schemeClr val="tx1">
                    <a:tint val="75000"/>
                  </a:schemeClr>
                </a:solidFill>
              </a:defRPr>
            </a:lvl8pPr>
            <a:lvl9pPr marL="4170060" indent="0">
              <a:buNone/>
              <a:defRPr sz="1824">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p:txBody>
          <a:bodyPr/>
          <a:lstStyle/>
          <a:p>
            <a:r>
              <a:rPr lang="en-GB"/>
              <a:t>Document Name</a:t>
            </a:r>
            <a:endParaRPr lang="en-US" dirty="0"/>
          </a:p>
        </p:txBody>
      </p:sp>
      <p:sp>
        <p:nvSpPr>
          <p:cNvPr id="6" name="Slide Number Placeholder 5"/>
          <p:cNvSpPr>
            <a:spLocks noGrp="1"/>
          </p:cNvSpPr>
          <p:nvPr>
            <p:ph type="sldNum" sz="quarter" idx="12"/>
          </p:nvPr>
        </p:nvSpPr>
        <p:spPr/>
        <p:txBody>
          <a:bodyPr/>
          <a:lstStyle/>
          <a:p>
            <a:fld id="{32B354EE-31EA-4FC2-9496-7B6202183237}" type="slidenum">
              <a:rPr lang="en-US" smtClean="0"/>
              <a:t>‹#›</a:t>
            </a:fld>
            <a:endParaRPr lang="en-US" dirty="0"/>
          </a:p>
        </p:txBody>
      </p:sp>
      <p:sp>
        <p:nvSpPr>
          <p:cNvPr id="19" name="Title 18">
            <a:extLst>
              <a:ext uri="{FF2B5EF4-FFF2-40B4-BE49-F238E27FC236}">
                <a16:creationId xmlns:a16="http://schemas.microsoft.com/office/drawing/2014/main" id="{B47DF7D0-E13C-497A-8A71-C5A8B4D7F67C}"/>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485313301"/>
      </p:ext>
    </p:extLst>
  </p:cSld>
  <p:clrMapOvr>
    <a:masterClrMapping/>
  </p:clrMapOvr>
  <p:transition>
    <p:fade/>
  </p:transition>
  <p:extLst>
    <p:ext uri="{DCECCB84-F9BA-43D5-87BE-67443E8EF086}">
      <p15:sldGuideLst xmlns:p15="http://schemas.microsoft.com/office/powerpoint/2012/main">
        <p15:guide id="1" pos="4150">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chemeClr val="tx2"/>
        </a:solid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lvl1pPr>
              <a:defRPr>
                <a:solidFill>
                  <a:schemeClr val="bg1"/>
                </a:solidFill>
              </a:defRPr>
            </a:lvl1pPr>
          </a:lstStyle>
          <a:p>
            <a:r>
              <a:rPr lang="en-GB"/>
              <a:t>Document Name</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32B354EE-31EA-4FC2-9496-7B6202183237}" type="slidenum">
              <a:rPr lang="en-US" smtClean="0"/>
              <a:pPr/>
              <a:t>‹#›</a:t>
            </a:fld>
            <a:endParaRPr lang="en-US" dirty="0"/>
          </a:p>
        </p:txBody>
      </p:sp>
      <p:sp>
        <p:nvSpPr>
          <p:cNvPr id="7" name="Title 6">
            <a:extLst>
              <a:ext uri="{FF2B5EF4-FFF2-40B4-BE49-F238E27FC236}">
                <a16:creationId xmlns:a16="http://schemas.microsoft.com/office/drawing/2014/main" id="{EE9D7C87-D037-4797-9A6A-B999C6F026D8}"/>
              </a:ext>
            </a:extLst>
          </p:cNvPr>
          <p:cNvSpPr>
            <a:spLocks noGrp="1"/>
          </p:cNvSpPr>
          <p:nvPr>
            <p:ph type="title"/>
          </p:nvPr>
        </p:nvSpPr>
        <p:spPr>
          <a:xfrm>
            <a:off x="410879" y="1521185"/>
            <a:ext cx="11368018" cy="3815631"/>
          </a:xfrm>
        </p:spPr>
        <p:txBody>
          <a:bodyPr anchor="ctr"/>
          <a:lstStyle>
            <a:lvl1pPr algn="ctr">
              <a:defRPr sz="6000">
                <a:solidFill>
                  <a:schemeClr val="accent1"/>
                </a:solidFill>
              </a:defRPr>
            </a:lvl1pPr>
          </a:lstStyle>
          <a:p>
            <a:r>
              <a:rPr lang="en-US"/>
              <a:t>Click to edit Master title style</a:t>
            </a:r>
            <a:endParaRPr lang="en-US" dirty="0"/>
          </a:p>
        </p:txBody>
      </p:sp>
    </p:spTree>
    <p:extLst>
      <p:ext uri="{BB962C8B-B14F-4D97-AF65-F5344CB8AC3E}">
        <p14:creationId xmlns:p14="http://schemas.microsoft.com/office/powerpoint/2010/main" val="3547460309"/>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Section Header Light Grey">
    <p:bg>
      <p:bgPr>
        <a:solidFill>
          <a:schemeClr val="accent2"/>
        </a:solid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lvl1pPr>
              <a:defRPr>
                <a:solidFill>
                  <a:schemeClr val="tx2"/>
                </a:solidFill>
              </a:defRPr>
            </a:lvl1pPr>
          </a:lstStyle>
          <a:p>
            <a:r>
              <a:rPr lang="en-GB"/>
              <a:t>Document Name</a:t>
            </a:r>
            <a:endParaRPr lang="en-US" dirty="0"/>
          </a:p>
        </p:txBody>
      </p:sp>
      <p:sp>
        <p:nvSpPr>
          <p:cNvPr id="6" name="Slide Number Placeholder 5"/>
          <p:cNvSpPr>
            <a:spLocks noGrp="1"/>
          </p:cNvSpPr>
          <p:nvPr>
            <p:ph type="sldNum" sz="quarter" idx="12"/>
          </p:nvPr>
        </p:nvSpPr>
        <p:spPr/>
        <p:txBody>
          <a:bodyPr/>
          <a:lstStyle>
            <a:lvl1pPr>
              <a:defRPr>
                <a:solidFill>
                  <a:schemeClr val="tx2"/>
                </a:solidFill>
              </a:defRPr>
            </a:lvl1pPr>
          </a:lstStyle>
          <a:p>
            <a:fld id="{32B354EE-31EA-4FC2-9496-7B6202183237}" type="slidenum">
              <a:rPr lang="en-US" smtClean="0"/>
              <a:pPr/>
              <a:t>‹#›</a:t>
            </a:fld>
            <a:endParaRPr lang="en-US" dirty="0"/>
          </a:p>
        </p:txBody>
      </p:sp>
      <p:sp>
        <p:nvSpPr>
          <p:cNvPr id="7" name="Title 6">
            <a:extLst>
              <a:ext uri="{FF2B5EF4-FFF2-40B4-BE49-F238E27FC236}">
                <a16:creationId xmlns:a16="http://schemas.microsoft.com/office/drawing/2014/main" id="{EE9D7C87-D037-4797-9A6A-B999C6F026D8}"/>
              </a:ext>
            </a:extLst>
          </p:cNvPr>
          <p:cNvSpPr>
            <a:spLocks noGrp="1"/>
          </p:cNvSpPr>
          <p:nvPr>
            <p:ph type="title"/>
          </p:nvPr>
        </p:nvSpPr>
        <p:spPr>
          <a:xfrm>
            <a:off x="410879" y="1521185"/>
            <a:ext cx="11368018" cy="3815631"/>
          </a:xfrm>
        </p:spPr>
        <p:txBody>
          <a:bodyPr anchor="ctr"/>
          <a:lstStyle>
            <a:lvl1pPr algn="ctr">
              <a:defRPr sz="6000">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546275889"/>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Section Header Image">
    <p:bg>
      <p:bgPr>
        <a:solidFill>
          <a:schemeClr val="bg1">
            <a:lumMod val="85000"/>
          </a:schemeClr>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13105" y="1521184"/>
            <a:ext cx="6176627" cy="3817442"/>
          </a:xfrm>
        </p:spPr>
        <p:txBody>
          <a:bodyPr anchor="ctr"/>
          <a:lstStyle>
            <a:lvl1pPr marL="0" indent="0">
              <a:buNone/>
              <a:defRPr sz="4000" b="0">
                <a:solidFill>
                  <a:schemeClr val="bg1"/>
                </a:solidFill>
                <a:latin typeface="+mj-lt"/>
              </a:defRPr>
            </a:lvl1pPr>
            <a:lvl2pPr marL="521258" indent="0">
              <a:buNone/>
              <a:defRPr sz="2280">
                <a:solidFill>
                  <a:schemeClr val="tx1">
                    <a:tint val="75000"/>
                  </a:schemeClr>
                </a:solidFill>
              </a:defRPr>
            </a:lvl2pPr>
            <a:lvl3pPr marL="1042512" indent="0">
              <a:buNone/>
              <a:defRPr sz="2052">
                <a:solidFill>
                  <a:schemeClr val="tx1">
                    <a:tint val="75000"/>
                  </a:schemeClr>
                </a:solidFill>
              </a:defRPr>
            </a:lvl3pPr>
            <a:lvl4pPr marL="1563773" indent="0">
              <a:buNone/>
              <a:defRPr sz="1824">
                <a:solidFill>
                  <a:schemeClr val="tx1">
                    <a:tint val="75000"/>
                  </a:schemeClr>
                </a:solidFill>
              </a:defRPr>
            </a:lvl4pPr>
            <a:lvl5pPr marL="2085031" indent="0">
              <a:buNone/>
              <a:defRPr sz="1824">
                <a:solidFill>
                  <a:schemeClr val="tx1">
                    <a:tint val="75000"/>
                  </a:schemeClr>
                </a:solidFill>
              </a:defRPr>
            </a:lvl5pPr>
            <a:lvl6pPr marL="2606285" indent="0">
              <a:buNone/>
              <a:defRPr sz="1824">
                <a:solidFill>
                  <a:schemeClr val="tx1">
                    <a:tint val="75000"/>
                  </a:schemeClr>
                </a:solidFill>
              </a:defRPr>
            </a:lvl6pPr>
            <a:lvl7pPr marL="3127543" indent="0">
              <a:buNone/>
              <a:defRPr sz="1824">
                <a:solidFill>
                  <a:schemeClr val="tx1">
                    <a:tint val="75000"/>
                  </a:schemeClr>
                </a:solidFill>
              </a:defRPr>
            </a:lvl7pPr>
            <a:lvl8pPr marL="3648803" indent="0">
              <a:buNone/>
              <a:defRPr sz="1824">
                <a:solidFill>
                  <a:schemeClr val="tx1">
                    <a:tint val="75000"/>
                  </a:schemeClr>
                </a:solidFill>
              </a:defRPr>
            </a:lvl8pPr>
            <a:lvl9pPr marL="4170060" indent="0">
              <a:buNone/>
              <a:defRPr sz="1824">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a:t>Document Name</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32B354EE-31EA-4FC2-9496-7B6202183237}" type="slidenum">
              <a:rPr lang="en-US" smtClean="0"/>
              <a:pPr/>
              <a:t>‹#›</a:t>
            </a:fld>
            <a:endParaRPr lang="en-US" dirty="0"/>
          </a:p>
        </p:txBody>
      </p:sp>
      <p:sp>
        <p:nvSpPr>
          <p:cNvPr id="19" name="Title 18">
            <a:extLst>
              <a:ext uri="{FF2B5EF4-FFF2-40B4-BE49-F238E27FC236}">
                <a16:creationId xmlns:a16="http://schemas.microsoft.com/office/drawing/2014/main" id="{B47DF7D0-E13C-497A-8A71-C5A8B4D7F67C}"/>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006361776"/>
      </p:ext>
    </p:extLst>
  </p:cSld>
  <p:clrMapOvr>
    <a:masterClrMapping/>
  </p:clrMapOvr>
  <p:transition>
    <p:fade/>
  </p:transition>
  <p:extLst>
    <p:ext uri="{DCECCB84-F9BA-43D5-87BE-67443E8EF086}">
      <p15:sldGuideLst xmlns:p15="http://schemas.microsoft.com/office/powerpoint/2012/main">
        <p15:guide id="1" pos="4150">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GB"/>
              <a:t>Document Name</a:t>
            </a:r>
            <a:endParaRPr lang="en-US" dirty="0"/>
          </a:p>
        </p:txBody>
      </p:sp>
      <p:sp>
        <p:nvSpPr>
          <p:cNvPr id="6" name="Slide Number Placeholder 5"/>
          <p:cNvSpPr>
            <a:spLocks noGrp="1"/>
          </p:cNvSpPr>
          <p:nvPr>
            <p:ph type="sldNum" sz="quarter" idx="12"/>
          </p:nvPr>
        </p:nvSpPr>
        <p:spPr/>
        <p:txBody>
          <a:bodyPr/>
          <a:lstStyle/>
          <a:p>
            <a:fld id="{32B354EE-31EA-4FC2-9496-7B6202183237}" type="slidenum">
              <a:rPr lang="en-US" smtClean="0"/>
              <a:t>‹#›</a:t>
            </a:fld>
            <a:endParaRPr lang="en-US" dirty="0"/>
          </a:p>
        </p:txBody>
      </p:sp>
      <p:sp>
        <p:nvSpPr>
          <p:cNvPr id="9" name="Content Placeholder 8">
            <a:extLst>
              <a:ext uri="{FF2B5EF4-FFF2-40B4-BE49-F238E27FC236}">
                <a16:creationId xmlns:a16="http://schemas.microsoft.com/office/drawing/2014/main" id="{AD5FF552-6074-447D-AD5E-8C1C43CCBFB0}"/>
              </a:ext>
            </a:extLst>
          </p:cNvPr>
          <p:cNvSpPr>
            <a:spLocks noGrp="1"/>
          </p:cNvSpPr>
          <p:nvPr>
            <p:ph sz="quarter" idx="13"/>
          </p:nvPr>
        </p:nvSpPr>
        <p:spPr>
          <a:xfrm>
            <a:off x="412920" y="1521184"/>
            <a:ext cx="6762580" cy="4494733"/>
          </a:xfrm>
        </p:spPr>
        <p:txBody>
          <a:bodyPr/>
          <a:lstStyle>
            <a:lvl1pPr>
              <a:defRPr sz="2400"/>
            </a:lvl1pPr>
            <a:lvl2pPr>
              <a:defRPr sz="2400"/>
            </a:lvl2pPr>
            <a:lvl3pPr>
              <a:defRPr sz="2400"/>
            </a:lvl3pPr>
            <a:lvl4pPr>
              <a:defRPr sz="2200"/>
            </a:lvl4pPr>
            <a:lvl5pP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itle 9">
            <a:extLst>
              <a:ext uri="{FF2B5EF4-FFF2-40B4-BE49-F238E27FC236}">
                <a16:creationId xmlns:a16="http://schemas.microsoft.com/office/drawing/2014/main" id="{977F6106-20AC-4F4E-811D-6D4EBFC2BE1B}"/>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728775690"/>
      </p:ext>
    </p:extLst>
  </p:cSld>
  <p:clrMapOvr>
    <a:masterClrMapping/>
  </p:clrMapOvr>
  <p:transition>
    <p:fade/>
  </p:transition>
  <p:extLst>
    <p:ext uri="{DCECCB84-F9BA-43D5-87BE-67443E8EF086}">
      <p15:sldGuideLst xmlns:p15="http://schemas.microsoft.com/office/powerpoint/2012/main">
        <p15:guide id="1" pos="4520">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nd Content Dark">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10881" y="411083"/>
            <a:ext cx="11368018" cy="776038"/>
          </a:xfrm>
        </p:spPr>
        <p:txBody>
          <a:bodyPr/>
          <a:lstStyle>
            <a:lvl1pPr>
              <a:defRPr>
                <a:solidFill>
                  <a:schemeClr val="bg1"/>
                </a:solidFill>
              </a:defRPr>
            </a:lvl1pPr>
          </a:lstStyle>
          <a:p>
            <a:r>
              <a:rPr lang="en-US"/>
              <a:t>Click to edit Master title style</a:t>
            </a:r>
            <a:endParaRPr lang="en-US"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a:t>Document Name</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32B354EE-31EA-4FC2-9496-7B6202183237}" type="slidenum">
              <a:rPr lang="en-US" smtClean="0"/>
              <a:pPr/>
              <a:t>‹#›</a:t>
            </a:fld>
            <a:endParaRPr lang="en-US" dirty="0"/>
          </a:p>
        </p:txBody>
      </p:sp>
      <p:sp>
        <p:nvSpPr>
          <p:cNvPr id="7" name="Content Placeholder 8">
            <a:extLst>
              <a:ext uri="{FF2B5EF4-FFF2-40B4-BE49-F238E27FC236}">
                <a16:creationId xmlns:a16="http://schemas.microsoft.com/office/drawing/2014/main" id="{8E40116B-71CA-472D-8400-6F4605D9D057}"/>
              </a:ext>
            </a:extLst>
          </p:cNvPr>
          <p:cNvSpPr>
            <a:spLocks noGrp="1"/>
          </p:cNvSpPr>
          <p:nvPr>
            <p:ph sz="quarter" idx="13"/>
          </p:nvPr>
        </p:nvSpPr>
        <p:spPr>
          <a:xfrm>
            <a:off x="412920" y="1521184"/>
            <a:ext cx="6762580" cy="4494733"/>
          </a:xfrm>
        </p:spPr>
        <p:txBody>
          <a:bodyPr/>
          <a:lstStyle>
            <a:lvl1pPr>
              <a:defRPr sz="2400">
                <a:solidFill>
                  <a:schemeClr val="bg1"/>
                </a:solidFill>
              </a:defRPr>
            </a:lvl1pPr>
            <a:lvl2pPr>
              <a:defRPr sz="2400">
                <a:solidFill>
                  <a:schemeClr val="bg1"/>
                </a:solidFill>
              </a:defRPr>
            </a:lvl2pPr>
            <a:lvl3pPr>
              <a:defRPr sz="2400">
                <a:solidFill>
                  <a:schemeClr val="accent3"/>
                </a:solidFill>
              </a:defRPr>
            </a:lvl3pPr>
            <a:lvl4pPr>
              <a:buClr>
                <a:schemeClr val="accent3"/>
              </a:buClr>
              <a:defRPr sz="2200">
                <a:solidFill>
                  <a:schemeClr val="bg1"/>
                </a:solidFill>
              </a:defRPr>
            </a:lvl4pPr>
            <a:lvl5pPr>
              <a:buClr>
                <a:schemeClr val="accent3"/>
              </a:buClr>
              <a:defRPr sz="2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898263508"/>
      </p:ext>
    </p:extLst>
  </p:cSld>
  <p:clrMapOvr>
    <a:masterClrMapping/>
  </p:clrMapOvr>
  <p:transition>
    <p:fade/>
  </p:transition>
  <p:extLst>
    <p:ext uri="{DCECCB84-F9BA-43D5-87BE-67443E8EF086}">
      <p15:sldGuideLst xmlns:p15="http://schemas.microsoft.com/office/powerpoint/2012/main">
        <p15:guide id="1" pos="4520">
          <p15:clr>
            <a:srgbClr val="FBAE4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10878" y="1521184"/>
            <a:ext cx="5292112" cy="44947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486790" y="1521184"/>
            <a:ext cx="5292112" cy="44947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p>
            <a:r>
              <a:rPr lang="en-GB"/>
              <a:t>Document Name</a:t>
            </a:r>
            <a:endParaRPr lang="en-US" dirty="0"/>
          </a:p>
        </p:txBody>
      </p:sp>
      <p:sp>
        <p:nvSpPr>
          <p:cNvPr id="7" name="Slide Number Placeholder 6"/>
          <p:cNvSpPr>
            <a:spLocks noGrp="1"/>
          </p:cNvSpPr>
          <p:nvPr>
            <p:ph type="sldNum" sz="quarter" idx="12"/>
          </p:nvPr>
        </p:nvSpPr>
        <p:spPr/>
        <p:txBody>
          <a:bodyPr/>
          <a:lstStyle/>
          <a:p>
            <a:fld id="{32B354EE-31EA-4FC2-9496-7B6202183237}" type="slidenum">
              <a:rPr lang="en-US" smtClean="0"/>
              <a:t>‹#›</a:t>
            </a:fld>
            <a:endParaRPr lang="en-US" dirty="0"/>
          </a:p>
        </p:txBody>
      </p:sp>
      <p:sp>
        <p:nvSpPr>
          <p:cNvPr id="8" name="Title 7">
            <a:extLst>
              <a:ext uri="{FF2B5EF4-FFF2-40B4-BE49-F238E27FC236}">
                <a16:creationId xmlns:a16="http://schemas.microsoft.com/office/drawing/2014/main" id="{2BEC790B-BB37-46AF-9CC2-582F081B6401}"/>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3186150"/>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ext and 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623EE699-16B4-4E6C-852E-7A2C3D133E42}"/>
              </a:ext>
            </a:extLst>
          </p:cNvPr>
          <p:cNvSpPr>
            <a:spLocks noGrp="1"/>
          </p:cNvSpPr>
          <p:nvPr>
            <p:ph type="pic" sz="quarter" idx="13"/>
          </p:nvPr>
        </p:nvSpPr>
        <p:spPr>
          <a:xfrm>
            <a:off x="6096906" y="4"/>
            <a:ext cx="6095094" cy="6858000"/>
          </a:xfrm>
          <a:solidFill>
            <a:schemeClr val="bg1">
              <a:lumMod val="85000"/>
            </a:schemeClr>
          </a:solidFill>
        </p:spPr>
        <p:txBody>
          <a:bodyPr/>
          <a:lstStyle/>
          <a:p>
            <a:r>
              <a:rPr lang="en-US"/>
              <a:t>Click icon to add picture</a:t>
            </a:r>
            <a:endParaRPr lang="en-GB"/>
          </a:p>
        </p:txBody>
      </p:sp>
      <p:sp>
        <p:nvSpPr>
          <p:cNvPr id="2" name="Title 1"/>
          <p:cNvSpPr>
            <a:spLocks noGrp="1"/>
          </p:cNvSpPr>
          <p:nvPr>
            <p:ph type="title"/>
          </p:nvPr>
        </p:nvSpPr>
        <p:spPr>
          <a:xfrm>
            <a:off x="410878" y="411083"/>
            <a:ext cx="5292112" cy="776038"/>
          </a:xfrm>
        </p:spPr>
        <p:txBody>
          <a:bodyPr/>
          <a:lstStyle/>
          <a:p>
            <a:r>
              <a:rPr lang="en-US"/>
              <a:t>Click to edit Master title style</a:t>
            </a:r>
            <a:endParaRPr lang="en-US" dirty="0"/>
          </a:p>
        </p:txBody>
      </p:sp>
      <p:sp>
        <p:nvSpPr>
          <p:cNvPr id="3" name="Content Placeholder 2"/>
          <p:cNvSpPr>
            <a:spLocks noGrp="1"/>
          </p:cNvSpPr>
          <p:nvPr>
            <p:ph sz="half" idx="1"/>
          </p:nvPr>
        </p:nvSpPr>
        <p:spPr>
          <a:xfrm>
            <a:off x="410878" y="1521184"/>
            <a:ext cx="5292112" cy="44947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p>
            <a:r>
              <a:rPr lang="en-GB"/>
              <a:t>Document Name</a:t>
            </a:r>
            <a:endParaRPr lang="en-US" dirty="0"/>
          </a:p>
        </p:txBody>
      </p:sp>
      <p:sp>
        <p:nvSpPr>
          <p:cNvPr id="7" name="Slide Number Placeholder 6"/>
          <p:cNvSpPr>
            <a:spLocks noGrp="1"/>
          </p:cNvSpPr>
          <p:nvPr>
            <p:ph type="sldNum" sz="quarter" idx="12"/>
          </p:nvPr>
        </p:nvSpPr>
        <p:spPr/>
        <p:txBody>
          <a:bodyPr/>
          <a:lstStyle/>
          <a:p>
            <a:fld id="{32B354EE-31EA-4FC2-9496-7B6202183237}" type="slidenum">
              <a:rPr lang="en-US" smtClean="0"/>
              <a:t>‹#›</a:t>
            </a:fld>
            <a:endParaRPr lang="en-US" dirty="0"/>
          </a:p>
        </p:txBody>
      </p:sp>
    </p:spTree>
    <p:extLst>
      <p:ext uri="{BB962C8B-B14F-4D97-AF65-F5344CB8AC3E}">
        <p14:creationId xmlns:p14="http://schemas.microsoft.com/office/powerpoint/2010/main" val="456037907"/>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ext and Image Lef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623EE699-16B4-4E6C-852E-7A2C3D133E42}"/>
              </a:ext>
            </a:extLst>
          </p:cNvPr>
          <p:cNvSpPr>
            <a:spLocks noGrp="1"/>
          </p:cNvSpPr>
          <p:nvPr>
            <p:ph type="pic" sz="quarter" idx="13"/>
          </p:nvPr>
        </p:nvSpPr>
        <p:spPr>
          <a:xfrm>
            <a:off x="3" y="-1"/>
            <a:ext cx="6095094" cy="6858000"/>
          </a:xfrm>
          <a:solidFill>
            <a:schemeClr val="bg1">
              <a:lumMod val="85000"/>
            </a:schemeClr>
          </a:solidFill>
        </p:spPr>
        <p:txBody>
          <a:bodyPr/>
          <a:lstStyle/>
          <a:p>
            <a:r>
              <a:rPr lang="en-US"/>
              <a:t>Click icon to add picture</a:t>
            </a:r>
            <a:endParaRPr lang="en-GB"/>
          </a:p>
        </p:txBody>
      </p:sp>
      <p:sp>
        <p:nvSpPr>
          <p:cNvPr id="2" name="Title 1"/>
          <p:cNvSpPr>
            <a:spLocks noGrp="1"/>
          </p:cNvSpPr>
          <p:nvPr>
            <p:ph type="title"/>
          </p:nvPr>
        </p:nvSpPr>
        <p:spPr>
          <a:xfrm>
            <a:off x="6487200" y="411083"/>
            <a:ext cx="5292000" cy="776038"/>
          </a:xfrm>
        </p:spPr>
        <p:txBody>
          <a:bodyPr/>
          <a:lstStyle/>
          <a:p>
            <a:r>
              <a:rPr lang="en-US"/>
              <a:t>Click to edit Master title style</a:t>
            </a:r>
            <a:endParaRPr lang="en-US" dirty="0"/>
          </a:p>
        </p:txBody>
      </p:sp>
      <p:sp>
        <p:nvSpPr>
          <p:cNvPr id="3" name="Content Placeholder 2"/>
          <p:cNvSpPr>
            <a:spLocks noGrp="1"/>
          </p:cNvSpPr>
          <p:nvPr>
            <p:ph sz="half" idx="1"/>
          </p:nvPr>
        </p:nvSpPr>
        <p:spPr>
          <a:xfrm>
            <a:off x="6487200" y="1521184"/>
            <a:ext cx="5292000" cy="44947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p>
            <a:r>
              <a:rPr lang="en-GB"/>
              <a:t>Document Name</a:t>
            </a:r>
            <a:endParaRPr lang="en-US" dirty="0"/>
          </a:p>
        </p:txBody>
      </p:sp>
      <p:sp>
        <p:nvSpPr>
          <p:cNvPr id="7" name="Slide Number Placeholder 6"/>
          <p:cNvSpPr>
            <a:spLocks noGrp="1"/>
          </p:cNvSpPr>
          <p:nvPr>
            <p:ph type="sldNum" sz="quarter" idx="12"/>
          </p:nvPr>
        </p:nvSpPr>
        <p:spPr/>
        <p:txBody>
          <a:bodyPr/>
          <a:lstStyle/>
          <a:p>
            <a:fld id="{32B354EE-31EA-4FC2-9496-7B6202183237}" type="slidenum">
              <a:rPr lang="en-US" smtClean="0"/>
              <a:t>‹#›</a:t>
            </a:fld>
            <a:endParaRPr lang="en-US" dirty="0"/>
          </a:p>
        </p:txBody>
      </p:sp>
    </p:spTree>
    <p:extLst>
      <p:ext uri="{BB962C8B-B14F-4D97-AF65-F5344CB8AC3E}">
        <p14:creationId xmlns:p14="http://schemas.microsoft.com/office/powerpoint/2010/main" val="201698708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Agenda Slid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10880" y="1521184"/>
            <a:ext cx="7482544" cy="3817442"/>
          </a:xfrm>
        </p:spPr>
        <p:txBody>
          <a:bodyPr anchor="ctr"/>
          <a:lstStyle>
            <a:lvl1pPr marL="0" indent="0">
              <a:lnSpc>
                <a:spcPct val="100000"/>
              </a:lnSpc>
              <a:buNone/>
              <a:defRPr sz="4400" b="0">
                <a:solidFill>
                  <a:schemeClr val="tx1"/>
                </a:solidFill>
                <a:latin typeface="+mj-lt"/>
              </a:defRPr>
            </a:lvl1pPr>
            <a:lvl2pPr marL="521258" indent="0">
              <a:buNone/>
              <a:defRPr sz="2280">
                <a:solidFill>
                  <a:schemeClr val="tx1">
                    <a:tint val="75000"/>
                  </a:schemeClr>
                </a:solidFill>
              </a:defRPr>
            </a:lvl2pPr>
            <a:lvl3pPr marL="1042512" indent="0">
              <a:buNone/>
              <a:defRPr sz="2052">
                <a:solidFill>
                  <a:schemeClr val="tx1">
                    <a:tint val="75000"/>
                  </a:schemeClr>
                </a:solidFill>
              </a:defRPr>
            </a:lvl3pPr>
            <a:lvl4pPr marL="1563773" indent="0">
              <a:buNone/>
              <a:defRPr sz="1824">
                <a:solidFill>
                  <a:schemeClr val="tx1">
                    <a:tint val="75000"/>
                  </a:schemeClr>
                </a:solidFill>
              </a:defRPr>
            </a:lvl4pPr>
            <a:lvl5pPr marL="2085031" indent="0">
              <a:buNone/>
              <a:defRPr sz="1824">
                <a:solidFill>
                  <a:schemeClr val="tx1">
                    <a:tint val="75000"/>
                  </a:schemeClr>
                </a:solidFill>
              </a:defRPr>
            </a:lvl5pPr>
            <a:lvl6pPr marL="2606285" indent="0">
              <a:buNone/>
              <a:defRPr sz="1824">
                <a:solidFill>
                  <a:schemeClr val="tx1">
                    <a:tint val="75000"/>
                  </a:schemeClr>
                </a:solidFill>
              </a:defRPr>
            </a:lvl6pPr>
            <a:lvl7pPr marL="3127543" indent="0">
              <a:buNone/>
              <a:defRPr sz="1824">
                <a:solidFill>
                  <a:schemeClr val="tx1">
                    <a:tint val="75000"/>
                  </a:schemeClr>
                </a:solidFill>
              </a:defRPr>
            </a:lvl7pPr>
            <a:lvl8pPr marL="3648803" indent="0">
              <a:buNone/>
              <a:defRPr sz="1824">
                <a:solidFill>
                  <a:schemeClr val="tx1">
                    <a:tint val="75000"/>
                  </a:schemeClr>
                </a:solidFill>
              </a:defRPr>
            </a:lvl8pPr>
            <a:lvl9pPr marL="4170060" indent="0">
              <a:buNone/>
              <a:defRPr sz="1824">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p:txBody>
          <a:bodyPr/>
          <a:lstStyle/>
          <a:p>
            <a:r>
              <a:rPr lang="en-US"/>
              <a:t>Document Name</a:t>
            </a:r>
          </a:p>
        </p:txBody>
      </p:sp>
      <p:sp>
        <p:nvSpPr>
          <p:cNvPr id="6" name="Slide Number Placeholder 5"/>
          <p:cNvSpPr>
            <a:spLocks noGrp="1"/>
          </p:cNvSpPr>
          <p:nvPr>
            <p:ph type="sldNum" sz="quarter" idx="12"/>
          </p:nvPr>
        </p:nvSpPr>
        <p:spPr/>
        <p:txBody>
          <a:bodyPr/>
          <a:lstStyle/>
          <a:p>
            <a:fld id="{32B354EE-31EA-4FC2-9496-7B6202183237}" type="slidenum">
              <a:rPr lang="en-US" smtClean="0"/>
              <a:t>‹#›</a:t>
            </a:fld>
            <a:endParaRPr lang="en-US"/>
          </a:p>
        </p:txBody>
      </p:sp>
      <p:sp>
        <p:nvSpPr>
          <p:cNvPr id="19" name="Title 18">
            <a:extLst>
              <a:ext uri="{FF2B5EF4-FFF2-40B4-BE49-F238E27FC236}">
                <a16:creationId xmlns:a16="http://schemas.microsoft.com/office/drawing/2014/main" id="{B47DF7D0-E13C-497A-8A71-C5A8B4D7F67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35847052"/>
      </p:ext>
    </p:extLst>
  </p:cSld>
  <p:clrMapOvr>
    <a:masterClrMapping/>
  </p:clrMapOvr>
  <p:transition>
    <p:fade/>
  </p:transition>
  <p:extLst>
    <p:ext uri="{DCECCB84-F9BA-43D5-87BE-67443E8EF086}">
      <p15:sldGuideLst xmlns:p15="http://schemas.microsoft.com/office/powerpoint/2012/main">
        <p15:guide id="1" pos="4150">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ext, Key Info and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623EE699-16B4-4E6C-852E-7A2C3D133E42}"/>
              </a:ext>
            </a:extLst>
          </p:cNvPr>
          <p:cNvSpPr>
            <a:spLocks noGrp="1"/>
          </p:cNvSpPr>
          <p:nvPr>
            <p:ph type="pic" sz="quarter" idx="13"/>
          </p:nvPr>
        </p:nvSpPr>
        <p:spPr>
          <a:xfrm>
            <a:off x="6096906" y="3429905"/>
            <a:ext cx="6095094" cy="3428095"/>
          </a:xfrm>
          <a:solidFill>
            <a:schemeClr val="bg1">
              <a:lumMod val="85000"/>
            </a:schemeClr>
          </a:solidFill>
        </p:spPr>
        <p:txBody>
          <a:bodyPr/>
          <a:lstStyle/>
          <a:p>
            <a:r>
              <a:rPr lang="en-US"/>
              <a:t>Click icon to add picture</a:t>
            </a:r>
            <a:endParaRPr lang="en-GB"/>
          </a:p>
        </p:txBody>
      </p:sp>
      <p:sp>
        <p:nvSpPr>
          <p:cNvPr id="3" name="Content Placeholder 2"/>
          <p:cNvSpPr>
            <a:spLocks noGrp="1"/>
          </p:cNvSpPr>
          <p:nvPr>
            <p:ph sz="half" idx="1"/>
          </p:nvPr>
        </p:nvSpPr>
        <p:spPr>
          <a:xfrm>
            <a:off x="410878" y="1521184"/>
            <a:ext cx="5292112" cy="4494733"/>
          </a:xfrm>
        </p:spPr>
        <p:txBody>
          <a:bodyPr/>
          <a:lstStyle>
            <a:lvl1pPr>
              <a:defRPr sz="1597"/>
            </a:lvl1pPr>
            <a:lvl2pPr>
              <a:defRPr sz="1597"/>
            </a:lvl2pPr>
            <a:lvl3pPr>
              <a:defRPr sz="1597"/>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p>
            <a:r>
              <a:rPr lang="en-GB"/>
              <a:t>Document Name</a:t>
            </a:r>
            <a:endParaRPr lang="en-US" dirty="0"/>
          </a:p>
        </p:txBody>
      </p:sp>
      <p:sp>
        <p:nvSpPr>
          <p:cNvPr id="7" name="Slide Number Placeholder 6"/>
          <p:cNvSpPr>
            <a:spLocks noGrp="1"/>
          </p:cNvSpPr>
          <p:nvPr>
            <p:ph type="sldNum" sz="quarter" idx="12"/>
          </p:nvPr>
        </p:nvSpPr>
        <p:spPr/>
        <p:txBody>
          <a:bodyPr/>
          <a:lstStyle/>
          <a:p>
            <a:fld id="{32B354EE-31EA-4FC2-9496-7B6202183237}" type="slidenum">
              <a:rPr lang="en-US" smtClean="0"/>
              <a:t>‹#›</a:t>
            </a:fld>
            <a:endParaRPr lang="en-US" dirty="0"/>
          </a:p>
        </p:txBody>
      </p:sp>
      <p:sp>
        <p:nvSpPr>
          <p:cNvPr id="5" name="Text Placeholder 4">
            <a:extLst>
              <a:ext uri="{FF2B5EF4-FFF2-40B4-BE49-F238E27FC236}">
                <a16:creationId xmlns:a16="http://schemas.microsoft.com/office/drawing/2014/main" id="{F57219E9-6258-4F28-A57E-2D2A7A1479EF}"/>
              </a:ext>
            </a:extLst>
          </p:cNvPr>
          <p:cNvSpPr>
            <a:spLocks noGrp="1"/>
          </p:cNvSpPr>
          <p:nvPr>
            <p:ph type="body" sz="quarter" idx="14"/>
          </p:nvPr>
        </p:nvSpPr>
        <p:spPr>
          <a:xfrm>
            <a:off x="6096906" y="4"/>
            <a:ext cx="6095094" cy="3429905"/>
          </a:xfrm>
          <a:gradFill>
            <a:gsLst>
              <a:gs pos="50000">
                <a:srgbClr val="00E487"/>
              </a:gs>
              <a:gs pos="100000">
                <a:srgbClr val="1ECBD0"/>
              </a:gs>
            </a:gsLst>
            <a:lin ang="18900000" scaled="0"/>
          </a:gradFill>
        </p:spPr>
        <p:txBody>
          <a:bodyPr lIns="360000" tIns="360000" rIns="360000" bIns="360000" anchor="ctr"/>
          <a:lstStyle>
            <a:lvl1pPr algn="ctr">
              <a:defRPr sz="3400">
                <a:solidFill>
                  <a:schemeClr val="tx2"/>
                </a:solidFill>
                <a:latin typeface="+mj-lt"/>
              </a:defRPr>
            </a:lvl1pPr>
          </a:lstStyle>
          <a:p>
            <a:pPr lvl="0"/>
            <a:r>
              <a:rPr lang="en-US"/>
              <a:t>Click to edit Master text styles</a:t>
            </a:r>
          </a:p>
        </p:txBody>
      </p:sp>
      <p:sp>
        <p:nvSpPr>
          <p:cNvPr id="4" name="Title 3">
            <a:extLst>
              <a:ext uri="{FF2B5EF4-FFF2-40B4-BE49-F238E27FC236}">
                <a16:creationId xmlns:a16="http://schemas.microsoft.com/office/drawing/2014/main" id="{73F85738-4ACC-4932-9AC9-54B0CFBC9C5F}"/>
              </a:ext>
            </a:extLst>
          </p:cNvPr>
          <p:cNvSpPr>
            <a:spLocks noGrp="1"/>
          </p:cNvSpPr>
          <p:nvPr>
            <p:ph type="title"/>
          </p:nvPr>
        </p:nvSpPr>
        <p:spPr>
          <a:xfrm>
            <a:off x="410879" y="410669"/>
            <a:ext cx="5292111" cy="776038"/>
          </a:xfrm>
        </p:spPr>
        <p:txBody>
          <a:bodyPr/>
          <a:lstStyle/>
          <a:p>
            <a:r>
              <a:rPr lang="en-US"/>
              <a:t>Click to edit Master title style</a:t>
            </a:r>
            <a:endParaRPr lang="en-GB"/>
          </a:p>
        </p:txBody>
      </p:sp>
    </p:spTree>
    <p:extLst>
      <p:ext uri="{BB962C8B-B14F-4D97-AF65-F5344CB8AC3E}">
        <p14:creationId xmlns:p14="http://schemas.microsoft.com/office/powerpoint/2010/main" val="65191762"/>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Key Figure and Content">
    <p:spTree>
      <p:nvGrpSpPr>
        <p:cNvPr id="1" name=""/>
        <p:cNvGrpSpPr/>
        <p:nvPr/>
      </p:nvGrpSpPr>
      <p:grpSpPr>
        <a:xfrm>
          <a:off x="0" y="0"/>
          <a:ext cx="0" cy="0"/>
          <a:chOff x="0" y="0"/>
          <a:chExt cx="0" cy="0"/>
        </a:xfrm>
      </p:grpSpPr>
      <p:sp>
        <p:nvSpPr>
          <p:cNvPr id="9" name="Text Placeholder 4">
            <a:extLst>
              <a:ext uri="{FF2B5EF4-FFF2-40B4-BE49-F238E27FC236}">
                <a16:creationId xmlns:a16="http://schemas.microsoft.com/office/drawing/2014/main" id="{2AF37378-9CE3-46C1-80C8-30215DE1AF63}"/>
              </a:ext>
            </a:extLst>
          </p:cNvPr>
          <p:cNvSpPr>
            <a:spLocks noGrp="1"/>
          </p:cNvSpPr>
          <p:nvPr>
            <p:ph type="body" sz="quarter" idx="14"/>
          </p:nvPr>
        </p:nvSpPr>
        <p:spPr>
          <a:xfrm>
            <a:off x="906" y="-905"/>
            <a:ext cx="6095094" cy="6858905"/>
          </a:xfrm>
          <a:solidFill>
            <a:schemeClr val="accent3"/>
          </a:solidFill>
        </p:spPr>
        <p:txBody>
          <a:bodyPr lIns="360000" tIns="360000" rIns="360000" bIns="360000" anchor="ctr"/>
          <a:lstStyle>
            <a:lvl1pPr algn="ctr">
              <a:defRPr sz="4600">
                <a:solidFill>
                  <a:schemeClr val="tx2"/>
                </a:solidFill>
                <a:latin typeface="+mj-lt"/>
              </a:defRPr>
            </a:lvl1pPr>
          </a:lstStyle>
          <a:p>
            <a:pPr lvl="0"/>
            <a:r>
              <a:rPr lang="en-US"/>
              <a:t>Click to edit Master text styles</a:t>
            </a:r>
          </a:p>
        </p:txBody>
      </p:sp>
      <p:sp>
        <p:nvSpPr>
          <p:cNvPr id="2" name="Title 1"/>
          <p:cNvSpPr>
            <a:spLocks noGrp="1"/>
          </p:cNvSpPr>
          <p:nvPr>
            <p:ph type="title"/>
          </p:nvPr>
        </p:nvSpPr>
        <p:spPr>
          <a:xfrm>
            <a:off x="6487200" y="411083"/>
            <a:ext cx="5292000" cy="776038"/>
          </a:xfrm>
        </p:spPr>
        <p:txBody>
          <a:bodyPr/>
          <a:lstStyle/>
          <a:p>
            <a:r>
              <a:rPr lang="en-US"/>
              <a:t>Click to edit Master title style</a:t>
            </a:r>
            <a:endParaRPr lang="en-US" dirty="0"/>
          </a:p>
        </p:txBody>
      </p:sp>
      <p:sp>
        <p:nvSpPr>
          <p:cNvPr id="3" name="Content Placeholder 2"/>
          <p:cNvSpPr>
            <a:spLocks noGrp="1"/>
          </p:cNvSpPr>
          <p:nvPr>
            <p:ph sz="half" idx="1"/>
          </p:nvPr>
        </p:nvSpPr>
        <p:spPr>
          <a:xfrm>
            <a:off x="6487200" y="1521184"/>
            <a:ext cx="5292000" cy="44947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p>
            <a:r>
              <a:rPr lang="en-GB"/>
              <a:t>Document Name</a:t>
            </a:r>
            <a:endParaRPr lang="en-US" dirty="0"/>
          </a:p>
        </p:txBody>
      </p:sp>
      <p:sp>
        <p:nvSpPr>
          <p:cNvPr id="7" name="Slide Number Placeholder 6"/>
          <p:cNvSpPr>
            <a:spLocks noGrp="1"/>
          </p:cNvSpPr>
          <p:nvPr>
            <p:ph type="sldNum" sz="quarter" idx="12"/>
          </p:nvPr>
        </p:nvSpPr>
        <p:spPr/>
        <p:txBody>
          <a:bodyPr/>
          <a:lstStyle/>
          <a:p>
            <a:fld id="{32B354EE-31EA-4FC2-9496-7B6202183237}" type="slidenum">
              <a:rPr lang="en-US" smtClean="0"/>
              <a:t>‹#›</a:t>
            </a:fld>
            <a:endParaRPr lang="en-US" dirty="0"/>
          </a:p>
        </p:txBody>
      </p:sp>
    </p:spTree>
    <p:extLst>
      <p:ext uri="{BB962C8B-B14F-4D97-AF65-F5344CB8AC3E}">
        <p14:creationId xmlns:p14="http://schemas.microsoft.com/office/powerpoint/2010/main" val="2970428166"/>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ext and Large Image">
    <p:bg>
      <p:bgPr>
        <a:solidFill>
          <a:schemeClr val="tx2"/>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C1E61418-E972-40CA-AF1C-5059724D8739}"/>
              </a:ext>
            </a:extLst>
          </p:cNvPr>
          <p:cNvSpPr>
            <a:spLocks noGrp="1"/>
          </p:cNvSpPr>
          <p:nvPr>
            <p:ph type="pic" sz="quarter" idx="14"/>
          </p:nvPr>
        </p:nvSpPr>
        <p:spPr>
          <a:xfrm>
            <a:off x="3660000" y="0"/>
            <a:ext cx="8532000" cy="6858000"/>
          </a:xfrm>
          <a:solidFill>
            <a:schemeClr val="bg1">
              <a:lumMod val="85000"/>
            </a:schemeClr>
          </a:solidFill>
        </p:spPr>
        <p:txBody>
          <a:bodyPr/>
          <a:lstStyle/>
          <a:p>
            <a:r>
              <a:rPr lang="en-US"/>
              <a:t>Click icon to add picture</a:t>
            </a:r>
            <a:endParaRPr lang="en-GB" dirty="0"/>
          </a:p>
        </p:txBody>
      </p:sp>
      <p:sp>
        <p:nvSpPr>
          <p:cNvPr id="4" name="Footer Placeholder 3">
            <a:extLst>
              <a:ext uri="{FF2B5EF4-FFF2-40B4-BE49-F238E27FC236}">
                <a16:creationId xmlns:a16="http://schemas.microsoft.com/office/drawing/2014/main" id="{265266B1-3B43-413F-B581-A2BA7F232AAD}"/>
              </a:ext>
            </a:extLst>
          </p:cNvPr>
          <p:cNvSpPr>
            <a:spLocks noGrp="1"/>
          </p:cNvSpPr>
          <p:nvPr>
            <p:ph type="ftr" sz="quarter" idx="11"/>
          </p:nvPr>
        </p:nvSpPr>
        <p:spPr/>
        <p:txBody>
          <a:bodyPr/>
          <a:lstStyle>
            <a:lvl1pPr>
              <a:defRPr>
                <a:solidFill>
                  <a:schemeClr val="bg1"/>
                </a:solidFill>
              </a:defRPr>
            </a:lvl1pPr>
          </a:lstStyle>
          <a:p>
            <a:r>
              <a:rPr lang="en-GB"/>
              <a:t>Document Name</a:t>
            </a:r>
            <a:endParaRPr lang="en-US" dirty="0"/>
          </a:p>
        </p:txBody>
      </p:sp>
      <p:sp>
        <p:nvSpPr>
          <p:cNvPr id="5" name="Slide Number Placeholder 4">
            <a:extLst>
              <a:ext uri="{FF2B5EF4-FFF2-40B4-BE49-F238E27FC236}">
                <a16:creationId xmlns:a16="http://schemas.microsoft.com/office/drawing/2014/main" id="{114087E5-4709-465C-88EF-C43AFDD767F1}"/>
              </a:ext>
            </a:extLst>
          </p:cNvPr>
          <p:cNvSpPr>
            <a:spLocks noGrp="1"/>
          </p:cNvSpPr>
          <p:nvPr>
            <p:ph type="sldNum" sz="quarter" idx="12"/>
          </p:nvPr>
        </p:nvSpPr>
        <p:spPr/>
        <p:txBody>
          <a:bodyPr/>
          <a:lstStyle>
            <a:lvl1pPr>
              <a:defRPr>
                <a:solidFill>
                  <a:schemeClr val="bg1"/>
                </a:solidFill>
              </a:defRPr>
            </a:lvl1pPr>
          </a:lstStyle>
          <a:p>
            <a:fld id="{32B354EE-31EA-4FC2-9496-7B6202183237}" type="slidenum">
              <a:rPr lang="en-US" smtClean="0"/>
              <a:pPr/>
              <a:t>‹#›</a:t>
            </a:fld>
            <a:endParaRPr lang="en-US" dirty="0"/>
          </a:p>
        </p:txBody>
      </p:sp>
      <p:sp>
        <p:nvSpPr>
          <p:cNvPr id="7" name="Text Placeholder 6">
            <a:extLst>
              <a:ext uri="{FF2B5EF4-FFF2-40B4-BE49-F238E27FC236}">
                <a16:creationId xmlns:a16="http://schemas.microsoft.com/office/drawing/2014/main" id="{D7F08074-975D-439A-8214-343997E50101}"/>
              </a:ext>
            </a:extLst>
          </p:cNvPr>
          <p:cNvSpPr>
            <a:spLocks noGrp="1"/>
          </p:cNvSpPr>
          <p:nvPr>
            <p:ph type="body" sz="quarter" idx="13"/>
          </p:nvPr>
        </p:nvSpPr>
        <p:spPr>
          <a:xfrm>
            <a:off x="413104" y="1521184"/>
            <a:ext cx="2830327" cy="4494733"/>
          </a:xfrm>
        </p:spPr>
        <p:txBody>
          <a:bodyPr/>
          <a:lstStyle>
            <a:lvl1pPr>
              <a:defRPr>
                <a:solidFill>
                  <a:schemeClr val="bg1"/>
                </a:solidFill>
              </a:defRPr>
            </a:lvl1pPr>
            <a:lvl2pPr>
              <a:defRPr>
                <a:solidFill>
                  <a:schemeClr val="bg1"/>
                </a:solidFill>
              </a:defRPr>
            </a:lvl2pPr>
            <a:lvl3pPr>
              <a:defRPr>
                <a:solidFill>
                  <a:schemeClr val="accent3"/>
                </a:solidFill>
              </a:defRPr>
            </a:lvl3pPr>
            <a:lvl4pPr>
              <a:buClr>
                <a:schemeClr val="accent3"/>
              </a:buClr>
              <a:defRPr>
                <a:solidFill>
                  <a:schemeClr val="bg1"/>
                </a:solidFill>
              </a:defRPr>
            </a:lvl4pPr>
            <a:lvl5pPr>
              <a:buClr>
                <a:schemeClr val="accent3"/>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C4B74708-2400-4449-A566-F6158A62A027}"/>
              </a:ext>
            </a:extLst>
          </p:cNvPr>
          <p:cNvSpPr>
            <a:spLocks noGrp="1"/>
          </p:cNvSpPr>
          <p:nvPr>
            <p:ph type="title"/>
          </p:nvPr>
        </p:nvSpPr>
        <p:spPr>
          <a:xfrm>
            <a:off x="410879" y="410669"/>
            <a:ext cx="2830327" cy="776038"/>
          </a:xfrm>
        </p:spPr>
        <p:txBody>
          <a:bodyPr/>
          <a:lstStyle>
            <a:lvl1pPr>
              <a:defRPr>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3986391259"/>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wo Content Dark Righ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D86AC41-762B-4924-A899-F81343A12E1E}"/>
              </a:ext>
            </a:extLst>
          </p:cNvPr>
          <p:cNvSpPr/>
          <p:nvPr userDrawn="1"/>
        </p:nvSpPr>
        <p:spPr>
          <a:xfrm>
            <a:off x="6096001" y="4"/>
            <a:ext cx="6096000" cy="6858000"/>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42" dirty="0"/>
          </a:p>
        </p:txBody>
      </p:sp>
      <p:sp>
        <p:nvSpPr>
          <p:cNvPr id="3" name="Content Placeholder 2"/>
          <p:cNvSpPr>
            <a:spLocks noGrp="1"/>
          </p:cNvSpPr>
          <p:nvPr>
            <p:ph sz="half" idx="1"/>
          </p:nvPr>
        </p:nvSpPr>
        <p:spPr>
          <a:xfrm>
            <a:off x="410878" y="1521184"/>
            <a:ext cx="5292112" cy="44947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486790" y="1521184"/>
            <a:ext cx="5292112" cy="4494733"/>
          </a:xfrm>
        </p:spPr>
        <p:txBody>
          <a:bodyPr/>
          <a:lstStyle>
            <a:lvl1pPr>
              <a:defRPr>
                <a:solidFill>
                  <a:schemeClr val="bg1"/>
                </a:solidFill>
              </a:defRPr>
            </a:lvl1pPr>
            <a:lvl2pPr>
              <a:defRPr>
                <a:solidFill>
                  <a:schemeClr val="bg1"/>
                </a:solidFill>
              </a:defRPr>
            </a:lvl2pPr>
            <a:lvl3pPr>
              <a:defRPr>
                <a:solidFill>
                  <a:schemeClr val="accent3"/>
                </a:solidFill>
              </a:defRPr>
            </a:lvl3pPr>
            <a:lvl4pPr>
              <a:buClr>
                <a:schemeClr val="accent3"/>
              </a:buClr>
              <a:defRPr>
                <a:solidFill>
                  <a:schemeClr val="bg1"/>
                </a:solidFill>
              </a:defRPr>
            </a:lvl4pPr>
            <a:lvl5pPr>
              <a:buClr>
                <a:schemeClr val="accent3"/>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p>
            <a:r>
              <a:rPr lang="en-GB"/>
              <a:t>Document Name</a:t>
            </a:r>
            <a:endParaRPr lang="en-US" dirty="0"/>
          </a:p>
        </p:txBody>
      </p:sp>
      <p:sp>
        <p:nvSpPr>
          <p:cNvPr id="7" name="Slide Number Placeholder 6"/>
          <p:cNvSpPr>
            <a:spLocks noGrp="1"/>
          </p:cNvSpPr>
          <p:nvPr>
            <p:ph type="sldNum" sz="quarter" idx="12"/>
          </p:nvPr>
        </p:nvSpPr>
        <p:spPr/>
        <p:txBody>
          <a:bodyPr/>
          <a:lstStyle/>
          <a:p>
            <a:fld id="{32B354EE-31EA-4FC2-9496-7B6202183237}" type="slidenum">
              <a:rPr lang="en-US" smtClean="0"/>
              <a:t>‹#›</a:t>
            </a:fld>
            <a:endParaRPr lang="en-US" dirty="0"/>
          </a:p>
        </p:txBody>
      </p:sp>
      <p:sp>
        <p:nvSpPr>
          <p:cNvPr id="8" name="Title 7">
            <a:extLst>
              <a:ext uri="{FF2B5EF4-FFF2-40B4-BE49-F238E27FC236}">
                <a16:creationId xmlns:a16="http://schemas.microsoft.com/office/drawing/2014/main" id="{97185569-060C-4071-87A6-3F288164C3BB}"/>
              </a:ext>
            </a:extLst>
          </p:cNvPr>
          <p:cNvSpPr>
            <a:spLocks noGrp="1"/>
          </p:cNvSpPr>
          <p:nvPr>
            <p:ph type="title"/>
          </p:nvPr>
        </p:nvSpPr>
        <p:spPr>
          <a:xfrm>
            <a:off x="410879" y="410669"/>
            <a:ext cx="5292111" cy="776038"/>
          </a:xfrm>
        </p:spPr>
        <p:txBody>
          <a:bodyPr/>
          <a:lstStyle/>
          <a:p>
            <a:r>
              <a:rPr lang="en-US"/>
              <a:t>Click to edit Master title style</a:t>
            </a:r>
            <a:endParaRPr lang="en-GB" dirty="0"/>
          </a:p>
        </p:txBody>
      </p:sp>
      <p:grpSp>
        <p:nvGrpSpPr>
          <p:cNvPr id="20" name="Group 4">
            <a:extLst>
              <a:ext uri="{FF2B5EF4-FFF2-40B4-BE49-F238E27FC236}">
                <a16:creationId xmlns:a16="http://schemas.microsoft.com/office/drawing/2014/main" id="{AC999FBB-C1D6-4B26-85DA-C35A9AE89FCD}"/>
              </a:ext>
            </a:extLst>
          </p:cNvPr>
          <p:cNvGrpSpPr>
            <a:grpSpLocks noChangeAspect="1"/>
          </p:cNvGrpSpPr>
          <p:nvPr userDrawn="1"/>
        </p:nvGrpSpPr>
        <p:grpSpPr bwMode="auto">
          <a:xfrm>
            <a:off x="11179123" y="6332830"/>
            <a:ext cx="607829" cy="148182"/>
            <a:chOff x="2071" y="1578"/>
            <a:chExt cx="2587" cy="631"/>
          </a:xfrm>
          <a:gradFill>
            <a:gsLst>
              <a:gs pos="50000">
                <a:srgbClr val="00E487"/>
              </a:gs>
              <a:gs pos="100000">
                <a:srgbClr val="1ECBD0"/>
              </a:gs>
            </a:gsLst>
            <a:lin ang="18900000" scaled="0"/>
          </a:gradFill>
        </p:grpSpPr>
        <p:sp>
          <p:nvSpPr>
            <p:cNvPr id="21" name="Freeform 5">
              <a:extLst>
                <a:ext uri="{FF2B5EF4-FFF2-40B4-BE49-F238E27FC236}">
                  <a16:creationId xmlns:a16="http://schemas.microsoft.com/office/drawing/2014/main" id="{1EF72B13-9B15-4498-BB43-905E33674BDE}"/>
                </a:ext>
              </a:extLst>
            </p:cNvPr>
            <p:cNvSpPr>
              <a:spLocks/>
            </p:cNvSpPr>
            <p:nvPr userDrawn="1"/>
          </p:nvSpPr>
          <p:spPr bwMode="auto">
            <a:xfrm>
              <a:off x="2765" y="1728"/>
              <a:ext cx="244" cy="318"/>
            </a:xfrm>
            <a:custGeom>
              <a:avLst/>
              <a:gdLst>
                <a:gd name="T0" fmla="*/ 12 w 129"/>
                <a:gd name="T1" fmla="*/ 0 h 168"/>
                <a:gd name="T2" fmla="*/ 8 w 129"/>
                <a:gd name="T3" fmla="*/ 4 h 168"/>
                <a:gd name="T4" fmla="*/ 8 w 129"/>
                <a:gd name="T5" fmla="*/ 25 h 168"/>
                <a:gd name="T6" fmla="*/ 12 w 129"/>
                <a:gd name="T7" fmla="*/ 29 h 168"/>
                <a:gd name="T8" fmla="*/ 48 w 129"/>
                <a:gd name="T9" fmla="*/ 29 h 168"/>
                <a:gd name="T10" fmla="*/ 48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2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2" y="0"/>
                  </a:moveTo>
                  <a:cubicBezTo>
                    <a:pt x="9" y="0"/>
                    <a:pt x="8" y="1"/>
                    <a:pt x="8" y="4"/>
                  </a:cubicBezTo>
                  <a:cubicBezTo>
                    <a:pt x="8" y="25"/>
                    <a:pt x="8" y="25"/>
                    <a:pt x="8" y="25"/>
                  </a:cubicBezTo>
                  <a:cubicBezTo>
                    <a:pt x="8" y="27"/>
                    <a:pt x="9" y="29"/>
                    <a:pt x="12" y="29"/>
                  </a:cubicBezTo>
                  <a:cubicBezTo>
                    <a:pt x="48" y="29"/>
                    <a:pt x="48" y="29"/>
                    <a:pt x="48" y="29"/>
                  </a:cubicBezTo>
                  <a:cubicBezTo>
                    <a:pt x="48" y="140"/>
                    <a:pt x="48" y="140"/>
                    <a:pt x="48"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8" y="140"/>
                    <a:pt x="125" y="140"/>
                  </a:cubicBezTo>
                  <a:cubicBezTo>
                    <a:pt x="76" y="140"/>
                    <a:pt x="76" y="140"/>
                    <a:pt x="76" y="140"/>
                  </a:cubicBezTo>
                  <a:cubicBezTo>
                    <a:pt x="76" y="4"/>
                    <a:pt x="76" y="4"/>
                    <a:pt x="76" y="4"/>
                  </a:cubicBezTo>
                  <a:cubicBezTo>
                    <a:pt x="76" y="1"/>
                    <a:pt x="75" y="0"/>
                    <a:pt x="72" y="0"/>
                  </a:cubicBez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dirty="0"/>
            </a:p>
          </p:txBody>
        </p:sp>
        <p:sp>
          <p:nvSpPr>
            <p:cNvPr id="22" name="Freeform 6">
              <a:extLst>
                <a:ext uri="{FF2B5EF4-FFF2-40B4-BE49-F238E27FC236}">
                  <a16:creationId xmlns:a16="http://schemas.microsoft.com/office/drawing/2014/main" id="{B395E17D-434D-496F-ACED-68402E0837A9}"/>
                </a:ext>
              </a:extLst>
            </p:cNvPr>
            <p:cNvSpPr>
              <a:spLocks/>
            </p:cNvSpPr>
            <p:nvPr userDrawn="1"/>
          </p:nvSpPr>
          <p:spPr bwMode="auto">
            <a:xfrm>
              <a:off x="3798" y="1728"/>
              <a:ext cx="244" cy="318"/>
            </a:xfrm>
            <a:custGeom>
              <a:avLst/>
              <a:gdLst>
                <a:gd name="T0" fmla="*/ 11 w 129"/>
                <a:gd name="T1" fmla="*/ 0 h 168"/>
                <a:gd name="T2" fmla="*/ 8 w 129"/>
                <a:gd name="T3" fmla="*/ 4 h 168"/>
                <a:gd name="T4" fmla="*/ 8 w 129"/>
                <a:gd name="T5" fmla="*/ 25 h 168"/>
                <a:gd name="T6" fmla="*/ 11 w 129"/>
                <a:gd name="T7" fmla="*/ 29 h 168"/>
                <a:gd name="T8" fmla="*/ 47 w 129"/>
                <a:gd name="T9" fmla="*/ 29 h 168"/>
                <a:gd name="T10" fmla="*/ 47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1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1" y="0"/>
                  </a:moveTo>
                  <a:cubicBezTo>
                    <a:pt x="9" y="0"/>
                    <a:pt x="8" y="1"/>
                    <a:pt x="8" y="4"/>
                  </a:cubicBezTo>
                  <a:cubicBezTo>
                    <a:pt x="8" y="25"/>
                    <a:pt x="8" y="25"/>
                    <a:pt x="8" y="25"/>
                  </a:cubicBezTo>
                  <a:cubicBezTo>
                    <a:pt x="8" y="27"/>
                    <a:pt x="9" y="29"/>
                    <a:pt x="11" y="29"/>
                  </a:cubicBezTo>
                  <a:cubicBezTo>
                    <a:pt x="47" y="29"/>
                    <a:pt x="47" y="29"/>
                    <a:pt x="47" y="29"/>
                  </a:cubicBezTo>
                  <a:cubicBezTo>
                    <a:pt x="47" y="140"/>
                    <a:pt x="47" y="140"/>
                    <a:pt x="47"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7" y="140"/>
                    <a:pt x="125" y="140"/>
                  </a:cubicBezTo>
                  <a:cubicBezTo>
                    <a:pt x="76" y="140"/>
                    <a:pt x="76" y="140"/>
                    <a:pt x="76" y="140"/>
                  </a:cubicBezTo>
                  <a:cubicBezTo>
                    <a:pt x="76" y="4"/>
                    <a:pt x="76" y="4"/>
                    <a:pt x="76" y="4"/>
                  </a:cubicBezTo>
                  <a:cubicBezTo>
                    <a:pt x="75" y="1"/>
                    <a:pt x="74" y="0"/>
                    <a:pt x="72" y="0"/>
                  </a:cubicBez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dirty="0"/>
            </a:p>
          </p:txBody>
        </p:sp>
        <p:sp>
          <p:nvSpPr>
            <p:cNvPr id="23" name="Freeform 7">
              <a:extLst>
                <a:ext uri="{FF2B5EF4-FFF2-40B4-BE49-F238E27FC236}">
                  <a16:creationId xmlns:a16="http://schemas.microsoft.com/office/drawing/2014/main" id="{A5E2052B-5DD0-4BE1-B45C-38CD489F4334}"/>
                </a:ext>
              </a:extLst>
            </p:cNvPr>
            <p:cNvSpPr>
              <a:spLocks/>
            </p:cNvSpPr>
            <p:nvPr userDrawn="1"/>
          </p:nvSpPr>
          <p:spPr bwMode="auto">
            <a:xfrm>
              <a:off x="4361" y="1728"/>
              <a:ext cx="297" cy="464"/>
            </a:xfrm>
            <a:custGeom>
              <a:avLst/>
              <a:gdLst>
                <a:gd name="T0" fmla="*/ 132 w 157"/>
                <a:gd name="T1" fmla="*/ 0 h 245"/>
                <a:gd name="T2" fmla="*/ 127 w 157"/>
                <a:gd name="T3" fmla="*/ 3 h 245"/>
                <a:gd name="T4" fmla="*/ 127 w 157"/>
                <a:gd name="T5" fmla="*/ 3 h 245"/>
                <a:gd name="T6" fmla="*/ 79 w 157"/>
                <a:gd name="T7" fmla="*/ 128 h 245"/>
                <a:gd name="T8" fmla="*/ 30 w 157"/>
                <a:gd name="T9" fmla="*/ 4 h 245"/>
                <a:gd name="T10" fmla="*/ 25 w 157"/>
                <a:gd name="T11" fmla="*/ 0 h 245"/>
                <a:gd name="T12" fmla="*/ 4 w 157"/>
                <a:gd name="T13" fmla="*/ 0 h 245"/>
                <a:gd name="T14" fmla="*/ 0 w 157"/>
                <a:gd name="T15" fmla="*/ 3 h 245"/>
                <a:gd name="T16" fmla="*/ 1 w 157"/>
                <a:gd name="T17" fmla="*/ 6 h 245"/>
                <a:gd name="T18" fmla="*/ 1 w 157"/>
                <a:gd name="T19" fmla="*/ 6 h 245"/>
                <a:gd name="T20" fmla="*/ 1 w 157"/>
                <a:gd name="T21" fmla="*/ 6 h 245"/>
                <a:gd name="T22" fmla="*/ 64 w 157"/>
                <a:gd name="T23" fmla="*/ 168 h 245"/>
                <a:gd name="T24" fmla="*/ 59 w 157"/>
                <a:gd name="T25" fmla="*/ 182 h 245"/>
                <a:gd name="T26" fmla="*/ 48 w 157"/>
                <a:gd name="T27" fmla="*/ 205 h 245"/>
                <a:gd name="T28" fmla="*/ 38 w 157"/>
                <a:gd name="T29" fmla="*/ 215 h 245"/>
                <a:gd name="T30" fmla="*/ 30 w 157"/>
                <a:gd name="T31" fmla="*/ 217 h 245"/>
                <a:gd name="T32" fmla="*/ 26 w 157"/>
                <a:gd name="T33" fmla="*/ 216 h 245"/>
                <a:gd name="T34" fmla="*/ 14 w 157"/>
                <a:gd name="T35" fmla="*/ 213 h 245"/>
                <a:gd name="T36" fmla="*/ 7 w 157"/>
                <a:gd name="T37" fmla="*/ 210 h 245"/>
                <a:gd name="T38" fmla="*/ 3 w 157"/>
                <a:gd name="T39" fmla="*/ 215 h 245"/>
                <a:gd name="T40" fmla="*/ 3 w 157"/>
                <a:gd name="T41" fmla="*/ 233 h 245"/>
                <a:gd name="T42" fmla="*/ 3 w 157"/>
                <a:gd name="T43" fmla="*/ 233 h 245"/>
                <a:gd name="T44" fmla="*/ 7 w 157"/>
                <a:gd name="T45" fmla="*/ 240 h 245"/>
                <a:gd name="T46" fmla="*/ 32 w 157"/>
                <a:gd name="T47" fmla="*/ 245 h 245"/>
                <a:gd name="T48" fmla="*/ 54 w 157"/>
                <a:gd name="T49" fmla="*/ 238 h 245"/>
                <a:gd name="T50" fmla="*/ 73 w 157"/>
                <a:gd name="T51" fmla="*/ 220 h 245"/>
                <a:gd name="T52" fmla="*/ 79 w 157"/>
                <a:gd name="T53" fmla="*/ 208 h 245"/>
                <a:gd name="T54" fmla="*/ 156 w 157"/>
                <a:gd name="T55" fmla="*/ 6 h 245"/>
                <a:gd name="T56" fmla="*/ 157 w 157"/>
                <a:gd name="T57" fmla="*/ 3 h 245"/>
                <a:gd name="T58" fmla="*/ 153 w 157"/>
                <a:gd name="T59" fmla="*/ 0 h 245"/>
                <a:gd name="T60" fmla="*/ 132 w 157"/>
                <a:gd name="T6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7" h="245">
                  <a:moveTo>
                    <a:pt x="132" y="0"/>
                  </a:moveTo>
                  <a:cubicBezTo>
                    <a:pt x="129" y="0"/>
                    <a:pt x="128" y="1"/>
                    <a:pt x="127" y="3"/>
                  </a:cubicBezTo>
                  <a:cubicBezTo>
                    <a:pt x="127" y="3"/>
                    <a:pt x="127" y="3"/>
                    <a:pt x="127" y="3"/>
                  </a:cubicBezTo>
                  <a:cubicBezTo>
                    <a:pt x="79" y="128"/>
                    <a:pt x="79" y="128"/>
                    <a:pt x="79" y="128"/>
                  </a:cubicBezTo>
                  <a:cubicBezTo>
                    <a:pt x="30" y="4"/>
                    <a:pt x="30" y="4"/>
                    <a:pt x="30" y="4"/>
                  </a:cubicBezTo>
                  <a:cubicBezTo>
                    <a:pt x="29" y="1"/>
                    <a:pt x="28" y="0"/>
                    <a:pt x="25" y="0"/>
                  </a:cubicBezTo>
                  <a:cubicBezTo>
                    <a:pt x="4" y="0"/>
                    <a:pt x="4" y="0"/>
                    <a:pt x="4" y="0"/>
                  </a:cubicBezTo>
                  <a:cubicBezTo>
                    <a:pt x="2" y="0"/>
                    <a:pt x="0" y="1"/>
                    <a:pt x="0" y="3"/>
                  </a:cubicBezTo>
                  <a:cubicBezTo>
                    <a:pt x="0" y="4"/>
                    <a:pt x="1" y="5"/>
                    <a:pt x="1" y="6"/>
                  </a:cubicBezTo>
                  <a:cubicBezTo>
                    <a:pt x="1" y="6"/>
                    <a:pt x="1" y="6"/>
                    <a:pt x="1" y="6"/>
                  </a:cubicBezTo>
                  <a:cubicBezTo>
                    <a:pt x="1" y="6"/>
                    <a:pt x="1" y="6"/>
                    <a:pt x="1" y="6"/>
                  </a:cubicBezTo>
                  <a:cubicBezTo>
                    <a:pt x="64" y="168"/>
                    <a:pt x="64" y="168"/>
                    <a:pt x="64" y="168"/>
                  </a:cubicBezTo>
                  <a:cubicBezTo>
                    <a:pt x="59" y="182"/>
                    <a:pt x="59" y="182"/>
                    <a:pt x="59" y="182"/>
                  </a:cubicBezTo>
                  <a:cubicBezTo>
                    <a:pt x="57" y="187"/>
                    <a:pt x="53" y="199"/>
                    <a:pt x="48" y="205"/>
                  </a:cubicBezTo>
                  <a:cubicBezTo>
                    <a:pt x="44" y="211"/>
                    <a:pt x="42" y="213"/>
                    <a:pt x="38" y="215"/>
                  </a:cubicBezTo>
                  <a:cubicBezTo>
                    <a:pt x="35" y="216"/>
                    <a:pt x="33" y="217"/>
                    <a:pt x="30" y="217"/>
                  </a:cubicBezTo>
                  <a:cubicBezTo>
                    <a:pt x="28" y="217"/>
                    <a:pt x="27" y="217"/>
                    <a:pt x="26" y="216"/>
                  </a:cubicBezTo>
                  <a:cubicBezTo>
                    <a:pt x="22" y="216"/>
                    <a:pt x="18" y="214"/>
                    <a:pt x="14" y="213"/>
                  </a:cubicBezTo>
                  <a:cubicBezTo>
                    <a:pt x="11" y="212"/>
                    <a:pt x="9" y="210"/>
                    <a:pt x="7" y="210"/>
                  </a:cubicBezTo>
                  <a:cubicBezTo>
                    <a:pt x="5" y="210"/>
                    <a:pt x="3" y="212"/>
                    <a:pt x="3" y="215"/>
                  </a:cubicBezTo>
                  <a:cubicBezTo>
                    <a:pt x="3" y="233"/>
                    <a:pt x="3" y="233"/>
                    <a:pt x="3" y="233"/>
                  </a:cubicBezTo>
                  <a:cubicBezTo>
                    <a:pt x="3" y="233"/>
                    <a:pt x="3" y="233"/>
                    <a:pt x="3" y="233"/>
                  </a:cubicBezTo>
                  <a:cubicBezTo>
                    <a:pt x="3" y="236"/>
                    <a:pt x="4" y="238"/>
                    <a:pt x="7" y="240"/>
                  </a:cubicBezTo>
                  <a:cubicBezTo>
                    <a:pt x="15" y="243"/>
                    <a:pt x="21" y="245"/>
                    <a:pt x="32" y="245"/>
                  </a:cubicBezTo>
                  <a:cubicBezTo>
                    <a:pt x="41" y="244"/>
                    <a:pt x="47" y="242"/>
                    <a:pt x="54" y="238"/>
                  </a:cubicBezTo>
                  <a:cubicBezTo>
                    <a:pt x="61" y="233"/>
                    <a:pt x="67" y="227"/>
                    <a:pt x="73" y="220"/>
                  </a:cubicBezTo>
                  <a:cubicBezTo>
                    <a:pt x="75" y="216"/>
                    <a:pt x="77" y="212"/>
                    <a:pt x="79" y="208"/>
                  </a:cubicBezTo>
                  <a:cubicBezTo>
                    <a:pt x="83" y="200"/>
                    <a:pt x="144" y="40"/>
                    <a:pt x="156" y="6"/>
                  </a:cubicBezTo>
                  <a:cubicBezTo>
                    <a:pt x="157" y="5"/>
                    <a:pt x="157" y="4"/>
                    <a:pt x="157" y="3"/>
                  </a:cubicBezTo>
                  <a:cubicBezTo>
                    <a:pt x="157" y="1"/>
                    <a:pt x="155" y="0"/>
                    <a:pt x="153" y="0"/>
                  </a:cubicBezTo>
                  <a:lnTo>
                    <a:pt x="1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dirty="0"/>
            </a:p>
          </p:txBody>
        </p:sp>
        <p:sp>
          <p:nvSpPr>
            <p:cNvPr id="24" name="Freeform 8">
              <a:extLst>
                <a:ext uri="{FF2B5EF4-FFF2-40B4-BE49-F238E27FC236}">
                  <a16:creationId xmlns:a16="http://schemas.microsoft.com/office/drawing/2014/main" id="{29E97861-81A0-48C0-8AEF-CACA7732ED6E}"/>
                </a:ext>
              </a:extLst>
            </p:cNvPr>
            <p:cNvSpPr>
              <a:spLocks/>
            </p:cNvSpPr>
            <p:nvPr userDrawn="1"/>
          </p:nvSpPr>
          <p:spPr bwMode="auto">
            <a:xfrm>
              <a:off x="3457" y="1726"/>
              <a:ext cx="263" cy="322"/>
            </a:xfrm>
            <a:custGeom>
              <a:avLst/>
              <a:gdLst>
                <a:gd name="T0" fmla="*/ 28 w 139"/>
                <a:gd name="T1" fmla="*/ 21 h 170"/>
                <a:gd name="T2" fmla="*/ 28 w 139"/>
                <a:gd name="T3" fmla="*/ 6 h 170"/>
                <a:gd name="T4" fmla="*/ 25 w 139"/>
                <a:gd name="T5" fmla="*/ 3 h 170"/>
                <a:gd name="T6" fmla="*/ 4 w 139"/>
                <a:gd name="T7" fmla="*/ 3 h 170"/>
                <a:gd name="T8" fmla="*/ 0 w 139"/>
                <a:gd name="T9" fmla="*/ 6 h 170"/>
                <a:gd name="T10" fmla="*/ 0 w 139"/>
                <a:gd name="T11" fmla="*/ 167 h 170"/>
                <a:gd name="T12" fmla="*/ 4 w 139"/>
                <a:gd name="T13" fmla="*/ 170 h 170"/>
                <a:gd name="T14" fmla="*/ 25 w 139"/>
                <a:gd name="T15" fmla="*/ 170 h 170"/>
                <a:gd name="T16" fmla="*/ 28 w 139"/>
                <a:gd name="T17" fmla="*/ 167 h 170"/>
                <a:gd name="T18" fmla="*/ 28 w 139"/>
                <a:gd name="T19" fmla="*/ 68 h 170"/>
                <a:gd name="T20" fmla="*/ 70 w 139"/>
                <a:gd name="T21" fmla="*/ 28 h 170"/>
                <a:gd name="T22" fmla="*/ 111 w 139"/>
                <a:gd name="T23" fmla="*/ 68 h 170"/>
                <a:gd name="T24" fmla="*/ 111 w 139"/>
                <a:gd name="T25" fmla="*/ 167 h 170"/>
                <a:gd name="T26" fmla="*/ 111 w 139"/>
                <a:gd name="T27" fmla="*/ 167 h 170"/>
                <a:gd name="T28" fmla="*/ 114 w 139"/>
                <a:gd name="T29" fmla="*/ 170 h 170"/>
                <a:gd name="T30" fmla="*/ 136 w 139"/>
                <a:gd name="T31" fmla="*/ 170 h 170"/>
                <a:gd name="T32" fmla="*/ 139 w 139"/>
                <a:gd name="T33" fmla="*/ 167 h 170"/>
                <a:gd name="T34" fmla="*/ 139 w 139"/>
                <a:gd name="T35" fmla="*/ 68 h 170"/>
                <a:gd name="T36" fmla="*/ 139 w 139"/>
                <a:gd name="T37" fmla="*/ 68 h 170"/>
                <a:gd name="T38" fmla="*/ 139 w 139"/>
                <a:gd name="T39" fmla="*/ 68 h 170"/>
                <a:gd name="T40" fmla="*/ 120 w 139"/>
                <a:gd name="T41" fmla="*/ 20 h 170"/>
                <a:gd name="T42" fmla="*/ 70 w 139"/>
                <a:gd name="T43" fmla="*/ 0 h 170"/>
                <a:gd name="T44" fmla="*/ 28 w 139"/>
                <a:gd name="T45" fmla="*/ 2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170">
                  <a:moveTo>
                    <a:pt x="28" y="21"/>
                  </a:moveTo>
                  <a:cubicBezTo>
                    <a:pt x="28" y="6"/>
                    <a:pt x="28" y="6"/>
                    <a:pt x="28" y="6"/>
                  </a:cubicBezTo>
                  <a:cubicBezTo>
                    <a:pt x="28" y="4"/>
                    <a:pt x="27" y="3"/>
                    <a:pt x="25" y="3"/>
                  </a:cubicBezTo>
                  <a:cubicBezTo>
                    <a:pt x="4" y="3"/>
                    <a:pt x="4" y="3"/>
                    <a:pt x="4" y="3"/>
                  </a:cubicBezTo>
                  <a:cubicBezTo>
                    <a:pt x="1" y="3"/>
                    <a:pt x="0" y="4"/>
                    <a:pt x="0" y="6"/>
                  </a:cubicBezTo>
                  <a:cubicBezTo>
                    <a:pt x="0" y="167"/>
                    <a:pt x="0" y="167"/>
                    <a:pt x="0" y="167"/>
                  </a:cubicBezTo>
                  <a:cubicBezTo>
                    <a:pt x="0" y="169"/>
                    <a:pt x="1" y="170"/>
                    <a:pt x="4" y="170"/>
                  </a:cubicBezTo>
                  <a:cubicBezTo>
                    <a:pt x="25" y="170"/>
                    <a:pt x="25" y="170"/>
                    <a:pt x="25" y="170"/>
                  </a:cubicBezTo>
                  <a:cubicBezTo>
                    <a:pt x="27" y="170"/>
                    <a:pt x="28" y="169"/>
                    <a:pt x="28" y="167"/>
                  </a:cubicBezTo>
                  <a:cubicBezTo>
                    <a:pt x="28" y="68"/>
                    <a:pt x="28" y="68"/>
                    <a:pt x="28" y="68"/>
                  </a:cubicBezTo>
                  <a:cubicBezTo>
                    <a:pt x="28" y="49"/>
                    <a:pt x="42" y="28"/>
                    <a:pt x="70" y="28"/>
                  </a:cubicBezTo>
                  <a:cubicBezTo>
                    <a:pt x="97" y="28"/>
                    <a:pt x="111" y="49"/>
                    <a:pt x="111" y="68"/>
                  </a:cubicBezTo>
                  <a:cubicBezTo>
                    <a:pt x="111" y="167"/>
                    <a:pt x="111" y="167"/>
                    <a:pt x="111" y="167"/>
                  </a:cubicBezTo>
                  <a:cubicBezTo>
                    <a:pt x="111" y="167"/>
                    <a:pt x="111" y="167"/>
                    <a:pt x="111" y="167"/>
                  </a:cubicBezTo>
                  <a:cubicBezTo>
                    <a:pt x="111" y="169"/>
                    <a:pt x="112" y="170"/>
                    <a:pt x="114" y="170"/>
                  </a:cubicBezTo>
                  <a:cubicBezTo>
                    <a:pt x="136" y="170"/>
                    <a:pt x="136" y="170"/>
                    <a:pt x="136" y="170"/>
                  </a:cubicBezTo>
                  <a:cubicBezTo>
                    <a:pt x="138" y="170"/>
                    <a:pt x="139" y="169"/>
                    <a:pt x="139" y="167"/>
                  </a:cubicBezTo>
                  <a:cubicBezTo>
                    <a:pt x="139" y="68"/>
                    <a:pt x="139" y="68"/>
                    <a:pt x="139" y="68"/>
                  </a:cubicBezTo>
                  <a:cubicBezTo>
                    <a:pt x="139" y="68"/>
                    <a:pt x="139" y="68"/>
                    <a:pt x="139" y="68"/>
                  </a:cubicBezTo>
                  <a:cubicBezTo>
                    <a:pt x="139" y="68"/>
                    <a:pt x="139" y="68"/>
                    <a:pt x="139" y="68"/>
                  </a:cubicBezTo>
                  <a:cubicBezTo>
                    <a:pt x="139" y="51"/>
                    <a:pt x="133" y="35"/>
                    <a:pt x="120" y="20"/>
                  </a:cubicBezTo>
                  <a:cubicBezTo>
                    <a:pt x="109" y="7"/>
                    <a:pt x="88" y="0"/>
                    <a:pt x="70" y="0"/>
                  </a:cubicBezTo>
                  <a:cubicBezTo>
                    <a:pt x="41" y="0"/>
                    <a:pt x="28" y="21"/>
                    <a:pt x="28"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dirty="0"/>
            </a:p>
          </p:txBody>
        </p:sp>
        <p:sp>
          <p:nvSpPr>
            <p:cNvPr id="25" name="Freeform 9">
              <a:extLst>
                <a:ext uri="{FF2B5EF4-FFF2-40B4-BE49-F238E27FC236}">
                  <a16:creationId xmlns:a16="http://schemas.microsoft.com/office/drawing/2014/main" id="{0D779E3A-0123-49DB-8413-A23AC0E07A51}"/>
                </a:ext>
              </a:extLst>
            </p:cNvPr>
            <p:cNvSpPr>
              <a:spLocks/>
            </p:cNvSpPr>
            <p:nvPr userDrawn="1"/>
          </p:nvSpPr>
          <p:spPr bwMode="auto">
            <a:xfrm>
              <a:off x="2264" y="1724"/>
              <a:ext cx="246" cy="328"/>
            </a:xfrm>
            <a:custGeom>
              <a:avLst/>
              <a:gdLst>
                <a:gd name="T0" fmla="*/ 4 w 130"/>
                <a:gd name="T1" fmla="*/ 48 h 173"/>
                <a:gd name="T2" fmla="*/ 56 w 130"/>
                <a:gd name="T3" fmla="*/ 97 h 173"/>
                <a:gd name="T4" fmla="*/ 57 w 130"/>
                <a:gd name="T5" fmla="*/ 98 h 173"/>
                <a:gd name="T6" fmla="*/ 101 w 130"/>
                <a:gd name="T7" fmla="*/ 124 h 173"/>
                <a:gd name="T8" fmla="*/ 66 w 130"/>
                <a:gd name="T9" fmla="*/ 146 h 173"/>
                <a:gd name="T10" fmla="*/ 30 w 130"/>
                <a:gd name="T11" fmla="*/ 118 h 173"/>
                <a:gd name="T12" fmla="*/ 26 w 130"/>
                <a:gd name="T13" fmla="*/ 114 h 173"/>
                <a:gd name="T14" fmla="*/ 5 w 130"/>
                <a:gd name="T15" fmla="*/ 114 h 173"/>
                <a:gd name="T16" fmla="*/ 0 w 130"/>
                <a:gd name="T17" fmla="*/ 118 h 173"/>
                <a:gd name="T18" fmla="*/ 65 w 130"/>
                <a:gd name="T19" fmla="*/ 173 h 173"/>
                <a:gd name="T20" fmla="*/ 130 w 130"/>
                <a:gd name="T21" fmla="*/ 120 h 173"/>
                <a:gd name="T22" fmla="*/ 72 w 130"/>
                <a:gd name="T23" fmla="*/ 74 h 173"/>
                <a:gd name="T24" fmla="*/ 32 w 130"/>
                <a:gd name="T25" fmla="*/ 48 h 173"/>
                <a:gd name="T26" fmla="*/ 63 w 130"/>
                <a:gd name="T27" fmla="*/ 27 h 173"/>
                <a:gd name="T28" fmla="*/ 97 w 130"/>
                <a:gd name="T29" fmla="*/ 49 h 173"/>
                <a:gd name="T30" fmla="*/ 102 w 130"/>
                <a:gd name="T31" fmla="*/ 53 h 173"/>
                <a:gd name="T32" fmla="*/ 120 w 130"/>
                <a:gd name="T33" fmla="*/ 53 h 173"/>
                <a:gd name="T34" fmla="*/ 125 w 130"/>
                <a:gd name="T35" fmla="*/ 48 h 173"/>
                <a:gd name="T36" fmla="*/ 63 w 130"/>
                <a:gd name="T37" fmla="*/ 0 h 173"/>
                <a:gd name="T38" fmla="*/ 4 w 130"/>
                <a:gd name="T39" fmla="*/ 4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173">
                  <a:moveTo>
                    <a:pt x="4" y="48"/>
                  </a:moveTo>
                  <a:cubicBezTo>
                    <a:pt x="4" y="77"/>
                    <a:pt x="19" y="91"/>
                    <a:pt x="56" y="97"/>
                  </a:cubicBezTo>
                  <a:cubicBezTo>
                    <a:pt x="57" y="98"/>
                    <a:pt x="57" y="98"/>
                    <a:pt x="57" y="98"/>
                  </a:cubicBezTo>
                  <a:cubicBezTo>
                    <a:pt x="83" y="102"/>
                    <a:pt x="101" y="105"/>
                    <a:pt x="101" y="124"/>
                  </a:cubicBezTo>
                  <a:cubicBezTo>
                    <a:pt x="101" y="139"/>
                    <a:pt x="83" y="146"/>
                    <a:pt x="66" y="146"/>
                  </a:cubicBezTo>
                  <a:cubicBezTo>
                    <a:pt x="46" y="146"/>
                    <a:pt x="33" y="136"/>
                    <a:pt x="30" y="118"/>
                  </a:cubicBezTo>
                  <a:cubicBezTo>
                    <a:pt x="30" y="116"/>
                    <a:pt x="29" y="114"/>
                    <a:pt x="26" y="114"/>
                  </a:cubicBezTo>
                  <a:cubicBezTo>
                    <a:pt x="5" y="114"/>
                    <a:pt x="5" y="114"/>
                    <a:pt x="5" y="114"/>
                  </a:cubicBezTo>
                  <a:cubicBezTo>
                    <a:pt x="2" y="114"/>
                    <a:pt x="0" y="116"/>
                    <a:pt x="0" y="118"/>
                  </a:cubicBezTo>
                  <a:cubicBezTo>
                    <a:pt x="0" y="150"/>
                    <a:pt x="27" y="173"/>
                    <a:pt x="65" y="173"/>
                  </a:cubicBezTo>
                  <a:cubicBezTo>
                    <a:pt x="104" y="173"/>
                    <a:pt x="130" y="151"/>
                    <a:pt x="130" y="120"/>
                  </a:cubicBezTo>
                  <a:cubicBezTo>
                    <a:pt x="130" y="86"/>
                    <a:pt x="100" y="79"/>
                    <a:pt x="72" y="74"/>
                  </a:cubicBezTo>
                  <a:cubicBezTo>
                    <a:pt x="37" y="68"/>
                    <a:pt x="32" y="58"/>
                    <a:pt x="32" y="48"/>
                  </a:cubicBezTo>
                  <a:cubicBezTo>
                    <a:pt x="32" y="32"/>
                    <a:pt x="49" y="27"/>
                    <a:pt x="63" y="27"/>
                  </a:cubicBezTo>
                  <a:cubicBezTo>
                    <a:pt x="82" y="27"/>
                    <a:pt x="94" y="34"/>
                    <a:pt x="97" y="49"/>
                  </a:cubicBezTo>
                  <a:cubicBezTo>
                    <a:pt x="98" y="51"/>
                    <a:pt x="98" y="53"/>
                    <a:pt x="102" y="53"/>
                  </a:cubicBezTo>
                  <a:cubicBezTo>
                    <a:pt x="120" y="53"/>
                    <a:pt x="120" y="53"/>
                    <a:pt x="120" y="53"/>
                  </a:cubicBezTo>
                  <a:cubicBezTo>
                    <a:pt x="123" y="53"/>
                    <a:pt x="125" y="51"/>
                    <a:pt x="125" y="48"/>
                  </a:cubicBezTo>
                  <a:cubicBezTo>
                    <a:pt x="125" y="19"/>
                    <a:pt x="100" y="0"/>
                    <a:pt x="63" y="0"/>
                  </a:cubicBezTo>
                  <a:cubicBezTo>
                    <a:pt x="22" y="0"/>
                    <a:pt x="4" y="25"/>
                    <a:pt x="4" y="4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dirty="0"/>
            </a:p>
          </p:txBody>
        </p:sp>
        <p:sp>
          <p:nvSpPr>
            <p:cNvPr id="26" name="Freeform 10">
              <a:extLst>
                <a:ext uri="{FF2B5EF4-FFF2-40B4-BE49-F238E27FC236}">
                  <a16:creationId xmlns:a16="http://schemas.microsoft.com/office/drawing/2014/main" id="{4F51EF93-B585-496B-B94C-E8BE3985236A}"/>
                </a:ext>
              </a:extLst>
            </p:cNvPr>
            <p:cNvSpPr>
              <a:spLocks/>
            </p:cNvSpPr>
            <p:nvPr userDrawn="1"/>
          </p:nvSpPr>
          <p:spPr bwMode="auto">
            <a:xfrm>
              <a:off x="3062" y="1722"/>
              <a:ext cx="312" cy="474"/>
            </a:xfrm>
            <a:custGeom>
              <a:avLst/>
              <a:gdLst>
                <a:gd name="T0" fmla="*/ 67 w 165"/>
                <a:gd name="T1" fmla="*/ 0 h 250"/>
                <a:gd name="T2" fmla="*/ 0 w 165"/>
                <a:gd name="T3" fmla="*/ 86 h 250"/>
                <a:gd name="T4" fmla="*/ 82 w 165"/>
                <a:gd name="T5" fmla="*/ 174 h 250"/>
                <a:gd name="T6" fmla="*/ 137 w 165"/>
                <a:gd name="T7" fmla="*/ 152 h 250"/>
                <a:gd name="T8" fmla="*/ 137 w 165"/>
                <a:gd name="T9" fmla="*/ 173 h 250"/>
                <a:gd name="T10" fmla="*/ 89 w 165"/>
                <a:gd name="T11" fmla="*/ 222 h 250"/>
                <a:gd name="T12" fmla="*/ 48 w 165"/>
                <a:gd name="T13" fmla="*/ 194 h 250"/>
                <a:gd name="T14" fmla="*/ 43 w 165"/>
                <a:gd name="T15" fmla="*/ 190 h 250"/>
                <a:gd name="T16" fmla="*/ 24 w 165"/>
                <a:gd name="T17" fmla="*/ 190 h 250"/>
                <a:gd name="T18" fmla="*/ 19 w 165"/>
                <a:gd name="T19" fmla="*/ 195 h 250"/>
                <a:gd name="T20" fmla="*/ 89 w 165"/>
                <a:gd name="T21" fmla="*/ 250 h 250"/>
                <a:gd name="T22" fmla="*/ 165 w 165"/>
                <a:gd name="T23" fmla="*/ 174 h 250"/>
                <a:gd name="T24" fmla="*/ 165 w 165"/>
                <a:gd name="T25" fmla="*/ 7 h 250"/>
                <a:gd name="T26" fmla="*/ 162 w 165"/>
                <a:gd name="T27" fmla="*/ 4 h 250"/>
                <a:gd name="T28" fmla="*/ 140 w 165"/>
                <a:gd name="T29" fmla="*/ 4 h 250"/>
                <a:gd name="T30" fmla="*/ 137 w 165"/>
                <a:gd name="T31" fmla="*/ 7 h 250"/>
                <a:gd name="T32" fmla="*/ 137 w 165"/>
                <a:gd name="T33" fmla="*/ 21 h 250"/>
                <a:gd name="T34" fmla="*/ 99 w 165"/>
                <a:gd name="T35" fmla="*/ 0 h 250"/>
                <a:gd name="T36" fmla="*/ 96 w 165"/>
                <a:gd name="T37" fmla="*/ 3 h 250"/>
                <a:gd name="T38" fmla="*/ 96 w 165"/>
                <a:gd name="T39" fmla="*/ 28 h 250"/>
                <a:gd name="T40" fmla="*/ 97 w 165"/>
                <a:gd name="T41" fmla="*/ 31 h 250"/>
                <a:gd name="T42" fmla="*/ 138 w 165"/>
                <a:gd name="T43" fmla="*/ 87 h 250"/>
                <a:gd name="T44" fmla="*/ 83 w 165"/>
                <a:gd name="T45" fmla="*/ 146 h 250"/>
                <a:gd name="T46" fmla="*/ 29 w 165"/>
                <a:gd name="T47" fmla="*/ 87 h 250"/>
                <a:gd name="T48" fmla="*/ 68 w 165"/>
                <a:gd name="T49" fmla="*/ 31 h 250"/>
                <a:gd name="T50" fmla="*/ 70 w 165"/>
                <a:gd name="T51" fmla="*/ 29 h 250"/>
                <a:gd name="T52" fmla="*/ 70 w 165"/>
                <a:gd name="T53" fmla="*/ 3 h 250"/>
                <a:gd name="T54" fmla="*/ 67 w 165"/>
                <a:gd name="T55" fmla="*/ 0 h 250"/>
                <a:gd name="T56" fmla="*/ 67 w 165"/>
                <a:gd name="T57"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5" h="250">
                  <a:moveTo>
                    <a:pt x="67" y="0"/>
                  </a:moveTo>
                  <a:cubicBezTo>
                    <a:pt x="29" y="8"/>
                    <a:pt x="0" y="44"/>
                    <a:pt x="0" y="86"/>
                  </a:cubicBezTo>
                  <a:cubicBezTo>
                    <a:pt x="0" y="135"/>
                    <a:pt x="37" y="174"/>
                    <a:pt x="82" y="174"/>
                  </a:cubicBezTo>
                  <a:cubicBezTo>
                    <a:pt x="103" y="174"/>
                    <a:pt x="122" y="166"/>
                    <a:pt x="137" y="152"/>
                  </a:cubicBezTo>
                  <a:cubicBezTo>
                    <a:pt x="137" y="173"/>
                    <a:pt x="137" y="173"/>
                    <a:pt x="137" y="173"/>
                  </a:cubicBezTo>
                  <a:cubicBezTo>
                    <a:pt x="137" y="205"/>
                    <a:pt x="120" y="222"/>
                    <a:pt x="89" y="222"/>
                  </a:cubicBezTo>
                  <a:cubicBezTo>
                    <a:pt x="66" y="222"/>
                    <a:pt x="52" y="213"/>
                    <a:pt x="48" y="194"/>
                  </a:cubicBezTo>
                  <a:cubicBezTo>
                    <a:pt x="47" y="192"/>
                    <a:pt x="46" y="190"/>
                    <a:pt x="43" y="190"/>
                  </a:cubicBezTo>
                  <a:cubicBezTo>
                    <a:pt x="24" y="190"/>
                    <a:pt x="24" y="190"/>
                    <a:pt x="24" y="190"/>
                  </a:cubicBezTo>
                  <a:cubicBezTo>
                    <a:pt x="21" y="190"/>
                    <a:pt x="19" y="192"/>
                    <a:pt x="19" y="195"/>
                  </a:cubicBezTo>
                  <a:cubicBezTo>
                    <a:pt x="22" y="228"/>
                    <a:pt x="51" y="250"/>
                    <a:pt x="89" y="250"/>
                  </a:cubicBezTo>
                  <a:cubicBezTo>
                    <a:pt x="135" y="250"/>
                    <a:pt x="165" y="219"/>
                    <a:pt x="165" y="174"/>
                  </a:cubicBezTo>
                  <a:cubicBezTo>
                    <a:pt x="165" y="7"/>
                    <a:pt x="165" y="7"/>
                    <a:pt x="165" y="7"/>
                  </a:cubicBezTo>
                  <a:cubicBezTo>
                    <a:pt x="165" y="5"/>
                    <a:pt x="164" y="4"/>
                    <a:pt x="162" y="4"/>
                  </a:cubicBezTo>
                  <a:cubicBezTo>
                    <a:pt x="140" y="4"/>
                    <a:pt x="140" y="4"/>
                    <a:pt x="140" y="4"/>
                  </a:cubicBezTo>
                  <a:cubicBezTo>
                    <a:pt x="138" y="4"/>
                    <a:pt x="137" y="5"/>
                    <a:pt x="137" y="7"/>
                  </a:cubicBezTo>
                  <a:cubicBezTo>
                    <a:pt x="137" y="21"/>
                    <a:pt x="137" y="21"/>
                    <a:pt x="137" y="21"/>
                  </a:cubicBezTo>
                  <a:cubicBezTo>
                    <a:pt x="126" y="11"/>
                    <a:pt x="113" y="4"/>
                    <a:pt x="99" y="0"/>
                  </a:cubicBezTo>
                  <a:cubicBezTo>
                    <a:pt x="97" y="0"/>
                    <a:pt x="96" y="1"/>
                    <a:pt x="96" y="3"/>
                  </a:cubicBezTo>
                  <a:cubicBezTo>
                    <a:pt x="96" y="28"/>
                    <a:pt x="96" y="28"/>
                    <a:pt x="96" y="28"/>
                  </a:cubicBezTo>
                  <a:cubicBezTo>
                    <a:pt x="96" y="29"/>
                    <a:pt x="96" y="30"/>
                    <a:pt x="97" y="31"/>
                  </a:cubicBezTo>
                  <a:cubicBezTo>
                    <a:pt x="121" y="37"/>
                    <a:pt x="138" y="60"/>
                    <a:pt x="138" y="87"/>
                  </a:cubicBezTo>
                  <a:cubicBezTo>
                    <a:pt x="138" y="119"/>
                    <a:pt x="114" y="146"/>
                    <a:pt x="83" y="146"/>
                  </a:cubicBezTo>
                  <a:cubicBezTo>
                    <a:pt x="53" y="146"/>
                    <a:pt x="29" y="119"/>
                    <a:pt x="29" y="87"/>
                  </a:cubicBezTo>
                  <a:cubicBezTo>
                    <a:pt x="29" y="61"/>
                    <a:pt x="45" y="38"/>
                    <a:pt x="68" y="31"/>
                  </a:cubicBezTo>
                  <a:cubicBezTo>
                    <a:pt x="69" y="31"/>
                    <a:pt x="70" y="30"/>
                    <a:pt x="70" y="29"/>
                  </a:cubicBezTo>
                  <a:cubicBezTo>
                    <a:pt x="70" y="3"/>
                    <a:pt x="70" y="3"/>
                    <a:pt x="70" y="3"/>
                  </a:cubicBezTo>
                  <a:cubicBezTo>
                    <a:pt x="70" y="1"/>
                    <a:pt x="69" y="0"/>
                    <a:pt x="67" y="0"/>
                  </a:cubicBezTo>
                  <a:cubicBezTo>
                    <a:pt x="67" y="0"/>
                    <a:pt x="67" y="0"/>
                    <a:pt x="6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dirty="0"/>
            </a:p>
          </p:txBody>
        </p:sp>
        <p:sp>
          <p:nvSpPr>
            <p:cNvPr id="27" name="Oval 11">
              <a:extLst>
                <a:ext uri="{FF2B5EF4-FFF2-40B4-BE49-F238E27FC236}">
                  <a16:creationId xmlns:a16="http://schemas.microsoft.com/office/drawing/2014/main" id="{781972F2-AA1F-442F-B2D7-23EDE922FF06}"/>
                </a:ext>
              </a:extLst>
            </p:cNvPr>
            <p:cNvSpPr>
              <a:spLocks noChangeArrowheads="1"/>
            </p:cNvSpPr>
            <p:nvPr userDrawn="1"/>
          </p:nvSpPr>
          <p:spPr bwMode="auto">
            <a:xfrm>
              <a:off x="284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dirty="0"/>
            </a:p>
          </p:txBody>
        </p:sp>
        <p:sp>
          <p:nvSpPr>
            <p:cNvPr id="28" name="Oval 12">
              <a:extLst>
                <a:ext uri="{FF2B5EF4-FFF2-40B4-BE49-F238E27FC236}">
                  <a16:creationId xmlns:a16="http://schemas.microsoft.com/office/drawing/2014/main" id="{BC311869-F154-41A1-AE1A-2BB4BC44553F}"/>
                </a:ext>
              </a:extLst>
            </p:cNvPr>
            <p:cNvSpPr>
              <a:spLocks noChangeArrowheads="1"/>
            </p:cNvSpPr>
            <p:nvPr userDrawn="1"/>
          </p:nvSpPr>
          <p:spPr bwMode="auto">
            <a:xfrm>
              <a:off x="387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dirty="0"/>
            </a:p>
          </p:txBody>
        </p:sp>
        <p:sp>
          <p:nvSpPr>
            <p:cNvPr id="29" name="Freeform 13">
              <a:extLst>
                <a:ext uri="{FF2B5EF4-FFF2-40B4-BE49-F238E27FC236}">
                  <a16:creationId xmlns:a16="http://schemas.microsoft.com/office/drawing/2014/main" id="{90BD3BAD-FEE2-4A45-B755-58079972566E}"/>
                </a:ext>
              </a:extLst>
            </p:cNvPr>
            <p:cNvSpPr>
              <a:spLocks/>
            </p:cNvSpPr>
            <p:nvPr userDrawn="1"/>
          </p:nvSpPr>
          <p:spPr bwMode="auto">
            <a:xfrm>
              <a:off x="4062" y="1584"/>
              <a:ext cx="242" cy="462"/>
            </a:xfrm>
            <a:custGeom>
              <a:avLst/>
              <a:gdLst>
                <a:gd name="T0" fmla="*/ 39 w 128"/>
                <a:gd name="T1" fmla="*/ 55 h 244"/>
                <a:gd name="T2" fmla="*/ 39 w 128"/>
                <a:gd name="T3" fmla="*/ 76 h 244"/>
                <a:gd name="T4" fmla="*/ 4 w 128"/>
                <a:gd name="T5" fmla="*/ 76 h 244"/>
                <a:gd name="T6" fmla="*/ 0 w 128"/>
                <a:gd name="T7" fmla="*/ 81 h 244"/>
                <a:gd name="T8" fmla="*/ 0 w 128"/>
                <a:gd name="T9" fmla="*/ 99 h 244"/>
                <a:gd name="T10" fmla="*/ 4 w 128"/>
                <a:gd name="T11" fmla="*/ 103 h 244"/>
                <a:gd name="T12" fmla="*/ 39 w 128"/>
                <a:gd name="T13" fmla="*/ 103 h 244"/>
                <a:gd name="T14" fmla="*/ 39 w 128"/>
                <a:gd name="T15" fmla="*/ 239 h 244"/>
                <a:gd name="T16" fmla="*/ 44 w 128"/>
                <a:gd name="T17" fmla="*/ 244 h 244"/>
                <a:gd name="T18" fmla="*/ 62 w 128"/>
                <a:gd name="T19" fmla="*/ 244 h 244"/>
                <a:gd name="T20" fmla="*/ 67 w 128"/>
                <a:gd name="T21" fmla="*/ 239 h 244"/>
                <a:gd name="T22" fmla="*/ 67 w 128"/>
                <a:gd name="T23" fmla="*/ 103 h 244"/>
                <a:gd name="T24" fmla="*/ 120 w 128"/>
                <a:gd name="T25" fmla="*/ 103 h 244"/>
                <a:gd name="T26" fmla="*/ 125 w 128"/>
                <a:gd name="T27" fmla="*/ 99 h 244"/>
                <a:gd name="T28" fmla="*/ 125 w 128"/>
                <a:gd name="T29" fmla="*/ 81 h 244"/>
                <a:gd name="T30" fmla="*/ 120 w 128"/>
                <a:gd name="T31" fmla="*/ 76 h 244"/>
                <a:gd name="T32" fmla="*/ 67 w 128"/>
                <a:gd name="T33" fmla="*/ 76 h 244"/>
                <a:gd name="T34" fmla="*/ 67 w 128"/>
                <a:gd name="T35" fmla="*/ 55 h 244"/>
                <a:gd name="T36" fmla="*/ 91 w 128"/>
                <a:gd name="T37" fmla="*/ 27 h 244"/>
                <a:gd name="T38" fmla="*/ 122 w 128"/>
                <a:gd name="T39" fmla="*/ 37 h 244"/>
                <a:gd name="T40" fmla="*/ 125 w 128"/>
                <a:gd name="T41" fmla="*/ 38 h 244"/>
                <a:gd name="T42" fmla="*/ 128 w 128"/>
                <a:gd name="T43" fmla="*/ 33 h 244"/>
                <a:gd name="T44" fmla="*/ 128 w 128"/>
                <a:gd name="T45" fmla="*/ 16 h 244"/>
                <a:gd name="T46" fmla="*/ 125 w 128"/>
                <a:gd name="T47" fmla="*/ 9 h 244"/>
                <a:gd name="T48" fmla="*/ 89 w 128"/>
                <a:gd name="T49" fmla="*/ 0 h 244"/>
                <a:gd name="T50" fmla="*/ 39 w 128"/>
                <a:gd name="T51" fmla="*/ 5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244">
                  <a:moveTo>
                    <a:pt x="39" y="55"/>
                  </a:moveTo>
                  <a:cubicBezTo>
                    <a:pt x="39" y="76"/>
                    <a:pt x="39" y="76"/>
                    <a:pt x="39" y="76"/>
                  </a:cubicBezTo>
                  <a:cubicBezTo>
                    <a:pt x="4" y="76"/>
                    <a:pt x="4" y="76"/>
                    <a:pt x="4" y="76"/>
                  </a:cubicBezTo>
                  <a:cubicBezTo>
                    <a:pt x="1" y="76"/>
                    <a:pt x="0" y="78"/>
                    <a:pt x="0" y="81"/>
                  </a:cubicBezTo>
                  <a:cubicBezTo>
                    <a:pt x="0" y="99"/>
                    <a:pt x="0" y="99"/>
                    <a:pt x="0" y="99"/>
                  </a:cubicBezTo>
                  <a:cubicBezTo>
                    <a:pt x="0" y="102"/>
                    <a:pt x="1" y="103"/>
                    <a:pt x="4" y="103"/>
                  </a:cubicBezTo>
                  <a:cubicBezTo>
                    <a:pt x="39" y="103"/>
                    <a:pt x="39" y="103"/>
                    <a:pt x="39" y="103"/>
                  </a:cubicBezTo>
                  <a:cubicBezTo>
                    <a:pt x="39" y="239"/>
                    <a:pt x="39" y="239"/>
                    <a:pt x="39" y="239"/>
                  </a:cubicBezTo>
                  <a:cubicBezTo>
                    <a:pt x="39" y="242"/>
                    <a:pt x="41" y="244"/>
                    <a:pt x="44" y="244"/>
                  </a:cubicBezTo>
                  <a:cubicBezTo>
                    <a:pt x="62" y="244"/>
                    <a:pt x="62" y="244"/>
                    <a:pt x="62" y="244"/>
                  </a:cubicBezTo>
                  <a:cubicBezTo>
                    <a:pt x="65" y="244"/>
                    <a:pt x="67" y="242"/>
                    <a:pt x="67" y="239"/>
                  </a:cubicBezTo>
                  <a:cubicBezTo>
                    <a:pt x="67" y="103"/>
                    <a:pt x="67" y="103"/>
                    <a:pt x="67" y="103"/>
                  </a:cubicBezTo>
                  <a:cubicBezTo>
                    <a:pt x="120" y="103"/>
                    <a:pt x="120" y="103"/>
                    <a:pt x="120" y="103"/>
                  </a:cubicBezTo>
                  <a:cubicBezTo>
                    <a:pt x="123" y="103"/>
                    <a:pt x="125" y="102"/>
                    <a:pt x="125" y="99"/>
                  </a:cubicBezTo>
                  <a:cubicBezTo>
                    <a:pt x="125" y="81"/>
                    <a:pt x="125" y="81"/>
                    <a:pt x="125" y="81"/>
                  </a:cubicBezTo>
                  <a:cubicBezTo>
                    <a:pt x="125" y="78"/>
                    <a:pt x="123" y="76"/>
                    <a:pt x="120" y="76"/>
                  </a:cubicBezTo>
                  <a:cubicBezTo>
                    <a:pt x="67" y="76"/>
                    <a:pt x="67" y="76"/>
                    <a:pt x="67" y="76"/>
                  </a:cubicBezTo>
                  <a:cubicBezTo>
                    <a:pt x="67" y="55"/>
                    <a:pt x="67" y="55"/>
                    <a:pt x="67" y="55"/>
                  </a:cubicBezTo>
                  <a:cubicBezTo>
                    <a:pt x="67" y="38"/>
                    <a:pt x="76" y="27"/>
                    <a:pt x="91" y="27"/>
                  </a:cubicBezTo>
                  <a:cubicBezTo>
                    <a:pt x="102" y="27"/>
                    <a:pt x="110" y="30"/>
                    <a:pt x="122" y="37"/>
                  </a:cubicBezTo>
                  <a:cubicBezTo>
                    <a:pt x="123" y="38"/>
                    <a:pt x="124" y="38"/>
                    <a:pt x="125" y="38"/>
                  </a:cubicBezTo>
                  <a:cubicBezTo>
                    <a:pt x="127" y="38"/>
                    <a:pt x="128" y="36"/>
                    <a:pt x="128" y="33"/>
                  </a:cubicBezTo>
                  <a:cubicBezTo>
                    <a:pt x="128" y="16"/>
                    <a:pt x="128" y="16"/>
                    <a:pt x="128" y="16"/>
                  </a:cubicBezTo>
                  <a:cubicBezTo>
                    <a:pt x="128" y="13"/>
                    <a:pt x="128" y="11"/>
                    <a:pt x="125" y="9"/>
                  </a:cubicBezTo>
                  <a:cubicBezTo>
                    <a:pt x="114" y="3"/>
                    <a:pt x="103" y="0"/>
                    <a:pt x="89" y="0"/>
                  </a:cubicBezTo>
                  <a:cubicBezTo>
                    <a:pt x="54" y="0"/>
                    <a:pt x="39" y="29"/>
                    <a:pt x="39"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dirty="0"/>
            </a:p>
          </p:txBody>
        </p:sp>
        <p:sp>
          <p:nvSpPr>
            <p:cNvPr id="30" name="Freeform 14">
              <a:extLst>
                <a:ext uri="{FF2B5EF4-FFF2-40B4-BE49-F238E27FC236}">
                  <a16:creationId xmlns:a16="http://schemas.microsoft.com/office/drawing/2014/main" id="{03B1CC70-8E47-4D3D-9382-CF481F7A985B}"/>
                </a:ext>
              </a:extLst>
            </p:cNvPr>
            <p:cNvSpPr>
              <a:spLocks/>
            </p:cNvSpPr>
            <p:nvPr userDrawn="1"/>
          </p:nvSpPr>
          <p:spPr bwMode="auto">
            <a:xfrm>
              <a:off x="2071" y="1578"/>
              <a:ext cx="632" cy="631"/>
            </a:xfrm>
            <a:custGeom>
              <a:avLst/>
              <a:gdLst>
                <a:gd name="T0" fmla="*/ 181 w 334"/>
                <a:gd name="T1" fmla="*/ 1 h 333"/>
                <a:gd name="T2" fmla="*/ 180 w 334"/>
                <a:gd name="T3" fmla="*/ 4 h 333"/>
                <a:gd name="T4" fmla="*/ 180 w 334"/>
                <a:gd name="T5" fmla="*/ 26 h 333"/>
                <a:gd name="T6" fmla="*/ 180 w 334"/>
                <a:gd name="T7" fmla="*/ 26 h 333"/>
                <a:gd name="T8" fmla="*/ 182 w 334"/>
                <a:gd name="T9" fmla="*/ 28 h 333"/>
                <a:gd name="T10" fmla="*/ 306 w 334"/>
                <a:gd name="T11" fmla="*/ 166 h 333"/>
                <a:gd name="T12" fmla="*/ 167 w 334"/>
                <a:gd name="T13" fmla="*/ 305 h 333"/>
                <a:gd name="T14" fmla="*/ 28 w 334"/>
                <a:gd name="T15" fmla="*/ 166 h 333"/>
                <a:gd name="T16" fmla="*/ 152 w 334"/>
                <a:gd name="T17" fmla="*/ 28 h 333"/>
                <a:gd name="T18" fmla="*/ 154 w 334"/>
                <a:gd name="T19" fmla="*/ 26 h 333"/>
                <a:gd name="T20" fmla="*/ 154 w 334"/>
                <a:gd name="T21" fmla="*/ 26 h 333"/>
                <a:gd name="T22" fmla="*/ 154 w 334"/>
                <a:gd name="T23" fmla="*/ 4 h 333"/>
                <a:gd name="T24" fmla="*/ 153 w 334"/>
                <a:gd name="T25" fmla="*/ 1 h 333"/>
                <a:gd name="T26" fmla="*/ 150 w 334"/>
                <a:gd name="T27" fmla="*/ 0 h 333"/>
                <a:gd name="T28" fmla="*/ 149 w 334"/>
                <a:gd name="T29" fmla="*/ 0 h 333"/>
                <a:gd name="T30" fmla="*/ 149 w 334"/>
                <a:gd name="T31" fmla="*/ 0 h 333"/>
                <a:gd name="T32" fmla="*/ 0 w 334"/>
                <a:gd name="T33" fmla="*/ 166 h 333"/>
                <a:gd name="T34" fmla="*/ 167 w 334"/>
                <a:gd name="T35" fmla="*/ 333 h 333"/>
                <a:gd name="T36" fmla="*/ 334 w 334"/>
                <a:gd name="T37" fmla="*/ 166 h 333"/>
                <a:gd name="T38" fmla="*/ 185 w 334"/>
                <a:gd name="T39" fmla="*/ 0 h 333"/>
                <a:gd name="T40" fmla="*/ 185 w 334"/>
                <a:gd name="T41" fmla="*/ 0 h 333"/>
                <a:gd name="T42" fmla="*/ 184 w 334"/>
                <a:gd name="T43" fmla="*/ 0 h 333"/>
                <a:gd name="T44" fmla="*/ 181 w 334"/>
                <a:gd name="T45" fmla="*/ 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4" h="333">
                  <a:moveTo>
                    <a:pt x="181" y="1"/>
                  </a:moveTo>
                  <a:cubicBezTo>
                    <a:pt x="180" y="2"/>
                    <a:pt x="180" y="3"/>
                    <a:pt x="180" y="4"/>
                  </a:cubicBezTo>
                  <a:cubicBezTo>
                    <a:pt x="180" y="26"/>
                    <a:pt x="180" y="26"/>
                    <a:pt x="180" y="26"/>
                  </a:cubicBezTo>
                  <a:cubicBezTo>
                    <a:pt x="180" y="26"/>
                    <a:pt x="180" y="26"/>
                    <a:pt x="180" y="26"/>
                  </a:cubicBezTo>
                  <a:cubicBezTo>
                    <a:pt x="180" y="27"/>
                    <a:pt x="181" y="28"/>
                    <a:pt x="182" y="28"/>
                  </a:cubicBezTo>
                  <a:cubicBezTo>
                    <a:pt x="251" y="35"/>
                    <a:pt x="306" y="94"/>
                    <a:pt x="306" y="166"/>
                  </a:cubicBezTo>
                  <a:cubicBezTo>
                    <a:pt x="306" y="243"/>
                    <a:pt x="244" y="305"/>
                    <a:pt x="167" y="305"/>
                  </a:cubicBezTo>
                  <a:cubicBezTo>
                    <a:pt x="90" y="305"/>
                    <a:pt x="28" y="243"/>
                    <a:pt x="28" y="166"/>
                  </a:cubicBezTo>
                  <a:cubicBezTo>
                    <a:pt x="28" y="94"/>
                    <a:pt x="82" y="35"/>
                    <a:pt x="152" y="28"/>
                  </a:cubicBezTo>
                  <a:cubicBezTo>
                    <a:pt x="153" y="28"/>
                    <a:pt x="154" y="27"/>
                    <a:pt x="154" y="26"/>
                  </a:cubicBezTo>
                  <a:cubicBezTo>
                    <a:pt x="154" y="26"/>
                    <a:pt x="154" y="26"/>
                    <a:pt x="154" y="26"/>
                  </a:cubicBezTo>
                  <a:cubicBezTo>
                    <a:pt x="154" y="4"/>
                    <a:pt x="154" y="4"/>
                    <a:pt x="154" y="4"/>
                  </a:cubicBezTo>
                  <a:cubicBezTo>
                    <a:pt x="154" y="3"/>
                    <a:pt x="154" y="2"/>
                    <a:pt x="153" y="1"/>
                  </a:cubicBezTo>
                  <a:cubicBezTo>
                    <a:pt x="152" y="0"/>
                    <a:pt x="151" y="0"/>
                    <a:pt x="150" y="0"/>
                  </a:cubicBezTo>
                  <a:cubicBezTo>
                    <a:pt x="149" y="0"/>
                    <a:pt x="149" y="0"/>
                    <a:pt x="149" y="0"/>
                  </a:cubicBezTo>
                  <a:cubicBezTo>
                    <a:pt x="149" y="0"/>
                    <a:pt x="149" y="0"/>
                    <a:pt x="149" y="0"/>
                  </a:cubicBezTo>
                  <a:cubicBezTo>
                    <a:pt x="65" y="9"/>
                    <a:pt x="0" y="80"/>
                    <a:pt x="0" y="166"/>
                  </a:cubicBezTo>
                  <a:cubicBezTo>
                    <a:pt x="0" y="258"/>
                    <a:pt x="75" y="333"/>
                    <a:pt x="167" y="333"/>
                  </a:cubicBezTo>
                  <a:cubicBezTo>
                    <a:pt x="259" y="333"/>
                    <a:pt x="334" y="258"/>
                    <a:pt x="334" y="166"/>
                  </a:cubicBezTo>
                  <a:cubicBezTo>
                    <a:pt x="334" y="80"/>
                    <a:pt x="269" y="9"/>
                    <a:pt x="185" y="0"/>
                  </a:cubicBezTo>
                  <a:cubicBezTo>
                    <a:pt x="185" y="0"/>
                    <a:pt x="185" y="0"/>
                    <a:pt x="185" y="0"/>
                  </a:cubicBezTo>
                  <a:cubicBezTo>
                    <a:pt x="185" y="0"/>
                    <a:pt x="184" y="0"/>
                    <a:pt x="184" y="0"/>
                  </a:cubicBezTo>
                  <a:cubicBezTo>
                    <a:pt x="183" y="0"/>
                    <a:pt x="182" y="0"/>
                    <a:pt x="18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dirty="0"/>
            </a:p>
          </p:txBody>
        </p:sp>
      </p:grpSp>
    </p:spTree>
    <p:extLst>
      <p:ext uri="{BB962C8B-B14F-4D97-AF65-F5344CB8AC3E}">
        <p14:creationId xmlns:p14="http://schemas.microsoft.com/office/powerpoint/2010/main" val="3135994142"/>
      </p:ext>
    </p:extLst>
  </p:cSld>
  <p:clrMapOvr>
    <a:masterClrMapping/>
  </p:clrMapOvr>
  <p:transition>
    <p:fade/>
  </p:transition>
  <p:extLst>
    <p:ext uri="{DCECCB84-F9BA-43D5-87BE-67443E8EF086}">
      <p15:sldGuideLst xmlns:p15="http://schemas.microsoft.com/office/powerpoint/2012/main"/>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wo Content Dark Lef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D86AC41-762B-4924-A899-F81343A12E1E}"/>
              </a:ext>
            </a:extLst>
          </p:cNvPr>
          <p:cNvSpPr/>
          <p:nvPr userDrawn="1"/>
        </p:nvSpPr>
        <p:spPr>
          <a:xfrm>
            <a:off x="906" y="-1"/>
            <a:ext cx="6096000" cy="6858000"/>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42" dirty="0"/>
          </a:p>
        </p:txBody>
      </p:sp>
      <p:sp>
        <p:nvSpPr>
          <p:cNvPr id="4" name="Content Placeholder 3"/>
          <p:cNvSpPr>
            <a:spLocks noGrp="1"/>
          </p:cNvSpPr>
          <p:nvPr>
            <p:ph sz="half" idx="2"/>
          </p:nvPr>
        </p:nvSpPr>
        <p:spPr>
          <a:xfrm>
            <a:off x="410878" y="1521183"/>
            <a:ext cx="5292112" cy="4494732"/>
          </a:xfrm>
        </p:spPr>
        <p:txBody>
          <a:bodyPr/>
          <a:lstStyle>
            <a:lvl1pPr>
              <a:defRPr>
                <a:solidFill>
                  <a:schemeClr val="bg1"/>
                </a:solidFill>
              </a:defRPr>
            </a:lvl1pPr>
            <a:lvl2pPr>
              <a:defRPr>
                <a:solidFill>
                  <a:schemeClr val="bg1"/>
                </a:solidFill>
              </a:defRPr>
            </a:lvl2pPr>
            <a:lvl3pPr>
              <a:defRPr>
                <a:solidFill>
                  <a:schemeClr val="accent3"/>
                </a:solidFill>
              </a:defRPr>
            </a:lvl3pPr>
            <a:lvl4pPr>
              <a:buClr>
                <a:schemeClr val="accent3"/>
              </a:buClr>
              <a:defRPr>
                <a:solidFill>
                  <a:schemeClr val="bg1"/>
                </a:solidFill>
              </a:defRPr>
            </a:lvl4pPr>
            <a:lvl5pPr>
              <a:buClr>
                <a:schemeClr val="accent3"/>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2"/>
          <p:cNvSpPr>
            <a:spLocks noGrp="1"/>
          </p:cNvSpPr>
          <p:nvPr>
            <p:ph sz="half" idx="1"/>
          </p:nvPr>
        </p:nvSpPr>
        <p:spPr>
          <a:xfrm>
            <a:off x="6487200" y="1521678"/>
            <a:ext cx="5292000" cy="44947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lvl1pPr>
              <a:defRPr>
                <a:solidFill>
                  <a:schemeClr val="bg1"/>
                </a:solidFill>
              </a:defRPr>
            </a:lvl1pPr>
          </a:lstStyle>
          <a:p>
            <a:r>
              <a:rPr lang="en-GB"/>
              <a:t>Document Name</a:t>
            </a:r>
            <a:endParaRPr lang="en-US"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32B354EE-31EA-4FC2-9496-7B6202183237}" type="slidenum">
              <a:rPr lang="en-US" smtClean="0"/>
              <a:pPr/>
              <a:t>‹#›</a:t>
            </a:fld>
            <a:endParaRPr lang="en-US" dirty="0"/>
          </a:p>
        </p:txBody>
      </p:sp>
      <p:sp>
        <p:nvSpPr>
          <p:cNvPr id="8" name="Title 7">
            <a:extLst>
              <a:ext uri="{FF2B5EF4-FFF2-40B4-BE49-F238E27FC236}">
                <a16:creationId xmlns:a16="http://schemas.microsoft.com/office/drawing/2014/main" id="{FD930A9A-C0DD-4B8F-B286-D07D532A2ED0}"/>
              </a:ext>
            </a:extLst>
          </p:cNvPr>
          <p:cNvSpPr>
            <a:spLocks noGrp="1"/>
          </p:cNvSpPr>
          <p:nvPr>
            <p:ph type="title"/>
          </p:nvPr>
        </p:nvSpPr>
        <p:spPr>
          <a:xfrm>
            <a:off x="6487200" y="411163"/>
            <a:ext cx="5292000" cy="776038"/>
          </a:xfrm>
        </p:spPr>
        <p:txBody>
          <a:bodyPr/>
          <a:lstStyle/>
          <a:p>
            <a:r>
              <a:rPr lang="en-US"/>
              <a:t>Click to edit Master title style</a:t>
            </a:r>
            <a:endParaRPr lang="en-GB" dirty="0"/>
          </a:p>
        </p:txBody>
      </p:sp>
    </p:spTree>
    <p:extLst>
      <p:ext uri="{BB962C8B-B14F-4D97-AF65-F5344CB8AC3E}">
        <p14:creationId xmlns:p14="http://schemas.microsoft.com/office/powerpoint/2010/main" val="332274045"/>
      </p:ext>
    </p:extLst>
  </p:cSld>
  <p:clrMapOvr>
    <a:masterClrMapping/>
  </p:clrMapOvr>
  <p:transition>
    <p:fade/>
  </p:transition>
  <p:extLst>
    <p:ext uri="{DCECCB84-F9BA-43D5-87BE-67443E8EF086}">
      <p15:sldGuideLst xmlns:p15="http://schemas.microsoft.com/office/powerpoint/2012/main"/>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Fact Tiles Slide">
    <p:bg>
      <p:bgPr>
        <a:solidFill>
          <a:schemeClr val="tx2"/>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866F170A-22F9-4C51-A3F5-C624133A83B4}"/>
              </a:ext>
            </a:extLst>
          </p:cNvPr>
          <p:cNvSpPr>
            <a:spLocks noGrp="1"/>
          </p:cNvSpPr>
          <p:nvPr>
            <p:ph type="body" sz="quarter" idx="13" hasCustomPrompt="1"/>
          </p:nvPr>
        </p:nvSpPr>
        <p:spPr>
          <a:xfrm>
            <a:off x="0" y="1"/>
            <a:ext cx="4065882" cy="3428999"/>
          </a:xfrm>
        </p:spPr>
        <p:txBody>
          <a:bodyPr anchor="ctr"/>
          <a:lstStyle>
            <a:lvl1pPr algn="ctr">
              <a:lnSpc>
                <a:spcPct val="100000"/>
              </a:lnSpc>
              <a:spcAft>
                <a:spcPts val="0"/>
              </a:spcAft>
              <a:defRPr sz="9200" b="0">
                <a:solidFill>
                  <a:schemeClr val="accent3"/>
                </a:solidFill>
                <a:latin typeface="+mj-lt"/>
              </a:defRPr>
            </a:lvl1pPr>
            <a:lvl2pPr algn="ctr">
              <a:defRPr sz="2200" b="0">
                <a:solidFill>
                  <a:schemeClr val="accent3"/>
                </a:solidFill>
              </a:defRPr>
            </a:lvl2pPr>
          </a:lstStyle>
          <a:p>
            <a:pPr lvl="0"/>
            <a:r>
              <a:rPr lang="en-US" dirty="0"/>
              <a:t>00</a:t>
            </a:r>
          </a:p>
          <a:p>
            <a:pPr lvl="1"/>
            <a:r>
              <a:rPr lang="en-US" dirty="0"/>
              <a:t>Second level</a:t>
            </a:r>
            <a:endParaRPr lang="en-GB" dirty="0"/>
          </a:p>
        </p:txBody>
      </p:sp>
      <p:sp>
        <p:nvSpPr>
          <p:cNvPr id="8" name="Text Placeholder 6">
            <a:extLst>
              <a:ext uri="{FF2B5EF4-FFF2-40B4-BE49-F238E27FC236}">
                <a16:creationId xmlns:a16="http://schemas.microsoft.com/office/drawing/2014/main" id="{978A6CC2-2B2B-49B7-988E-7B29E92604E5}"/>
              </a:ext>
            </a:extLst>
          </p:cNvPr>
          <p:cNvSpPr>
            <a:spLocks noGrp="1"/>
          </p:cNvSpPr>
          <p:nvPr>
            <p:ph type="body" sz="quarter" idx="14" hasCustomPrompt="1"/>
          </p:nvPr>
        </p:nvSpPr>
        <p:spPr>
          <a:xfrm>
            <a:off x="4063059" y="1"/>
            <a:ext cx="4065882" cy="3428999"/>
          </a:xfrm>
          <a:solidFill>
            <a:schemeClr val="accent3"/>
          </a:solidFill>
        </p:spPr>
        <p:txBody>
          <a:bodyPr anchor="ctr"/>
          <a:lstStyle>
            <a:lvl1pPr algn="ctr">
              <a:lnSpc>
                <a:spcPct val="100000"/>
              </a:lnSpc>
              <a:spcAft>
                <a:spcPts val="0"/>
              </a:spcAft>
              <a:defRPr sz="9200" b="0">
                <a:latin typeface="+mj-lt"/>
              </a:defRPr>
            </a:lvl1pPr>
            <a:lvl2pPr algn="ctr">
              <a:defRPr sz="2200" b="0"/>
            </a:lvl2pPr>
          </a:lstStyle>
          <a:p>
            <a:pPr lvl="0"/>
            <a:r>
              <a:rPr lang="en-US" dirty="0"/>
              <a:t>00</a:t>
            </a:r>
          </a:p>
          <a:p>
            <a:pPr lvl="1"/>
            <a:r>
              <a:rPr lang="en-US" dirty="0"/>
              <a:t>Second level</a:t>
            </a:r>
            <a:endParaRPr lang="en-GB" dirty="0"/>
          </a:p>
        </p:txBody>
      </p:sp>
      <p:sp>
        <p:nvSpPr>
          <p:cNvPr id="9" name="Text Placeholder 6">
            <a:extLst>
              <a:ext uri="{FF2B5EF4-FFF2-40B4-BE49-F238E27FC236}">
                <a16:creationId xmlns:a16="http://schemas.microsoft.com/office/drawing/2014/main" id="{56AC9356-AA84-4F4C-B1FF-5212DBD30167}"/>
              </a:ext>
            </a:extLst>
          </p:cNvPr>
          <p:cNvSpPr>
            <a:spLocks noGrp="1"/>
          </p:cNvSpPr>
          <p:nvPr>
            <p:ph type="body" sz="quarter" idx="15" hasCustomPrompt="1"/>
          </p:nvPr>
        </p:nvSpPr>
        <p:spPr>
          <a:xfrm>
            <a:off x="8126118" y="1"/>
            <a:ext cx="4065882" cy="3428999"/>
          </a:xfrm>
          <a:solidFill>
            <a:schemeClr val="accent1"/>
          </a:solidFill>
        </p:spPr>
        <p:txBody>
          <a:bodyPr anchor="ctr"/>
          <a:lstStyle>
            <a:lvl1pPr algn="ctr">
              <a:lnSpc>
                <a:spcPct val="100000"/>
              </a:lnSpc>
              <a:spcAft>
                <a:spcPts val="0"/>
              </a:spcAft>
              <a:defRPr sz="9200" b="0">
                <a:solidFill>
                  <a:schemeClr val="bg1"/>
                </a:solidFill>
                <a:latin typeface="+mj-lt"/>
              </a:defRPr>
            </a:lvl1pPr>
            <a:lvl2pPr algn="ctr">
              <a:defRPr sz="2200" b="0">
                <a:solidFill>
                  <a:schemeClr val="bg1"/>
                </a:solidFill>
              </a:defRPr>
            </a:lvl2pPr>
          </a:lstStyle>
          <a:p>
            <a:pPr lvl="0"/>
            <a:r>
              <a:rPr lang="en-US" dirty="0"/>
              <a:t>00</a:t>
            </a:r>
          </a:p>
          <a:p>
            <a:pPr lvl="1"/>
            <a:r>
              <a:rPr lang="en-US" dirty="0"/>
              <a:t>Second level</a:t>
            </a:r>
            <a:endParaRPr lang="en-GB" dirty="0"/>
          </a:p>
        </p:txBody>
      </p:sp>
      <p:sp>
        <p:nvSpPr>
          <p:cNvPr id="10" name="Text Placeholder 6">
            <a:extLst>
              <a:ext uri="{FF2B5EF4-FFF2-40B4-BE49-F238E27FC236}">
                <a16:creationId xmlns:a16="http://schemas.microsoft.com/office/drawing/2014/main" id="{F0EEEBEF-05E3-4523-B510-9AB7EDBF07CF}"/>
              </a:ext>
            </a:extLst>
          </p:cNvPr>
          <p:cNvSpPr>
            <a:spLocks noGrp="1"/>
          </p:cNvSpPr>
          <p:nvPr>
            <p:ph type="body" sz="quarter" idx="16" hasCustomPrompt="1"/>
          </p:nvPr>
        </p:nvSpPr>
        <p:spPr>
          <a:xfrm>
            <a:off x="8126118" y="3429079"/>
            <a:ext cx="4065882" cy="3428999"/>
          </a:xfrm>
        </p:spPr>
        <p:txBody>
          <a:bodyPr anchor="ctr"/>
          <a:lstStyle>
            <a:lvl1pPr algn="ctr">
              <a:lnSpc>
                <a:spcPct val="100000"/>
              </a:lnSpc>
              <a:spcAft>
                <a:spcPts val="0"/>
              </a:spcAft>
              <a:defRPr sz="9200" b="0">
                <a:solidFill>
                  <a:schemeClr val="accent3"/>
                </a:solidFill>
                <a:latin typeface="+mj-lt"/>
              </a:defRPr>
            </a:lvl1pPr>
            <a:lvl2pPr algn="ctr">
              <a:defRPr sz="2200" b="0">
                <a:solidFill>
                  <a:schemeClr val="accent3"/>
                </a:solidFill>
              </a:defRPr>
            </a:lvl2pPr>
          </a:lstStyle>
          <a:p>
            <a:pPr lvl="0"/>
            <a:r>
              <a:rPr lang="en-US" dirty="0"/>
              <a:t>00</a:t>
            </a:r>
          </a:p>
          <a:p>
            <a:pPr lvl="1"/>
            <a:r>
              <a:rPr lang="en-US" dirty="0"/>
              <a:t>Second level</a:t>
            </a:r>
            <a:endParaRPr lang="en-GB" dirty="0"/>
          </a:p>
        </p:txBody>
      </p:sp>
      <p:sp>
        <p:nvSpPr>
          <p:cNvPr id="11" name="Text Placeholder 6">
            <a:extLst>
              <a:ext uri="{FF2B5EF4-FFF2-40B4-BE49-F238E27FC236}">
                <a16:creationId xmlns:a16="http://schemas.microsoft.com/office/drawing/2014/main" id="{E8DD8EBF-71D9-4384-B696-89AB7269F144}"/>
              </a:ext>
            </a:extLst>
          </p:cNvPr>
          <p:cNvSpPr>
            <a:spLocks noGrp="1"/>
          </p:cNvSpPr>
          <p:nvPr>
            <p:ph type="body" sz="quarter" idx="17" hasCustomPrompt="1"/>
          </p:nvPr>
        </p:nvSpPr>
        <p:spPr>
          <a:xfrm>
            <a:off x="4063059" y="3429079"/>
            <a:ext cx="4065882" cy="3428999"/>
          </a:xfrm>
          <a:solidFill>
            <a:schemeClr val="bg1"/>
          </a:solidFill>
        </p:spPr>
        <p:txBody>
          <a:bodyPr anchor="ctr"/>
          <a:lstStyle>
            <a:lvl1pPr algn="ctr">
              <a:lnSpc>
                <a:spcPct val="100000"/>
              </a:lnSpc>
              <a:spcAft>
                <a:spcPts val="0"/>
              </a:spcAft>
              <a:defRPr sz="9200" b="0">
                <a:solidFill>
                  <a:schemeClr val="accent5"/>
                </a:solidFill>
                <a:latin typeface="+mj-lt"/>
              </a:defRPr>
            </a:lvl1pPr>
            <a:lvl2pPr algn="ctr">
              <a:defRPr sz="2200" b="0">
                <a:solidFill>
                  <a:schemeClr val="accent5"/>
                </a:solidFill>
              </a:defRPr>
            </a:lvl2pPr>
          </a:lstStyle>
          <a:p>
            <a:pPr lvl="0"/>
            <a:r>
              <a:rPr lang="en-US" dirty="0"/>
              <a:t>00</a:t>
            </a:r>
          </a:p>
          <a:p>
            <a:pPr lvl="1"/>
            <a:r>
              <a:rPr lang="en-US" dirty="0"/>
              <a:t>Second level</a:t>
            </a:r>
            <a:endParaRPr lang="en-GB" dirty="0"/>
          </a:p>
        </p:txBody>
      </p:sp>
      <p:sp>
        <p:nvSpPr>
          <p:cNvPr id="12" name="Text Placeholder 6">
            <a:extLst>
              <a:ext uri="{FF2B5EF4-FFF2-40B4-BE49-F238E27FC236}">
                <a16:creationId xmlns:a16="http://schemas.microsoft.com/office/drawing/2014/main" id="{9BB48325-C2CB-490C-BEC5-9F1DE6155CF1}"/>
              </a:ext>
            </a:extLst>
          </p:cNvPr>
          <p:cNvSpPr>
            <a:spLocks noGrp="1"/>
          </p:cNvSpPr>
          <p:nvPr>
            <p:ph type="body" sz="quarter" idx="18" hasCustomPrompt="1"/>
          </p:nvPr>
        </p:nvSpPr>
        <p:spPr>
          <a:xfrm>
            <a:off x="0" y="3429079"/>
            <a:ext cx="4065882" cy="3428999"/>
          </a:xfrm>
          <a:solidFill>
            <a:schemeClr val="accent1"/>
          </a:solidFill>
        </p:spPr>
        <p:txBody>
          <a:bodyPr anchor="ctr"/>
          <a:lstStyle>
            <a:lvl1pPr algn="ctr">
              <a:lnSpc>
                <a:spcPct val="100000"/>
              </a:lnSpc>
              <a:spcAft>
                <a:spcPts val="0"/>
              </a:spcAft>
              <a:defRPr sz="9200" b="0">
                <a:solidFill>
                  <a:schemeClr val="bg1"/>
                </a:solidFill>
                <a:latin typeface="+mj-lt"/>
              </a:defRPr>
            </a:lvl1pPr>
            <a:lvl2pPr algn="ctr">
              <a:defRPr sz="2200" b="0">
                <a:solidFill>
                  <a:schemeClr val="bg1"/>
                </a:solidFill>
              </a:defRPr>
            </a:lvl2pPr>
          </a:lstStyle>
          <a:p>
            <a:pPr lvl="0"/>
            <a:r>
              <a:rPr lang="en-US" dirty="0"/>
              <a:t>00</a:t>
            </a:r>
          </a:p>
          <a:p>
            <a:pPr lvl="1"/>
            <a:r>
              <a:rPr lang="en-US" dirty="0"/>
              <a:t>Second level</a:t>
            </a:r>
            <a:endParaRPr lang="en-GB" dirty="0"/>
          </a:p>
        </p:txBody>
      </p:sp>
      <p:sp>
        <p:nvSpPr>
          <p:cNvPr id="3" name="Date Placeholder 2">
            <a:extLst>
              <a:ext uri="{FF2B5EF4-FFF2-40B4-BE49-F238E27FC236}">
                <a16:creationId xmlns:a16="http://schemas.microsoft.com/office/drawing/2014/main" id="{40F9A526-7C09-4FE7-AB48-4E3DF8072AB2}"/>
              </a:ext>
            </a:extLst>
          </p:cNvPr>
          <p:cNvSpPr>
            <a:spLocks noGrp="1"/>
          </p:cNvSpPr>
          <p:nvPr>
            <p:ph type="dt" sz="half" idx="10"/>
          </p:nvPr>
        </p:nvSpPr>
        <p:spPr/>
        <p:txBody>
          <a:bodyPr/>
          <a:lstStyle>
            <a:lvl1pPr>
              <a:defRPr>
                <a:solidFill>
                  <a:schemeClr val="bg1"/>
                </a:solidFill>
              </a:defRPr>
            </a:lvl1pPr>
          </a:lstStyle>
          <a:p>
            <a:endParaRPr lang="en-US" dirty="0"/>
          </a:p>
        </p:txBody>
      </p:sp>
      <p:sp>
        <p:nvSpPr>
          <p:cNvPr id="4" name="Footer Placeholder 3">
            <a:extLst>
              <a:ext uri="{FF2B5EF4-FFF2-40B4-BE49-F238E27FC236}">
                <a16:creationId xmlns:a16="http://schemas.microsoft.com/office/drawing/2014/main" id="{C16E0864-1815-47B8-8BBA-B0910E1190F0}"/>
              </a:ext>
            </a:extLst>
          </p:cNvPr>
          <p:cNvSpPr>
            <a:spLocks noGrp="1"/>
          </p:cNvSpPr>
          <p:nvPr>
            <p:ph type="ftr" sz="quarter" idx="11"/>
          </p:nvPr>
        </p:nvSpPr>
        <p:spPr/>
        <p:txBody>
          <a:bodyPr/>
          <a:lstStyle>
            <a:lvl1pPr>
              <a:defRPr>
                <a:solidFill>
                  <a:schemeClr val="bg1"/>
                </a:solidFill>
              </a:defRPr>
            </a:lvl1pPr>
          </a:lstStyle>
          <a:p>
            <a:r>
              <a:rPr lang="en-GB"/>
              <a:t>Document Name</a:t>
            </a:r>
            <a:endParaRPr lang="en-US" dirty="0"/>
          </a:p>
        </p:txBody>
      </p:sp>
      <p:sp>
        <p:nvSpPr>
          <p:cNvPr id="5" name="Slide Number Placeholder 4">
            <a:extLst>
              <a:ext uri="{FF2B5EF4-FFF2-40B4-BE49-F238E27FC236}">
                <a16:creationId xmlns:a16="http://schemas.microsoft.com/office/drawing/2014/main" id="{9DD78EFC-C516-4B8D-8CA7-6B33A2BD773D}"/>
              </a:ext>
            </a:extLst>
          </p:cNvPr>
          <p:cNvSpPr>
            <a:spLocks noGrp="1"/>
          </p:cNvSpPr>
          <p:nvPr>
            <p:ph type="sldNum" sz="quarter" idx="12"/>
          </p:nvPr>
        </p:nvSpPr>
        <p:spPr/>
        <p:txBody>
          <a:bodyPr/>
          <a:lstStyle>
            <a:lvl1pPr>
              <a:defRPr>
                <a:solidFill>
                  <a:schemeClr val="bg1"/>
                </a:solidFill>
              </a:defRPr>
            </a:lvl1pPr>
          </a:lstStyle>
          <a:p>
            <a:fld id="{32B354EE-31EA-4FC2-9496-7B6202183237}" type="slidenum">
              <a:rPr lang="en-US" smtClean="0"/>
              <a:pPr/>
              <a:t>‹#›</a:t>
            </a:fld>
            <a:endParaRPr lang="en-US" dirty="0"/>
          </a:p>
        </p:txBody>
      </p:sp>
    </p:spTree>
    <p:extLst>
      <p:ext uri="{BB962C8B-B14F-4D97-AF65-F5344CB8AC3E}">
        <p14:creationId xmlns:p14="http://schemas.microsoft.com/office/powerpoint/2010/main" val="2045843534"/>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gradFill>
          <a:gsLst>
            <a:gs pos="50000">
              <a:srgbClr val="00E487"/>
            </a:gs>
            <a:gs pos="100000">
              <a:srgbClr val="1ECBD0"/>
            </a:gs>
          </a:gsLst>
          <a:lin ang="18900000" scaled="0"/>
        </a:gra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CFD4E276-C47D-4F97-8D9E-FECD172C9798}"/>
              </a:ext>
            </a:extLst>
          </p:cNvPr>
          <p:cNvGrpSpPr>
            <a:grpSpLocks noChangeAspect="1"/>
          </p:cNvGrpSpPr>
          <p:nvPr userDrawn="1"/>
        </p:nvGrpSpPr>
        <p:grpSpPr bwMode="auto">
          <a:xfrm>
            <a:off x="2835683" y="2634181"/>
            <a:ext cx="6520638" cy="1589645"/>
            <a:chOff x="2071" y="1578"/>
            <a:chExt cx="2587" cy="631"/>
          </a:xfrm>
          <a:solidFill>
            <a:schemeClr val="bg1"/>
          </a:solidFill>
        </p:grpSpPr>
        <p:sp>
          <p:nvSpPr>
            <p:cNvPr id="7" name="Freeform 5">
              <a:extLst>
                <a:ext uri="{FF2B5EF4-FFF2-40B4-BE49-F238E27FC236}">
                  <a16:creationId xmlns:a16="http://schemas.microsoft.com/office/drawing/2014/main" id="{F8587B0E-0CEF-4218-99CF-AE3634274F8F}"/>
                </a:ext>
              </a:extLst>
            </p:cNvPr>
            <p:cNvSpPr>
              <a:spLocks/>
            </p:cNvSpPr>
            <p:nvPr userDrawn="1"/>
          </p:nvSpPr>
          <p:spPr bwMode="auto">
            <a:xfrm>
              <a:off x="2765" y="1728"/>
              <a:ext cx="244" cy="318"/>
            </a:xfrm>
            <a:custGeom>
              <a:avLst/>
              <a:gdLst>
                <a:gd name="T0" fmla="*/ 12 w 129"/>
                <a:gd name="T1" fmla="*/ 0 h 168"/>
                <a:gd name="T2" fmla="*/ 8 w 129"/>
                <a:gd name="T3" fmla="*/ 4 h 168"/>
                <a:gd name="T4" fmla="*/ 8 w 129"/>
                <a:gd name="T5" fmla="*/ 25 h 168"/>
                <a:gd name="T6" fmla="*/ 12 w 129"/>
                <a:gd name="T7" fmla="*/ 29 h 168"/>
                <a:gd name="T8" fmla="*/ 48 w 129"/>
                <a:gd name="T9" fmla="*/ 29 h 168"/>
                <a:gd name="T10" fmla="*/ 48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2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2" y="0"/>
                  </a:moveTo>
                  <a:cubicBezTo>
                    <a:pt x="9" y="0"/>
                    <a:pt x="8" y="1"/>
                    <a:pt x="8" y="4"/>
                  </a:cubicBezTo>
                  <a:cubicBezTo>
                    <a:pt x="8" y="25"/>
                    <a:pt x="8" y="25"/>
                    <a:pt x="8" y="25"/>
                  </a:cubicBezTo>
                  <a:cubicBezTo>
                    <a:pt x="8" y="27"/>
                    <a:pt x="9" y="29"/>
                    <a:pt x="12" y="29"/>
                  </a:cubicBezTo>
                  <a:cubicBezTo>
                    <a:pt x="48" y="29"/>
                    <a:pt x="48" y="29"/>
                    <a:pt x="48" y="29"/>
                  </a:cubicBezTo>
                  <a:cubicBezTo>
                    <a:pt x="48" y="140"/>
                    <a:pt x="48" y="140"/>
                    <a:pt x="48"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8" y="140"/>
                    <a:pt x="125" y="140"/>
                  </a:cubicBezTo>
                  <a:cubicBezTo>
                    <a:pt x="76" y="140"/>
                    <a:pt x="76" y="140"/>
                    <a:pt x="76" y="140"/>
                  </a:cubicBezTo>
                  <a:cubicBezTo>
                    <a:pt x="76" y="4"/>
                    <a:pt x="76" y="4"/>
                    <a:pt x="76" y="4"/>
                  </a:cubicBezTo>
                  <a:cubicBezTo>
                    <a:pt x="76" y="1"/>
                    <a:pt x="75" y="0"/>
                    <a:pt x="72" y="0"/>
                  </a:cubicBezTo>
                  <a:lnTo>
                    <a:pt x="1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342" dirty="0"/>
            </a:p>
          </p:txBody>
        </p:sp>
        <p:sp>
          <p:nvSpPr>
            <p:cNvPr id="8" name="Freeform 6">
              <a:extLst>
                <a:ext uri="{FF2B5EF4-FFF2-40B4-BE49-F238E27FC236}">
                  <a16:creationId xmlns:a16="http://schemas.microsoft.com/office/drawing/2014/main" id="{E526A929-E098-4073-8B92-F18ED8E1D964}"/>
                </a:ext>
              </a:extLst>
            </p:cNvPr>
            <p:cNvSpPr>
              <a:spLocks/>
            </p:cNvSpPr>
            <p:nvPr userDrawn="1"/>
          </p:nvSpPr>
          <p:spPr bwMode="auto">
            <a:xfrm>
              <a:off x="3798" y="1728"/>
              <a:ext cx="244" cy="318"/>
            </a:xfrm>
            <a:custGeom>
              <a:avLst/>
              <a:gdLst>
                <a:gd name="T0" fmla="*/ 11 w 129"/>
                <a:gd name="T1" fmla="*/ 0 h 168"/>
                <a:gd name="T2" fmla="*/ 8 w 129"/>
                <a:gd name="T3" fmla="*/ 4 h 168"/>
                <a:gd name="T4" fmla="*/ 8 w 129"/>
                <a:gd name="T5" fmla="*/ 25 h 168"/>
                <a:gd name="T6" fmla="*/ 11 w 129"/>
                <a:gd name="T7" fmla="*/ 29 h 168"/>
                <a:gd name="T8" fmla="*/ 47 w 129"/>
                <a:gd name="T9" fmla="*/ 29 h 168"/>
                <a:gd name="T10" fmla="*/ 47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1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1" y="0"/>
                  </a:moveTo>
                  <a:cubicBezTo>
                    <a:pt x="9" y="0"/>
                    <a:pt x="8" y="1"/>
                    <a:pt x="8" y="4"/>
                  </a:cubicBezTo>
                  <a:cubicBezTo>
                    <a:pt x="8" y="25"/>
                    <a:pt x="8" y="25"/>
                    <a:pt x="8" y="25"/>
                  </a:cubicBezTo>
                  <a:cubicBezTo>
                    <a:pt x="8" y="27"/>
                    <a:pt x="9" y="29"/>
                    <a:pt x="11" y="29"/>
                  </a:cubicBezTo>
                  <a:cubicBezTo>
                    <a:pt x="47" y="29"/>
                    <a:pt x="47" y="29"/>
                    <a:pt x="47" y="29"/>
                  </a:cubicBezTo>
                  <a:cubicBezTo>
                    <a:pt x="47" y="140"/>
                    <a:pt x="47" y="140"/>
                    <a:pt x="47"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7" y="140"/>
                    <a:pt x="125" y="140"/>
                  </a:cubicBezTo>
                  <a:cubicBezTo>
                    <a:pt x="76" y="140"/>
                    <a:pt x="76" y="140"/>
                    <a:pt x="76" y="140"/>
                  </a:cubicBezTo>
                  <a:cubicBezTo>
                    <a:pt x="76" y="4"/>
                    <a:pt x="76" y="4"/>
                    <a:pt x="76" y="4"/>
                  </a:cubicBezTo>
                  <a:cubicBezTo>
                    <a:pt x="75" y="1"/>
                    <a:pt x="74" y="0"/>
                    <a:pt x="72" y="0"/>
                  </a:cubicBezTo>
                  <a:lnTo>
                    <a:pt x="1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342" dirty="0"/>
            </a:p>
          </p:txBody>
        </p:sp>
        <p:sp>
          <p:nvSpPr>
            <p:cNvPr id="9" name="Freeform 7">
              <a:extLst>
                <a:ext uri="{FF2B5EF4-FFF2-40B4-BE49-F238E27FC236}">
                  <a16:creationId xmlns:a16="http://schemas.microsoft.com/office/drawing/2014/main" id="{EDF465AE-39A5-4B73-8576-41C66C06AD43}"/>
                </a:ext>
              </a:extLst>
            </p:cNvPr>
            <p:cNvSpPr>
              <a:spLocks/>
            </p:cNvSpPr>
            <p:nvPr userDrawn="1"/>
          </p:nvSpPr>
          <p:spPr bwMode="auto">
            <a:xfrm>
              <a:off x="4361" y="1728"/>
              <a:ext cx="297" cy="464"/>
            </a:xfrm>
            <a:custGeom>
              <a:avLst/>
              <a:gdLst>
                <a:gd name="T0" fmla="*/ 132 w 157"/>
                <a:gd name="T1" fmla="*/ 0 h 245"/>
                <a:gd name="T2" fmla="*/ 127 w 157"/>
                <a:gd name="T3" fmla="*/ 3 h 245"/>
                <a:gd name="T4" fmla="*/ 127 w 157"/>
                <a:gd name="T5" fmla="*/ 3 h 245"/>
                <a:gd name="T6" fmla="*/ 79 w 157"/>
                <a:gd name="T7" fmla="*/ 128 h 245"/>
                <a:gd name="T8" fmla="*/ 30 w 157"/>
                <a:gd name="T9" fmla="*/ 4 h 245"/>
                <a:gd name="T10" fmla="*/ 25 w 157"/>
                <a:gd name="T11" fmla="*/ 0 h 245"/>
                <a:gd name="T12" fmla="*/ 4 w 157"/>
                <a:gd name="T13" fmla="*/ 0 h 245"/>
                <a:gd name="T14" fmla="*/ 0 w 157"/>
                <a:gd name="T15" fmla="*/ 3 h 245"/>
                <a:gd name="T16" fmla="*/ 1 w 157"/>
                <a:gd name="T17" fmla="*/ 6 h 245"/>
                <a:gd name="T18" fmla="*/ 1 w 157"/>
                <a:gd name="T19" fmla="*/ 6 h 245"/>
                <a:gd name="T20" fmla="*/ 1 w 157"/>
                <a:gd name="T21" fmla="*/ 6 h 245"/>
                <a:gd name="T22" fmla="*/ 64 w 157"/>
                <a:gd name="T23" fmla="*/ 168 h 245"/>
                <a:gd name="T24" fmla="*/ 59 w 157"/>
                <a:gd name="T25" fmla="*/ 182 h 245"/>
                <a:gd name="T26" fmla="*/ 48 w 157"/>
                <a:gd name="T27" fmla="*/ 205 h 245"/>
                <a:gd name="T28" fmla="*/ 38 w 157"/>
                <a:gd name="T29" fmla="*/ 215 h 245"/>
                <a:gd name="T30" fmla="*/ 30 w 157"/>
                <a:gd name="T31" fmla="*/ 217 h 245"/>
                <a:gd name="T32" fmla="*/ 26 w 157"/>
                <a:gd name="T33" fmla="*/ 216 h 245"/>
                <a:gd name="T34" fmla="*/ 14 w 157"/>
                <a:gd name="T35" fmla="*/ 213 h 245"/>
                <a:gd name="T36" fmla="*/ 7 w 157"/>
                <a:gd name="T37" fmla="*/ 210 h 245"/>
                <a:gd name="T38" fmla="*/ 3 w 157"/>
                <a:gd name="T39" fmla="*/ 215 h 245"/>
                <a:gd name="T40" fmla="*/ 3 w 157"/>
                <a:gd name="T41" fmla="*/ 233 h 245"/>
                <a:gd name="T42" fmla="*/ 3 w 157"/>
                <a:gd name="T43" fmla="*/ 233 h 245"/>
                <a:gd name="T44" fmla="*/ 7 w 157"/>
                <a:gd name="T45" fmla="*/ 240 h 245"/>
                <a:gd name="T46" fmla="*/ 32 w 157"/>
                <a:gd name="T47" fmla="*/ 245 h 245"/>
                <a:gd name="T48" fmla="*/ 54 w 157"/>
                <a:gd name="T49" fmla="*/ 238 h 245"/>
                <a:gd name="T50" fmla="*/ 73 w 157"/>
                <a:gd name="T51" fmla="*/ 220 h 245"/>
                <a:gd name="T52" fmla="*/ 79 w 157"/>
                <a:gd name="T53" fmla="*/ 208 h 245"/>
                <a:gd name="T54" fmla="*/ 156 w 157"/>
                <a:gd name="T55" fmla="*/ 6 h 245"/>
                <a:gd name="T56" fmla="*/ 157 w 157"/>
                <a:gd name="T57" fmla="*/ 3 h 245"/>
                <a:gd name="T58" fmla="*/ 153 w 157"/>
                <a:gd name="T59" fmla="*/ 0 h 245"/>
                <a:gd name="T60" fmla="*/ 132 w 157"/>
                <a:gd name="T6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7" h="245">
                  <a:moveTo>
                    <a:pt x="132" y="0"/>
                  </a:moveTo>
                  <a:cubicBezTo>
                    <a:pt x="129" y="0"/>
                    <a:pt x="128" y="1"/>
                    <a:pt x="127" y="3"/>
                  </a:cubicBezTo>
                  <a:cubicBezTo>
                    <a:pt x="127" y="3"/>
                    <a:pt x="127" y="3"/>
                    <a:pt x="127" y="3"/>
                  </a:cubicBezTo>
                  <a:cubicBezTo>
                    <a:pt x="79" y="128"/>
                    <a:pt x="79" y="128"/>
                    <a:pt x="79" y="128"/>
                  </a:cubicBezTo>
                  <a:cubicBezTo>
                    <a:pt x="30" y="4"/>
                    <a:pt x="30" y="4"/>
                    <a:pt x="30" y="4"/>
                  </a:cubicBezTo>
                  <a:cubicBezTo>
                    <a:pt x="29" y="1"/>
                    <a:pt x="28" y="0"/>
                    <a:pt x="25" y="0"/>
                  </a:cubicBezTo>
                  <a:cubicBezTo>
                    <a:pt x="4" y="0"/>
                    <a:pt x="4" y="0"/>
                    <a:pt x="4" y="0"/>
                  </a:cubicBezTo>
                  <a:cubicBezTo>
                    <a:pt x="2" y="0"/>
                    <a:pt x="0" y="1"/>
                    <a:pt x="0" y="3"/>
                  </a:cubicBezTo>
                  <a:cubicBezTo>
                    <a:pt x="0" y="4"/>
                    <a:pt x="1" y="5"/>
                    <a:pt x="1" y="6"/>
                  </a:cubicBezTo>
                  <a:cubicBezTo>
                    <a:pt x="1" y="6"/>
                    <a:pt x="1" y="6"/>
                    <a:pt x="1" y="6"/>
                  </a:cubicBezTo>
                  <a:cubicBezTo>
                    <a:pt x="1" y="6"/>
                    <a:pt x="1" y="6"/>
                    <a:pt x="1" y="6"/>
                  </a:cubicBezTo>
                  <a:cubicBezTo>
                    <a:pt x="64" y="168"/>
                    <a:pt x="64" y="168"/>
                    <a:pt x="64" y="168"/>
                  </a:cubicBezTo>
                  <a:cubicBezTo>
                    <a:pt x="59" y="182"/>
                    <a:pt x="59" y="182"/>
                    <a:pt x="59" y="182"/>
                  </a:cubicBezTo>
                  <a:cubicBezTo>
                    <a:pt x="57" y="187"/>
                    <a:pt x="53" y="199"/>
                    <a:pt x="48" y="205"/>
                  </a:cubicBezTo>
                  <a:cubicBezTo>
                    <a:pt x="44" y="211"/>
                    <a:pt x="42" y="213"/>
                    <a:pt x="38" y="215"/>
                  </a:cubicBezTo>
                  <a:cubicBezTo>
                    <a:pt x="35" y="216"/>
                    <a:pt x="33" y="217"/>
                    <a:pt x="30" y="217"/>
                  </a:cubicBezTo>
                  <a:cubicBezTo>
                    <a:pt x="28" y="217"/>
                    <a:pt x="27" y="217"/>
                    <a:pt x="26" y="216"/>
                  </a:cubicBezTo>
                  <a:cubicBezTo>
                    <a:pt x="22" y="216"/>
                    <a:pt x="18" y="214"/>
                    <a:pt x="14" y="213"/>
                  </a:cubicBezTo>
                  <a:cubicBezTo>
                    <a:pt x="11" y="212"/>
                    <a:pt x="9" y="210"/>
                    <a:pt x="7" y="210"/>
                  </a:cubicBezTo>
                  <a:cubicBezTo>
                    <a:pt x="5" y="210"/>
                    <a:pt x="3" y="212"/>
                    <a:pt x="3" y="215"/>
                  </a:cubicBezTo>
                  <a:cubicBezTo>
                    <a:pt x="3" y="233"/>
                    <a:pt x="3" y="233"/>
                    <a:pt x="3" y="233"/>
                  </a:cubicBezTo>
                  <a:cubicBezTo>
                    <a:pt x="3" y="233"/>
                    <a:pt x="3" y="233"/>
                    <a:pt x="3" y="233"/>
                  </a:cubicBezTo>
                  <a:cubicBezTo>
                    <a:pt x="3" y="236"/>
                    <a:pt x="4" y="238"/>
                    <a:pt x="7" y="240"/>
                  </a:cubicBezTo>
                  <a:cubicBezTo>
                    <a:pt x="15" y="243"/>
                    <a:pt x="21" y="245"/>
                    <a:pt x="32" y="245"/>
                  </a:cubicBezTo>
                  <a:cubicBezTo>
                    <a:pt x="41" y="244"/>
                    <a:pt x="47" y="242"/>
                    <a:pt x="54" y="238"/>
                  </a:cubicBezTo>
                  <a:cubicBezTo>
                    <a:pt x="61" y="233"/>
                    <a:pt x="67" y="227"/>
                    <a:pt x="73" y="220"/>
                  </a:cubicBezTo>
                  <a:cubicBezTo>
                    <a:pt x="75" y="216"/>
                    <a:pt x="77" y="212"/>
                    <a:pt x="79" y="208"/>
                  </a:cubicBezTo>
                  <a:cubicBezTo>
                    <a:pt x="83" y="200"/>
                    <a:pt x="144" y="40"/>
                    <a:pt x="156" y="6"/>
                  </a:cubicBezTo>
                  <a:cubicBezTo>
                    <a:pt x="157" y="5"/>
                    <a:pt x="157" y="4"/>
                    <a:pt x="157" y="3"/>
                  </a:cubicBezTo>
                  <a:cubicBezTo>
                    <a:pt x="157" y="1"/>
                    <a:pt x="155" y="0"/>
                    <a:pt x="153" y="0"/>
                  </a:cubicBezTo>
                  <a:lnTo>
                    <a:pt x="13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342" dirty="0"/>
            </a:p>
          </p:txBody>
        </p:sp>
        <p:sp>
          <p:nvSpPr>
            <p:cNvPr id="10" name="Freeform 8">
              <a:extLst>
                <a:ext uri="{FF2B5EF4-FFF2-40B4-BE49-F238E27FC236}">
                  <a16:creationId xmlns:a16="http://schemas.microsoft.com/office/drawing/2014/main" id="{FA4DA928-058C-40DF-A9B6-21272F81C671}"/>
                </a:ext>
              </a:extLst>
            </p:cNvPr>
            <p:cNvSpPr>
              <a:spLocks/>
            </p:cNvSpPr>
            <p:nvPr userDrawn="1"/>
          </p:nvSpPr>
          <p:spPr bwMode="auto">
            <a:xfrm>
              <a:off x="3457" y="1726"/>
              <a:ext cx="263" cy="322"/>
            </a:xfrm>
            <a:custGeom>
              <a:avLst/>
              <a:gdLst>
                <a:gd name="T0" fmla="*/ 28 w 139"/>
                <a:gd name="T1" fmla="*/ 21 h 170"/>
                <a:gd name="T2" fmla="*/ 28 w 139"/>
                <a:gd name="T3" fmla="*/ 6 h 170"/>
                <a:gd name="T4" fmla="*/ 25 w 139"/>
                <a:gd name="T5" fmla="*/ 3 h 170"/>
                <a:gd name="T6" fmla="*/ 4 w 139"/>
                <a:gd name="T7" fmla="*/ 3 h 170"/>
                <a:gd name="T8" fmla="*/ 0 w 139"/>
                <a:gd name="T9" fmla="*/ 6 h 170"/>
                <a:gd name="T10" fmla="*/ 0 w 139"/>
                <a:gd name="T11" fmla="*/ 167 h 170"/>
                <a:gd name="T12" fmla="*/ 4 w 139"/>
                <a:gd name="T13" fmla="*/ 170 h 170"/>
                <a:gd name="T14" fmla="*/ 25 w 139"/>
                <a:gd name="T15" fmla="*/ 170 h 170"/>
                <a:gd name="T16" fmla="*/ 28 w 139"/>
                <a:gd name="T17" fmla="*/ 167 h 170"/>
                <a:gd name="T18" fmla="*/ 28 w 139"/>
                <a:gd name="T19" fmla="*/ 68 h 170"/>
                <a:gd name="T20" fmla="*/ 70 w 139"/>
                <a:gd name="T21" fmla="*/ 28 h 170"/>
                <a:gd name="T22" fmla="*/ 111 w 139"/>
                <a:gd name="T23" fmla="*/ 68 h 170"/>
                <a:gd name="T24" fmla="*/ 111 w 139"/>
                <a:gd name="T25" fmla="*/ 167 h 170"/>
                <a:gd name="T26" fmla="*/ 111 w 139"/>
                <a:gd name="T27" fmla="*/ 167 h 170"/>
                <a:gd name="T28" fmla="*/ 114 w 139"/>
                <a:gd name="T29" fmla="*/ 170 h 170"/>
                <a:gd name="T30" fmla="*/ 136 w 139"/>
                <a:gd name="T31" fmla="*/ 170 h 170"/>
                <a:gd name="T32" fmla="*/ 139 w 139"/>
                <a:gd name="T33" fmla="*/ 167 h 170"/>
                <a:gd name="T34" fmla="*/ 139 w 139"/>
                <a:gd name="T35" fmla="*/ 68 h 170"/>
                <a:gd name="T36" fmla="*/ 139 w 139"/>
                <a:gd name="T37" fmla="*/ 68 h 170"/>
                <a:gd name="T38" fmla="*/ 139 w 139"/>
                <a:gd name="T39" fmla="*/ 68 h 170"/>
                <a:gd name="T40" fmla="*/ 120 w 139"/>
                <a:gd name="T41" fmla="*/ 20 h 170"/>
                <a:gd name="T42" fmla="*/ 70 w 139"/>
                <a:gd name="T43" fmla="*/ 0 h 170"/>
                <a:gd name="T44" fmla="*/ 28 w 139"/>
                <a:gd name="T45" fmla="*/ 2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170">
                  <a:moveTo>
                    <a:pt x="28" y="21"/>
                  </a:moveTo>
                  <a:cubicBezTo>
                    <a:pt x="28" y="6"/>
                    <a:pt x="28" y="6"/>
                    <a:pt x="28" y="6"/>
                  </a:cubicBezTo>
                  <a:cubicBezTo>
                    <a:pt x="28" y="4"/>
                    <a:pt x="27" y="3"/>
                    <a:pt x="25" y="3"/>
                  </a:cubicBezTo>
                  <a:cubicBezTo>
                    <a:pt x="4" y="3"/>
                    <a:pt x="4" y="3"/>
                    <a:pt x="4" y="3"/>
                  </a:cubicBezTo>
                  <a:cubicBezTo>
                    <a:pt x="1" y="3"/>
                    <a:pt x="0" y="4"/>
                    <a:pt x="0" y="6"/>
                  </a:cubicBezTo>
                  <a:cubicBezTo>
                    <a:pt x="0" y="167"/>
                    <a:pt x="0" y="167"/>
                    <a:pt x="0" y="167"/>
                  </a:cubicBezTo>
                  <a:cubicBezTo>
                    <a:pt x="0" y="169"/>
                    <a:pt x="1" y="170"/>
                    <a:pt x="4" y="170"/>
                  </a:cubicBezTo>
                  <a:cubicBezTo>
                    <a:pt x="25" y="170"/>
                    <a:pt x="25" y="170"/>
                    <a:pt x="25" y="170"/>
                  </a:cubicBezTo>
                  <a:cubicBezTo>
                    <a:pt x="27" y="170"/>
                    <a:pt x="28" y="169"/>
                    <a:pt x="28" y="167"/>
                  </a:cubicBezTo>
                  <a:cubicBezTo>
                    <a:pt x="28" y="68"/>
                    <a:pt x="28" y="68"/>
                    <a:pt x="28" y="68"/>
                  </a:cubicBezTo>
                  <a:cubicBezTo>
                    <a:pt x="28" y="49"/>
                    <a:pt x="42" y="28"/>
                    <a:pt x="70" y="28"/>
                  </a:cubicBezTo>
                  <a:cubicBezTo>
                    <a:pt x="97" y="28"/>
                    <a:pt x="111" y="49"/>
                    <a:pt x="111" y="68"/>
                  </a:cubicBezTo>
                  <a:cubicBezTo>
                    <a:pt x="111" y="167"/>
                    <a:pt x="111" y="167"/>
                    <a:pt x="111" y="167"/>
                  </a:cubicBezTo>
                  <a:cubicBezTo>
                    <a:pt x="111" y="167"/>
                    <a:pt x="111" y="167"/>
                    <a:pt x="111" y="167"/>
                  </a:cubicBezTo>
                  <a:cubicBezTo>
                    <a:pt x="111" y="169"/>
                    <a:pt x="112" y="170"/>
                    <a:pt x="114" y="170"/>
                  </a:cubicBezTo>
                  <a:cubicBezTo>
                    <a:pt x="136" y="170"/>
                    <a:pt x="136" y="170"/>
                    <a:pt x="136" y="170"/>
                  </a:cubicBezTo>
                  <a:cubicBezTo>
                    <a:pt x="138" y="170"/>
                    <a:pt x="139" y="169"/>
                    <a:pt x="139" y="167"/>
                  </a:cubicBezTo>
                  <a:cubicBezTo>
                    <a:pt x="139" y="68"/>
                    <a:pt x="139" y="68"/>
                    <a:pt x="139" y="68"/>
                  </a:cubicBezTo>
                  <a:cubicBezTo>
                    <a:pt x="139" y="68"/>
                    <a:pt x="139" y="68"/>
                    <a:pt x="139" y="68"/>
                  </a:cubicBezTo>
                  <a:cubicBezTo>
                    <a:pt x="139" y="68"/>
                    <a:pt x="139" y="68"/>
                    <a:pt x="139" y="68"/>
                  </a:cubicBezTo>
                  <a:cubicBezTo>
                    <a:pt x="139" y="51"/>
                    <a:pt x="133" y="35"/>
                    <a:pt x="120" y="20"/>
                  </a:cubicBezTo>
                  <a:cubicBezTo>
                    <a:pt x="109" y="7"/>
                    <a:pt x="88" y="0"/>
                    <a:pt x="70" y="0"/>
                  </a:cubicBezTo>
                  <a:cubicBezTo>
                    <a:pt x="41" y="0"/>
                    <a:pt x="28" y="21"/>
                    <a:pt x="28" y="2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342" dirty="0"/>
            </a:p>
          </p:txBody>
        </p:sp>
        <p:sp>
          <p:nvSpPr>
            <p:cNvPr id="11" name="Freeform 9">
              <a:extLst>
                <a:ext uri="{FF2B5EF4-FFF2-40B4-BE49-F238E27FC236}">
                  <a16:creationId xmlns:a16="http://schemas.microsoft.com/office/drawing/2014/main" id="{BDBE2736-4D16-47F2-8CC1-7353D5B149D2}"/>
                </a:ext>
              </a:extLst>
            </p:cNvPr>
            <p:cNvSpPr>
              <a:spLocks/>
            </p:cNvSpPr>
            <p:nvPr userDrawn="1"/>
          </p:nvSpPr>
          <p:spPr bwMode="auto">
            <a:xfrm>
              <a:off x="2264" y="1724"/>
              <a:ext cx="246" cy="328"/>
            </a:xfrm>
            <a:custGeom>
              <a:avLst/>
              <a:gdLst>
                <a:gd name="T0" fmla="*/ 4 w 130"/>
                <a:gd name="T1" fmla="*/ 48 h 173"/>
                <a:gd name="T2" fmla="*/ 56 w 130"/>
                <a:gd name="T3" fmla="*/ 97 h 173"/>
                <a:gd name="T4" fmla="*/ 57 w 130"/>
                <a:gd name="T5" fmla="*/ 98 h 173"/>
                <a:gd name="T6" fmla="*/ 101 w 130"/>
                <a:gd name="T7" fmla="*/ 124 h 173"/>
                <a:gd name="T8" fmla="*/ 66 w 130"/>
                <a:gd name="T9" fmla="*/ 146 h 173"/>
                <a:gd name="T10" fmla="*/ 30 w 130"/>
                <a:gd name="T11" fmla="*/ 118 h 173"/>
                <a:gd name="T12" fmla="*/ 26 w 130"/>
                <a:gd name="T13" fmla="*/ 114 h 173"/>
                <a:gd name="T14" fmla="*/ 5 w 130"/>
                <a:gd name="T15" fmla="*/ 114 h 173"/>
                <a:gd name="T16" fmla="*/ 0 w 130"/>
                <a:gd name="T17" fmla="*/ 118 h 173"/>
                <a:gd name="T18" fmla="*/ 65 w 130"/>
                <a:gd name="T19" fmla="*/ 173 h 173"/>
                <a:gd name="T20" fmla="*/ 130 w 130"/>
                <a:gd name="T21" fmla="*/ 120 h 173"/>
                <a:gd name="T22" fmla="*/ 72 w 130"/>
                <a:gd name="T23" fmla="*/ 74 h 173"/>
                <a:gd name="T24" fmla="*/ 32 w 130"/>
                <a:gd name="T25" fmla="*/ 48 h 173"/>
                <a:gd name="T26" fmla="*/ 63 w 130"/>
                <a:gd name="T27" fmla="*/ 27 h 173"/>
                <a:gd name="T28" fmla="*/ 97 w 130"/>
                <a:gd name="T29" fmla="*/ 49 h 173"/>
                <a:gd name="T30" fmla="*/ 102 w 130"/>
                <a:gd name="T31" fmla="*/ 53 h 173"/>
                <a:gd name="T32" fmla="*/ 120 w 130"/>
                <a:gd name="T33" fmla="*/ 53 h 173"/>
                <a:gd name="T34" fmla="*/ 125 w 130"/>
                <a:gd name="T35" fmla="*/ 48 h 173"/>
                <a:gd name="T36" fmla="*/ 63 w 130"/>
                <a:gd name="T37" fmla="*/ 0 h 173"/>
                <a:gd name="T38" fmla="*/ 4 w 130"/>
                <a:gd name="T39" fmla="*/ 4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173">
                  <a:moveTo>
                    <a:pt x="4" y="48"/>
                  </a:moveTo>
                  <a:cubicBezTo>
                    <a:pt x="4" y="77"/>
                    <a:pt x="19" y="91"/>
                    <a:pt x="56" y="97"/>
                  </a:cubicBezTo>
                  <a:cubicBezTo>
                    <a:pt x="57" y="98"/>
                    <a:pt x="57" y="98"/>
                    <a:pt x="57" y="98"/>
                  </a:cubicBezTo>
                  <a:cubicBezTo>
                    <a:pt x="83" y="102"/>
                    <a:pt x="101" y="105"/>
                    <a:pt x="101" y="124"/>
                  </a:cubicBezTo>
                  <a:cubicBezTo>
                    <a:pt x="101" y="139"/>
                    <a:pt x="83" y="146"/>
                    <a:pt x="66" y="146"/>
                  </a:cubicBezTo>
                  <a:cubicBezTo>
                    <a:pt x="46" y="146"/>
                    <a:pt x="33" y="136"/>
                    <a:pt x="30" y="118"/>
                  </a:cubicBezTo>
                  <a:cubicBezTo>
                    <a:pt x="30" y="116"/>
                    <a:pt x="29" y="114"/>
                    <a:pt x="26" y="114"/>
                  </a:cubicBezTo>
                  <a:cubicBezTo>
                    <a:pt x="5" y="114"/>
                    <a:pt x="5" y="114"/>
                    <a:pt x="5" y="114"/>
                  </a:cubicBezTo>
                  <a:cubicBezTo>
                    <a:pt x="2" y="114"/>
                    <a:pt x="0" y="116"/>
                    <a:pt x="0" y="118"/>
                  </a:cubicBezTo>
                  <a:cubicBezTo>
                    <a:pt x="0" y="150"/>
                    <a:pt x="27" y="173"/>
                    <a:pt x="65" y="173"/>
                  </a:cubicBezTo>
                  <a:cubicBezTo>
                    <a:pt x="104" y="173"/>
                    <a:pt x="130" y="151"/>
                    <a:pt x="130" y="120"/>
                  </a:cubicBezTo>
                  <a:cubicBezTo>
                    <a:pt x="130" y="86"/>
                    <a:pt x="100" y="79"/>
                    <a:pt x="72" y="74"/>
                  </a:cubicBezTo>
                  <a:cubicBezTo>
                    <a:pt x="37" y="68"/>
                    <a:pt x="32" y="58"/>
                    <a:pt x="32" y="48"/>
                  </a:cubicBezTo>
                  <a:cubicBezTo>
                    <a:pt x="32" y="32"/>
                    <a:pt x="49" y="27"/>
                    <a:pt x="63" y="27"/>
                  </a:cubicBezTo>
                  <a:cubicBezTo>
                    <a:pt x="82" y="27"/>
                    <a:pt x="94" y="34"/>
                    <a:pt x="97" y="49"/>
                  </a:cubicBezTo>
                  <a:cubicBezTo>
                    <a:pt x="98" y="51"/>
                    <a:pt x="98" y="53"/>
                    <a:pt x="102" y="53"/>
                  </a:cubicBezTo>
                  <a:cubicBezTo>
                    <a:pt x="120" y="53"/>
                    <a:pt x="120" y="53"/>
                    <a:pt x="120" y="53"/>
                  </a:cubicBezTo>
                  <a:cubicBezTo>
                    <a:pt x="123" y="53"/>
                    <a:pt x="125" y="51"/>
                    <a:pt x="125" y="48"/>
                  </a:cubicBezTo>
                  <a:cubicBezTo>
                    <a:pt x="125" y="19"/>
                    <a:pt x="100" y="0"/>
                    <a:pt x="63" y="0"/>
                  </a:cubicBezTo>
                  <a:cubicBezTo>
                    <a:pt x="22" y="0"/>
                    <a:pt x="4" y="25"/>
                    <a:pt x="4" y="4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342" dirty="0"/>
            </a:p>
          </p:txBody>
        </p:sp>
        <p:sp>
          <p:nvSpPr>
            <p:cNvPr id="12" name="Freeform 10">
              <a:extLst>
                <a:ext uri="{FF2B5EF4-FFF2-40B4-BE49-F238E27FC236}">
                  <a16:creationId xmlns:a16="http://schemas.microsoft.com/office/drawing/2014/main" id="{C990E525-4DF6-403E-9092-24C5DCE5B33A}"/>
                </a:ext>
              </a:extLst>
            </p:cNvPr>
            <p:cNvSpPr>
              <a:spLocks/>
            </p:cNvSpPr>
            <p:nvPr userDrawn="1"/>
          </p:nvSpPr>
          <p:spPr bwMode="auto">
            <a:xfrm>
              <a:off x="3062" y="1722"/>
              <a:ext cx="312" cy="474"/>
            </a:xfrm>
            <a:custGeom>
              <a:avLst/>
              <a:gdLst>
                <a:gd name="T0" fmla="*/ 67 w 165"/>
                <a:gd name="T1" fmla="*/ 0 h 250"/>
                <a:gd name="T2" fmla="*/ 0 w 165"/>
                <a:gd name="T3" fmla="*/ 86 h 250"/>
                <a:gd name="T4" fmla="*/ 82 w 165"/>
                <a:gd name="T5" fmla="*/ 174 h 250"/>
                <a:gd name="T6" fmla="*/ 137 w 165"/>
                <a:gd name="T7" fmla="*/ 152 h 250"/>
                <a:gd name="T8" fmla="*/ 137 w 165"/>
                <a:gd name="T9" fmla="*/ 173 h 250"/>
                <a:gd name="T10" fmla="*/ 89 w 165"/>
                <a:gd name="T11" fmla="*/ 222 h 250"/>
                <a:gd name="T12" fmla="*/ 48 w 165"/>
                <a:gd name="T13" fmla="*/ 194 h 250"/>
                <a:gd name="T14" fmla="*/ 43 w 165"/>
                <a:gd name="T15" fmla="*/ 190 h 250"/>
                <a:gd name="T16" fmla="*/ 24 w 165"/>
                <a:gd name="T17" fmla="*/ 190 h 250"/>
                <a:gd name="T18" fmla="*/ 19 w 165"/>
                <a:gd name="T19" fmla="*/ 195 h 250"/>
                <a:gd name="T20" fmla="*/ 89 w 165"/>
                <a:gd name="T21" fmla="*/ 250 h 250"/>
                <a:gd name="T22" fmla="*/ 165 w 165"/>
                <a:gd name="T23" fmla="*/ 174 h 250"/>
                <a:gd name="T24" fmla="*/ 165 w 165"/>
                <a:gd name="T25" fmla="*/ 7 h 250"/>
                <a:gd name="T26" fmla="*/ 162 w 165"/>
                <a:gd name="T27" fmla="*/ 4 h 250"/>
                <a:gd name="T28" fmla="*/ 140 w 165"/>
                <a:gd name="T29" fmla="*/ 4 h 250"/>
                <a:gd name="T30" fmla="*/ 137 w 165"/>
                <a:gd name="T31" fmla="*/ 7 h 250"/>
                <a:gd name="T32" fmla="*/ 137 w 165"/>
                <a:gd name="T33" fmla="*/ 21 h 250"/>
                <a:gd name="T34" fmla="*/ 99 w 165"/>
                <a:gd name="T35" fmla="*/ 0 h 250"/>
                <a:gd name="T36" fmla="*/ 96 w 165"/>
                <a:gd name="T37" fmla="*/ 3 h 250"/>
                <a:gd name="T38" fmla="*/ 96 w 165"/>
                <a:gd name="T39" fmla="*/ 28 h 250"/>
                <a:gd name="T40" fmla="*/ 97 w 165"/>
                <a:gd name="T41" fmla="*/ 31 h 250"/>
                <a:gd name="T42" fmla="*/ 138 w 165"/>
                <a:gd name="T43" fmla="*/ 87 h 250"/>
                <a:gd name="T44" fmla="*/ 83 w 165"/>
                <a:gd name="T45" fmla="*/ 146 h 250"/>
                <a:gd name="T46" fmla="*/ 29 w 165"/>
                <a:gd name="T47" fmla="*/ 87 h 250"/>
                <a:gd name="T48" fmla="*/ 68 w 165"/>
                <a:gd name="T49" fmla="*/ 31 h 250"/>
                <a:gd name="T50" fmla="*/ 70 w 165"/>
                <a:gd name="T51" fmla="*/ 29 h 250"/>
                <a:gd name="T52" fmla="*/ 70 w 165"/>
                <a:gd name="T53" fmla="*/ 3 h 250"/>
                <a:gd name="T54" fmla="*/ 67 w 165"/>
                <a:gd name="T55" fmla="*/ 0 h 250"/>
                <a:gd name="T56" fmla="*/ 67 w 165"/>
                <a:gd name="T57"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5" h="250">
                  <a:moveTo>
                    <a:pt x="67" y="0"/>
                  </a:moveTo>
                  <a:cubicBezTo>
                    <a:pt x="29" y="8"/>
                    <a:pt x="0" y="44"/>
                    <a:pt x="0" y="86"/>
                  </a:cubicBezTo>
                  <a:cubicBezTo>
                    <a:pt x="0" y="135"/>
                    <a:pt x="37" y="174"/>
                    <a:pt x="82" y="174"/>
                  </a:cubicBezTo>
                  <a:cubicBezTo>
                    <a:pt x="103" y="174"/>
                    <a:pt x="122" y="166"/>
                    <a:pt x="137" y="152"/>
                  </a:cubicBezTo>
                  <a:cubicBezTo>
                    <a:pt x="137" y="173"/>
                    <a:pt x="137" y="173"/>
                    <a:pt x="137" y="173"/>
                  </a:cubicBezTo>
                  <a:cubicBezTo>
                    <a:pt x="137" y="205"/>
                    <a:pt x="120" y="222"/>
                    <a:pt x="89" y="222"/>
                  </a:cubicBezTo>
                  <a:cubicBezTo>
                    <a:pt x="66" y="222"/>
                    <a:pt x="52" y="213"/>
                    <a:pt x="48" y="194"/>
                  </a:cubicBezTo>
                  <a:cubicBezTo>
                    <a:pt x="47" y="192"/>
                    <a:pt x="46" y="190"/>
                    <a:pt x="43" y="190"/>
                  </a:cubicBezTo>
                  <a:cubicBezTo>
                    <a:pt x="24" y="190"/>
                    <a:pt x="24" y="190"/>
                    <a:pt x="24" y="190"/>
                  </a:cubicBezTo>
                  <a:cubicBezTo>
                    <a:pt x="21" y="190"/>
                    <a:pt x="19" y="192"/>
                    <a:pt x="19" y="195"/>
                  </a:cubicBezTo>
                  <a:cubicBezTo>
                    <a:pt x="22" y="228"/>
                    <a:pt x="51" y="250"/>
                    <a:pt x="89" y="250"/>
                  </a:cubicBezTo>
                  <a:cubicBezTo>
                    <a:pt x="135" y="250"/>
                    <a:pt x="165" y="219"/>
                    <a:pt x="165" y="174"/>
                  </a:cubicBezTo>
                  <a:cubicBezTo>
                    <a:pt x="165" y="7"/>
                    <a:pt x="165" y="7"/>
                    <a:pt x="165" y="7"/>
                  </a:cubicBezTo>
                  <a:cubicBezTo>
                    <a:pt x="165" y="5"/>
                    <a:pt x="164" y="4"/>
                    <a:pt x="162" y="4"/>
                  </a:cubicBezTo>
                  <a:cubicBezTo>
                    <a:pt x="140" y="4"/>
                    <a:pt x="140" y="4"/>
                    <a:pt x="140" y="4"/>
                  </a:cubicBezTo>
                  <a:cubicBezTo>
                    <a:pt x="138" y="4"/>
                    <a:pt x="137" y="5"/>
                    <a:pt x="137" y="7"/>
                  </a:cubicBezTo>
                  <a:cubicBezTo>
                    <a:pt x="137" y="21"/>
                    <a:pt x="137" y="21"/>
                    <a:pt x="137" y="21"/>
                  </a:cubicBezTo>
                  <a:cubicBezTo>
                    <a:pt x="126" y="11"/>
                    <a:pt x="113" y="4"/>
                    <a:pt x="99" y="0"/>
                  </a:cubicBezTo>
                  <a:cubicBezTo>
                    <a:pt x="97" y="0"/>
                    <a:pt x="96" y="1"/>
                    <a:pt x="96" y="3"/>
                  </a:cubicBezTo>
                  <a:cubicBezTo>
                    <a:pt x="96" y="28"/>
                    <a:pt x="96" y="28"/>
                    <a:pt x="96" y="28"/>
                  </a:cubicBezTo>
                  <a:cubicBezTo>
                    <a:pt x="96" y="29"/>
                    <a:pt x="96" y="30"/>
                    <a:pt x="97" y="31"/>
                  </a:cubicBezTo>
                  <a:cubicBezTo>
                    <a:pt x="121" y="37"/>
                    <a:pt x="138" y="60"/>
                    <a:pt x="138" y="87"/>
                  </a:cubicBezTo>
                  <a:cubicBezTo>
                    <a:pt x="138" y="119"/>
                    <a:pt x="114" y="146"/>
                    <a:pt x="83" y="146"/>
                  </a:cubicBezTo>
                  <a:cubicBezTo>
                    <a:pt x="53" y="146"/>
                    <a:pt x="29" y="119"/>
                    <a:pt x="29" y="87"/>
                  </a:cubicBezTo>
                  <a:cubicBezTo>
                    <a:pt x="29" y="61"/>
                    <a:pt x="45" y="38"/>
                    <a:pt x="68" y="31"/>
                  </a:cubicBezTo>
                  <a:cubicBezTo>
                    <a:pt x="69" y="31"/>
                    <a:pt x="70" y="30"/>
                    <a:pt x="70" y="29"/>
                  </a:cubicBezTo>
                  <a:cubicBezTo>
                    <a:pt x="70" y="3"/>
                    <a:pt x="70" y="3"/>
                    <a:pt x="70" y="3"/>
                  </a:cubicBezTo>
                  <a:cubicBezTo>
                    <a:pt x="70" y="1"/>
                    <a:pt x="69" y="0"/>
                    <a:pt x="67" y="0"/>
                  </a:cubicBezTo>
                  <a:cubicBezTo>
                    <a:pt x="67" y="0"/>
                    <a:pt x="67" y="0"/>
                    <a:pt x="67"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342" dirty="0"/>
            </a:p>
          </p:txBody>
        </p:sp>
        <p:sp>
          <p:nvSpPr>
            <p:cNvPr id="13" name="Oval 12">
              <a:extLst>
                <a:ext uri="{FF2B5EF4-FFF2-40B4-BE49-F238E27FC236}">
                  <a16:creationId xmlns:a16="http://schemas.microsoft.com/office/drawing/2014/main" id="{1114B85E-E1BE-464E-8E28-ACA4300CA4C0}"/>
                </a:ext>
              </a:extLst>
            </p:cNvPr>
            <p:cNvSpPr>
              <a:spLocks noChangeArrowheads="1"/>
            </p:cNvSpPr>
            <p:nvPr userDrawn="1"/>
          </p:nvSpPr>
          <p:spPr bwMode="auto">
            <a:xfrm>
              <a:off x="2843" y="1589"/>
              <a:ext cx="87" cy="8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2342" dirty="0"/>
            </a:p>
          </p:txBody>
        </p:sp>
        <p:sp>
          <p:nvSpPr>
            <p:cNvPr id="14" name="Oval 13">
              <a:extLst>
                <a:ext uri="{FF2B5EF4-FFF2-40B4-BE49-F238E27FC236}">
                  <a16:creationId xmlns:a16="http://schemas.microsoft.com/office/drawing/2014/main" id="{5BA160C3-B4E4-4003-BFF3-28A6B0C1B0F9}"/>
                </a:ext>
              </a:extLst>
            </p:cNvPr>
            <p:cNvSpPr>
              <a:spLocks noChangeArrowheads="1"/>
            </p:cNvSpPr>
            <p:nvPr userDrawn="1"/>
          </p:nvSpPr>
          <p:spPr bwMode="auto">
            <a:xfrm>
              <a:off x="3873" y="1589"/>
              <a:ext cx="87" cy="8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2342" dirty="0"/>
            </a:p>
          </p:txBody>
        </p:sp>
        <p:sp>
          <p:nvSpPr>
            <p:cNvPr id="15" name="Freeform 13">
              <a:extLst>
                <a:ext uri="{FF2B5EF4-FFF2-40B4-BE49-F238E27FC236}">
                  <a16:creationId xmlns:a16="http://schemas.microsoft.com/office/drawing/2014/main" id="{0F26E6D7-1351-4C95-A3E8-FF86354A3C85}"/>
                </a:ext>
              </a:extLst>
            </p:cNvPr>
            <p:cNvSpPr>
              <a:spLocks/>
            </p:cNvSpPr>
            <p:nvPr userDrawn="1"/>
          </p:nvSpPr>
          <p:spPr bwMode="auto">
            <a:xfrm>
              <a:off x="4062" y="1584"/>
              <a:ext cx="242" cy="462"/>
            </a:xfrm>
            <a:custGeom>
              <a:avLst/>
              <a:gdLst>
                <a:gd name="T0" fmla="*/ 39 w 128"/>
                <a:gd name="T1" fmla="*/ 55 h 244"/>
                <a:gd name="T2" fmla="*/ 39 w 128"/>
                <a:gd name="T3" fmla="*/ 76 h 244"/>
                <a:gd name="T4" fmla="*/ 4 w 128"/>
                <a:gd name="T5" fmla="*/ 76 h 244"/>
                <a:gd name="T6" fmla="*/ 0 w 128"/>
                <a:gd name="T7" fmla="*/ 81 h 244"/>
                <a:gd name="T8" fmla="*/ 0 w 128"/>
                <a:gd name="T9" fmla="*/ 99 h 244"/>
                <a:gd name="T10" fmla="*/ 4 w 128"/>
                <a:gd name="T11" fmla="*/ 103 h 244"/>
                <a:gd name="T12" fmla="*/ 39 w 128"/>
                <a:gd name="T13" fmla="*/ 103 h 244"/>
                <a:gd name="T14" fmla="*/ 39 w 128"/>
                <a:gd name="T15" fmla="*/ 239 h 244"/>
                <a:gd name="T16" fmla="*/ 44 w 128"/>
                <a:gd name="T17" fmla="*/ 244 h 244"/>
                <a:gd name="T18" fmla="*/ 62 w 128"/>
                <a:gd name="T19" fmla="*/ 244 h 244"/>
                <a:gd name="T20" fmla="*/ 67 w 128"/>
                <a:gd name="T21" fmla="*/ 239 h 244"/>
                <a:gd name="T22" fmla="*/ 67 w 128"/>
                <a:gd name="T23" fmla="*/ 103 h 244"/>
                <a:gd name="T24" fmla="*/ 120 w 128"/>
                <a:gd name="T25" fmla="*/ 103 h 244"/>
                <a:gd name="T26" fmla="*/ 125 w 128"/>
                <a:gd name="T27" fmla="*/ 99 h 244"/>
                <a:gd name="T28" fmla="*/ 125 w 128"/>
                <a:gd name="T29" fmla="*/ 81 h 244"/>
                <a:gd name="T30" fmla="*/ 120 w 128"/>
                <a:gd name="T31" fmla="*/ 76 h 244"/>
                <a:gd name="T32" fmla="*/ 67 w 128"/>
                <a:gd name="T33" fmla="*/ 76 h 244"/>
                <a:gd name="T34" fmla="*/ 67 w 128"/>
                <a:gd name="T35" fmla="*/ 55 h 244"/>
                <a:gd name="T36" fmla="*/ 91 w 128"/>
                <a:gd name="T37" fmla="*/ 27 h 244"/>
                <a:gd name="T38" fmla="*/ 122 w 128"/>
                <a:gd name="T39" fmla="*/ 37 h 244"/>
                <a:gd name="T40" fmla="*/ 125 w 128"/>
                <a:gd name="T41" fmla="*/ 38 h 244"/>
                <a:gd name="T42" fmla="*/ 128 w 128"/>
                <a:gd name="T43" fmla="*/ 33 h 244"/>
                <a:gd name="T44" fmla="*/ 128 w 128"/>
                <a:gd name="T45" fmla="*/ 16 h 244"/>
                <a:gd name="T46" fmla="*/ 125 w 128"/>
                <a:gd name="T47" fmla="*/ 9 h 244"/>
                <a:gd name="T48" fmla="*/ 89 w 128"/>
                <a:gd name="T49" fmla="*/ 0 h 244"/>
                <a:gd name="T50" fmla="*/ 39 w 128"/>
                <a:gd name="T51" fmla="*/ 5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244">
                  <a:moveTo>
                    <a:pt x="39" y="55"/>
                  </a:moveTo>
                  <a:cubicBezTo>
                    <a:pt x="39" y="76"/>
                    <a:pt x="39" y="76"/>
                    <a:pt x="39" y="76"/>
                  </a:cubicBezTo>
                  <a:cubicBezTo>
                    <a:pt x="4" y="76"/>
                    <a:pt x="4" y="76"/>
                    <a:pt x="4" y="76"/>
                  </a:cubicBezTo>
                  <a:cubicBezTo>
                    <a:pt x="1" y="76"/>
                    <a:pt x="0" y="78"/>
                    <a:pt x="0" y="81"/>
                  </a:cubicBezTo>
                  <a:cubicBezTo>
                    <a:pt x="0" y="99"/>
                    <a:pt x="0" y="99"/>
                    <a:pt x="0" y="99"/>
                  </a:cubicBezTo>
                  <a:cubicBezTo>
                    <a:pt x="0" y="102"/>
                    <a:pt x="1" y="103"/>
                    <a:pt x="4" y="103"/>
                  </a:cubicBezTo>
                  <a:cubicBezTo>
                    <a:pt x="39" y="103"/>
                    <a:pt x="39" y="103"/>
                    <a:pt x="39" y="103"/>
                  </a:cubicBezTo>
                  <a:cubicBezTo>
                    <a:pt x="39" y="239"/>
                    <a:pt x="39" y="239"/>
                    <a:pt x="39" y="239"/>
                  </a:cubicBezTo>
                  <a:cubicBezTo>
                    <a:pt x="39" y="242"/>
                    <a:pt x="41" y="244"/>
                    <a:pt x="44" y="244"/>
                  </a:cubicBezTo>
                  <a:cubicBezTo>
                    <a:pt x="62" y="244"/>
                    <a:pt x="62" y="244"/>
                    <a:pt x="62" y="244"/>
                  </a:cubicBezTo>
                  <a:cubicBezTo>
                    <a:pt x="65" y="244"/>
                    <a:pt x="67" y="242"/>
                    <a:pt x="67" y="239"/>
                  </a:cubicBezTo>
                  <a:cubicBezTo>
                    <a:pt x="67" y="103"/>
                    <a:pt x="67" y="103"/>
                    <a:pt x="67" y="103"/>
                  </a:cubicBezTo>
                  <a:cubicBezTo>
                    <a:pt x="120" y="103"/>
                    <a:pt x="120" y="103"/>
                    <a:pt x="120" y="103"/>
                  </a:cubicBezTo>
                  <a:cubicBezTo>
                    <a:pt x="123" y="103"/>
                    <a:pt x="125" y="102"/>
                    <a:pt x="125" y="99"/>
                  </a:cubicBezTo>
                  <a:cubicBezTo>
                    <a:pt x="125" y="81"/>
                    <a:pt x="125" y="81"/>
                    <a:pt x="125" y="81"/>
                  </a:cubicBezTo>
                  <a:cubicBezTo>
                    <a:pt x="125" y="78"/>
                    <a:pt x="123" y="76"/>
                    <a:pt x="120" y="76"/>
                  </a:cubicBezTo>
                  <a:cubicBezTo>
                    <a:pt x="67" y="76"/>
                    <a:pt x="67" y="76"/>
                    <a:pt x="67" y="76"/>
                  </a:cubicBezTo>
                  <a:cubicBezTo>
                    <a:pt x="67" y="55"/>
                    <a:pt x="67" y="55"/>
                    <a:pt x="67" y="55"/>
                  </a:cubicBezTo>
                  <a:cubicBezTo>
                    <a:pt x="67" y="38"/>
                    <a:pt x="76" y="27"/>
                    <a:pt x="91" y="27"/>
                  </a:cubicBezTo>
                  <a:cubicBezTo>
                    <a:pt x="102" y="27"/>
                    <a:pt x="110" y="30"/>
                    <a:pt x="122" y="37"/>
                  </a:cubicBezTo>
                  <a:cubicBezTo>
                    <a:pt x="123" y="38"/>
                    <a:pt x="124" y="38"/>
                    <a:pt x="125" y="38"/>
                  </a:cubicBezTo>
                  <a:cubicBezTo>
                    <a:pt x="127" y="38"/>
                    <a:pt x="128" y="36"/>
                    <a:pt x="128" y="33"/>
                  </a:cubicBezTo>
                  <a:cubicBezTo>
                    <a:pt x="128" y="16"/>
                    <a:pt x="128" y="16"/>
                    <a:pt x="128" y="16"/>
                  </a:cubicBezTo>
                  <a:cubicBezTo>
                    <a:pt x="128" y="13"/>
                    <a:pt x="128" y="11"/>
                    <a:pt x="125" y="9"/>
                  </a:cubicBezTo>
                  <a:cubicBezTo>
                    <a:pt x="114" y="3"/>
                    <a:pt x="103" y="0"/>
                    <a:pt x="89" y="0"/>
                  </a:cubicBezTo>
                  <a:cubicBezTo>
                    <a:pt x="54" y="0"/>
                    <a:pt x="39" y="29"/>
                    <a:pt x="39" y="5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342" dirty="0"/>
            </a:p>
          </p:txBody>
        </p:sp>
        <p:sp>
          <p:nvSpPr>
            <p:cNvPr id="16" name="Freeform 14">
              <a:extLst>
                <a:ext uri="{FF2B5EF4-FFF2-40B4-BE49-F238E27FC236}">
                  <a16:creationId xmlns:a16="http://schemas.microsoft.com/office/drawing/2014/main" id="{DA6E6734-7A5F-4A76-946D-520C7807BB30}"/>
                </a:ext>
              </a:extLst>
            </p:cNvPr>
            <p:cNvSpPr>
              <a:spLocks/>
            </p:cNvSpPr>
            <p:nvPr userDrawn="1"/>
          </p:nvSpPr>
          <p:spPr bwMode="auto">
            <a:xfrm>
              <a:off x="2071" y="1578"/>
              <a:ext cx="632" cy="631"/>
            </a:xfrm>
            <a:custGeom>
              <a:avLst/>
              <a:gdLst>
                <a:gd name="T0" fmla="*/ 181 w 334"/>
                <a:gd name="T1" fmla="*/ 1 h 333"/>
                <a:gd name="T2" fmla="*/ 180 w 334"/>
                <a:gd name="T3" fmla="*/ 4 h 333"/>
                <a:gd name="T4" fmla="*/ 180 w 334"/>
                <a:gd name="T5" fmla="*/ 26 h 333"/>
                <a:gd name="T6" fmla="*/ 180 w 334"/>
                <a:gd name="T7" fmla="*/ 26 h 333"/>
                <a:gd name="T8" fmla="*/ 182 w 334"/>
                <a:gd name="T9" fmla="*/ 28 h 333"/>
                <a:gd name="T10" fmla="*/ 306 w 334"/>
                <a:gd name="T11" fmla="*/ 166 h 333"/>
                <a:gd name="T12" fmla="*/ 167 w 334"/>
                <a:gd name="T13" fmla="*/ 305 h 333"/>
                <a:gd name="T14" fmla="*/ 28 w 334"/>
                <a:gd name="T15" fmla="*/ 166 h 333"/>
                <a:gd name="T16" fmla="*/ 152 w 334"/>
                <a:gd name="T17" fmla="*/ 28 h 333"/>
                <a:gd name="T18" fmla="*/ 154 w 334"/>
                <a:gd name="T19" fmla="*/ 26 h 333"/>
                <a:gd name="T20" fmla="*/ 154 w 334"/>
                <a:gd name="T21" fmla="*/ 26 h 333"/>
                <a:gd name="T22" fmla="*/ 154 w 334"/>
                <a:gd name="T23" fmla="*/ 4 h 333"/>
                <a:gd name="T24" fmla="*/ 153 w 334"/>
                <a:gd name="T25" fmla="*/ 1 h 333"/>
                <a:gd name="T26" fmla="*/ 150 w 334"/>
                <a:gd name="T27" fmla="*/ 0 h 333"/>
                <a:gd name="T28" fmla="*/ 149 w 334"/>
                <a:gd name="T29" fmla="*/ 0 h 333"/>
                <a:gd name="T30" fmla="*/ 149 w 334"/>
                <a:gd name="T31" fmla="*/ 0 h 333"/>
                <a:gd name="T32" fmla="*/ 0 w 334"/>
                <a:gd name="T33" fmla="*/ 166 h 333"/>
                <a:gd name="T34" fmla="*/ 167 w 334"/>
                <a:gd name="T35" fmla="*/ 333 h 333"/>
                <a:gd name="T36" fmla="*/ 334 w 334"/>
                <a:gd name="T37" fmla="*/ 166 h 333"/>
                <a:gd name="T38" fmla="*/ 185 w 334"/>
                <a:gd name="T39" fmla="*/ 0 h 333"/>
                <a:gd name="T40" fmla="*/ 185 w 334"/>
                <a:gd name="T41" fmla="*/ 0 h 333"/>
                <a:gd name="T42" fmla="*/ 184 w 334"/>
                <a:gd name="T43" fmla="*/ 0 h 333"/>
                <a:gd name="T44" fmla="*/ 181 w 334"/>
                <a:gd name="T45" fmla="*/ 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4" h="333">
                  <a:moveTo>
                    <a:pt x="181" y="1"/>
                  </a:moveTo>
                  <a:cubicBezTo>
                    <a:pt x="180" y="2"/>
                    <a:pt x="180" y="3"/>
                    <a:pt x="180" y="4"/>
                  </a:cubicBezTo>
                  <a:cubicBezTo>
                    <a:pt x="180" y="26"/>
                    <a:pt x="180" y="26"/>
                    <a:pt x="180" y="26"/>
                  </a:cubicBezTo>
                  <a:cubicBezTo>
                    <a:pt x="180" y="26"/>
                    <a:pt x="180" y="26"/>
                    <a:pt x="180" y="26"/>
                  </a:cubicBezTo>
                  <a:cubicBezTo>
                    <a:pt x="180" y="27"/>
                    <a:pt x="181" y="28"/>
                    <a:pt x="182" y="28"/>
                  </a:cubicBezTo>
                  <a:cubicBezTo>
                    <a:pt x="251" y="35"/>
                    <a:pt x="306" y="94"/>
                    <a:pt x="306" y="166"/>
                  </a:cubicBezTo>
                  <a:cubicBezTo>
                    <a:pt x="306" y="243"/>
                    <a:pt x="244" y="305"/>
                    <a:pt x="167" y="305"/>
                  </a:cubicBezTo>
                  <a:cubicBezTo>
                    <a:pt x="90" y="305"/>
                    <a:pt x="28" y="243"/>
                    <a:pt x="28" y="166"/>
                  </a:cubicBezTo>
                  <a:cubicBezTo>
                    <a:pt x="28" y="94"/>
                    <a:pt x="82" y="35"/>
                    <a:pt x="152" y="28"/>
                  </a:cubicBezTo>
                  <a:cubicBezTo>
                    <a:pt x="153" y="28"/>
                    <a:pt x="154" y="27"/>
                    <a:pt x="154" y="26"/>
                  </a:cubicBezTo>
                  <a:cubicBezTo>
                    <a:pt x="154" y="26"/>
                    <a:pt x="154" y="26"/>
                    <a:pt x="154" y="26"/>
                  </a:cubicBezTo>
                  <a:cubicBezTo>
                    <a:pt x="154" y="4"/>
                    <a:pt x="154" y="4"/>
                    <a:pt x="154" y="4"/>
                  </a:cubicBezTo>
                  <a:cubicBezTo>
                    <a:pt x="154" y="3"/>
                    <a:pt x="154" y="2"/>
                    <a:pt x="153" y="1"/>
                  </a:cubicBezTo>
                  <a:cubicBezTo>
                    <a:pt x="152" y="0"/>
                    <a:pt x="151" y="0"/>
                    <a:pt x="150" y="0"/>
                  </a:cubicBezTo>
                  <a:cubicBezTo>
                    <a:pt x="149" y="0"/>
                    <a:pt x="149" y="0"/>
                    <a:pt x="149" y="0"/>
                  </a:cubicBezTo>
                  <a:cubicBezTo>
                    <a:pt x="149" y="0"/>
                    <a:pt x="149" y="0"/>
                    <a:pt x="149" y="0"/>
                  </a:cubicBezTo>
                  <a:cubicBezTo>
                    <a:pt x="65" y="9"/>
                    <a:pt x="0" y="80"/>
                    <a:pt x="0" y="166"/>
                  </a:cubicBezTo>
                  <a:cubicBezTo>
                    <a:pt x="0" y="258"/>
                    <a:pt x="75" y="333"/>
                    <a:pt x="167" y="333"/>
                  </a:cubicBezTo>
                  <a:cubicBezTo>
                    <a:pt x="259" y="333"/>
                    <a:pt x="334" y="258"/>
                    <a:pt x="334" y="166"/>
                  </a:cubicBezTo>
                  <a:cubicBezTo>
                    <a:pt x="334" y="80"/>
                    <a:pt x="269" y="9"/>
                    <a:pt x="185" y="0"/>
                  </a:cubicBezTo>
                  <a:cubicBezTo>
                    <a:pt x="185" y="0"/>
                    <a:pt x="185" y="0"/>
                    <a:pt x="185" y="0"/>
                  </a:cubicBezTo>
                  <a:cubicBezTo>
                    <a:pt x="185" y="0"/>
                    <a:pt x="184" y="0"/>
                    <a:pt x="184" y="0"/>
                  </a:cubicBezTo>
                  <a:cubicBezTo>
                    <a:pt x="183" y="0"/>
                    <a:pt x="182" y="0"/>
                    <a:pt x="181" y="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342" dirty="0"/>
            </a:p>
          </p:txBody>
        </p:sp>
      </p:grpSp>
    </p:spTree>
    <p:extLst>
      <p:ext uri="{BB962C8B-B14F-4D97-AF65-F5344CB8AC3E}">
        <p14:creationId xmlns:p14="http://schemas.microsoft.com/office/powerpoint/2010/main" val="2209091914"/>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r>
              <a:rPr lang="en-GB"/>
              <a:t>Document Name</a:t>
            </a:r>
            <a:endParaRPr lang="en-US" dirty="0"/>
          </a:p>
        </p:txBody>
      </p:sp>
      <p:sp>
        <p:nvSpPr>
          <p:cNvPr id="5" name="Slide Number Placeholder 4"/>
          <p:cNvSpPr>
            <a:spLocks noGrp="1"/>
          </p:cNvSpPr>
          <p:nvPr>
            <p:ph type="sldNum" sz="quarter" idx="12"/>
          </p:nvPr>
        </p:nvSpPr>
        <p:spPr/>
        <p:txBody>
          <a:bodyPr/>
          <a:lstStyle/>
          <a:p>
            <a:fld id="{32B354EE-31EA-4FC2-9496-7B6202183237}" type="slidenum">
              <a:rPr lang="en-US" smtClean="0"/>
              <a:t>‹#›</a:t>
            </a:fld>
            <a:endParaRPr lang="en-US" dirty="0"/>
          </a:p>
        </p:txBody>
      </p:sp>
    </p:spTree>
    <p:extLst>
      <p:ext uri="{BB962C8B-B14F-4D97-AF65-F5344CB8AC3E}">
        <p14:creationId xmlns:p14="http://schemas.microsoft.com/office/powerpoint/2010/main" val="3231123425"/>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r>
              <a:rPr lang="en-GB"/>
              <a:t>Document Name</a:t>
            </a:r>
            <a:endParaRPr lang="en-US" dirty="0"/>
          </a:p>
        </p:txBody>
      </p:sp>
      <p:sp>
        <p:nvSpPr>
          <p:cNvPr id="4" name="Slide Number Placeholder 3"/>
          <p:cNvSpPr>
            <a:spLocks noGrp="1"/>
          </p:cNvSpPr>
          <p:nvPr>
            <p:ph type="sldNum" sz="quarter" idx="12"/>
          </p:nvPr>
        </p:nvSpPr>
        <p:spPr/>
        <p:txBody>
          <a:bodyPr/>
          <a:lstStyle/>
          <a:p>
            <a:fld id="{32B354EE-31EA-4FC2-9496-7B6202183237}" type="slidenum">
              <a:rPr lang="en-US" smtClean="0"/>
              <a:t>‹#›</a:t>
            </a:fld>
            <a:endParaRPr lang="en-US" dirty="0"/>
          </a:p>
        </p:txBody>
      </p:sp>
    </p:spTree>
    <p:extLst>
      <p:ext uri="{BB962C8B-B14F-4D97-AF65-F5344CB8AC3E}">
        <p14:creationId xmlns:p14="http://schemas.microsoft.com/office/powerpoint/2010/main" val="3804284226"/>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1_Title and Content Dark">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10878" y="512498"/>
            <a:ext cx="11368018" cy="776038"/>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a:xfrm>
            <a:off x="410880" y="1521182"/>
            <a:ext cx="6178854" cy="4517348"/>
          </a:xfrm>
        </p:spPr>
        <p:txBody>
          <a:bodyPr/>
          <a:lstStyle>
            <a:lvl1pPr>
              <a:defRPr sz="2000">
                <a:solidFill>
                  <a:schemeClr val="bg1"/>
                </a:solidFill>
              </a:defRPr>
            </a:lvl1pPr>
            <a:lvl2pPr>
              <a:defRPr sz="2000">
                <a:solidFill>
                  <a:schemeClr val="bg1"/>
                </a:solidFill>
              </a:defRPr>
            </a:lvl2pPr>
            <a:lvl3pPr>
              <a:defRPr sz="2000">
                <a:solidFill>
                  <a:schemeClr val="accent3"/>
                </a:solidFill>
              </a:defRPr>
            </a:lvl3pPr>
            <a:lvl4pPr>
              <a:defRPr sz="2000">
                <a:solidFill>
                  <a:schemeClr val="bg1"/>
                </a:solidFill>
              </a:defRPr>
            </a:lvl4pPr>
            <a:lvl5pPr>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32B354EE-31EA-4FC2-9496-7B6202183237}" type="slidenum">
              <a:rPr lang="en-US"/>
              <a:pPr/>
              <a:t>‹#›</a:t>
            </a:fld>
            <a:endParaRPr lang="en-US"/>
          </a:p>
        </p:txBody>
      </p:sp>
    </p:spTree>
    <p:extLst>
      <p:ext uri="{BB962C8B-B14F-4D97-AF65-F5344CB8AC3E}">
        <p14:creationId xmlns:p14="http://schemas.microsoft.com/office/powerpoint/2010/main" val="608158806"/>
      </p:ext>
    </p:extLst>
  </p:cSld>
  <p:clrMapOvr>
    <a:masterClrMapping/>
  </p:clrMapOvr>
  <p:transition>
    <p:fade/>
  </p:transition>
  <p:extLst>
    <p:ext uri="{DCECCB84-F9BA-43D5-87BE-67443E8EF086}">
      <p15:sldGuideLst xmlns:p15="http://schemas.microsoft.com/office/powerpoint/2012/main">
        <p15:guide id="1" pos="415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ction Header">
    <p:bg>
      <p:bgPr>
        <a:solidFill>
          <a:schemeClr val="tx1"/>
        </a:solid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lvl1pPr>
              <a:defRPr>
                <a:solidFill>
                  <a:schemeClr val="bg1"/>
                </a:solidFill>
              </a:defRPr>
            </a:lvl1pPr>
          </a:lstStyle>
          <a:p>
            <a:r>
              <a:rPr lang="en-US"/>
              <a:t>Document Nam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32B354EE-31EA-4FC2-9496-7B6202183237}" type="slidenum">
              <a:rPr lang="en-US" smtClean="0"/>
              <a:pPr/>
              <a:t>‹#›</a:t>
            </a:fld>
            <a:endParaRPr lang="en-US"/>
          </a:p>
        </p:txBody>
      </p:sp>
      <p:sp>
        <p:nvSpPr>
          <p:cNvPr id="7" name="Title 6">
            <a:extLst>
              <a:ext uri="{FF2B5EF4-FFF2-40B4-BE49-F238E27FC236}">
                <a16:creationId xmlns:a16="http://schemas.microsoft.com/office/drawing/2014/main" id="{EE9D7C87-D037-4797-9A6A-B999C6F026D8}"/>
              </a:ext>
            </a:extLst>
          </p:cNvPr>
          <p:cNvSpPr>
            <a:spLocks noGrp="1"/>
          </p:cNvSpPr>
          <p:nvPr>
            <p:ph type="title"/>
          </p:nvPr>
        </p:nvSpPr>
        <p:spPr>
          <a:xfrm>
            <a:off x="410879" y="1521185"/>
            <a:ext cx="11368018" cy="3815631"/>
          </a:xfrm>
        </p:spPr>
        <p:txBody>
          <a:bodyPr anchor="ctr"/>
          <a:lstStyle>
            <a:lvl1pPr algn="ctr">
              <a:defRPr sz="6600">
                <a:solidFill>
                  <a:schemeClr val="bg1"/>
                </a:solidFill>
                <a:latin typeface="+mj-lt"/>
              </a:defRPr>
            </a:lvl1pPr>
          </a:lstStyle>
          <a:p>
            <a:r>
              <a:rPr lang="en-US"/>
              <a:t>Click to edit Master title style</a:t>
            </a:r>
          </a:p>
        </p:txBody>
      </p:sp>
      <p:grpSp>
        <p:nvGrpSpPr>
          <p:cNvPr id="8" name="Group 4">
            <a:extLst>
              <a:ext uri="{FF2B5EF4-FFF2-40B4-BE49-F238E27FC236}">
                <a16:creationId xmlns:a16="http://schemas.microsoft.com/office/drawing/2014/main" id="{F538CC8B-F600-49B9-BACD-7C6B0F908098}"/>
              </a:ext>
            </a:extLst>
          </p:cNvPr>
          <p:cNvGrpSpPr>
            <a:grpSpLocks noChangeAspect="1"/>
          </p:cNvGrpSpPr>
          <p:nvPr/>
        </p:nvGrpSpPr>
        <p:grpSpPr bwMode="auto">
          <a:xfrm>
            <a:off x="10432850" y="6330937"/>
            <a:ext cx="1346400" cy="188639"/>
            <a:chOff x="0" y="1622"/>
            <a:chExt cx="7680" cy="1076"/>
          </a:xfrm>
          <a:solidFill>
            <a:schemeClr val="bg1"/>
          </a:solidFill>
        </p:grpSpPr>
        <p:sp>
          <p:nvSpPr>
            <p:cNvPr id="9" name="Freeform 5">
              <a:extLst>
                <a:ext uri="{FF2B5EF4-FFF2-40B4-BE49-F238E27FC236}">
                  <a16:creationId xmlns:a16="http://schemas.microsoft.com/office/drawing/2014/main" id="{8A8F06AD-208A-43F1-A692-7FB2E8859E11}"/>
                </a:ext>
              </a:extLst>
            </p:cNvPr>
            <p:cNvSpPr>
              <a:spLocks/>
            </p:cNvSpPr>
            <p:nvPr/>
          </p:nvSpPr>
          <p:spPr bwMode="auto">
            <a:xfrm>
              <a:off x="1489" y="1874"/>
              <a:ext cx="479" cy="565"/>
            </a:xfrm>
            <a:custGeom>
              <a:avLst/>
              <a:gdLst>
                <a:gd name="T0" fmla="*/ 766 w 766"/>
                <a:gd name="T1" fmla="*/ 745 h 903"/>
                <a:gd name="T2" fmla="*/ 447 w 766"/>
                <a:gd name="T3" fmla="*/ 903 h 903"/>
                <a:gd name="T4" fmla="*/ 0 w 766"/>
                <a:gd name="T5" fmla="*/ 452 h 903"/>
                <a:gd name="T6" fmla="*/ 447 w 766"/>
                <a:gd name="T7" fmla="*/ 0 h 903"/>
                <a:gd name="T8" fmla="*/ 745 w 766"/>
                <a:gd name="T9" fmla="*/ 136 h 903"/>
                <a:gd name="T10" fmla="*/ 668 w 766"/>
                <a:gd name="T11" fmla="*/ 193 h 903"/>
                <a:gd name="T12" fmla="*/ 447 w 766"/>
                <a:gd name="T13" fmla="*/ 80 h 903"/>
                <a:gd name="T14" fmla="*/ 94 w 766"/>
                <a:gd name="T15" fmla="*/ 452 h 903"/>
                <a:gd name="T16" fmla="*/ 447 w 766"/>
                <a:gd name="T17" fmla="*/ 823 h 903"/>
                <a:gd name="T18" fmla="*/ 694 w 766"/>
                <a:gd name="T19" fmla="*/ 694 h 903"/>
                <a:gd name="T20" fmla="*/ 766 w 766"/>
                <a:gd name="T21" fmla="*/ 745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6" h="903">
                  <a:moveTo>
                    <a:pt x="766" y="745"/>
                  </a:moveTo>
                  <a:cubicBezTo>
                    <a:pt x="708" y="834"/>
                    <a:pt x="590" y="903"/>
                    <a:pt x="447" y="903"/>
                  </a:cubicBezTo>
                  <a:cubicBezTo>
                    <a:pt x="192" y="903"/>
                    <a:pt x="0" y="713"/>
                    <a:pt x="0" y="452"/>
                  </a:cubicBezTo>
                  <a:cubicBezTo>
                    <a:pt x="0" y="191"/>
                    <a:pt x="192" y="0"/>
                    <a:pt x="447" y="0"/>
                  </a:cubicBezTo>
                  <a:cubicBezTo>
                    <a:pt x="554" y="0"/>
                    <a:pt x="670" y="40"/>
                    <a:pt x="745" y="136"/>
                  </a:cubicBezTo>
                  <a:cubicBezTo>
                    <a:pt x="668" y="193"/>
                    <a:pt x="668" y="193"/>
                    <a:pt x="668" y="193"/>
                  </a:cubicBezTo>
                  <a:cubicBezTo>
                    <a:pt x="634" y="137"/>
                    <a:pt x="539" y="80"/>
                    <a:pt x="447" y="80"/>
                  </a:cubicBezTo>
                  <a:cubicBezTo>
                    <a:pt x="226" y="80"/>
                    <a:pt x="94" y="254"/>
                    <a:pt x="94" y="452"/>
                  </a:cubicBezTo>
                  <a:cubicBezTo>
                    <a:pt x="94" y="650"/>
                    <a:pt x="226" y="823"/>
                    <a:pt x="447" y="823"/>
                  </a:cubicBezTo>
                  <a:cubicBezTo>
                    <a:pt x="537" y="823"/>
                    <a:pt x="630" y="793"/>
                    <a:pt x="694" y="694"/>
                  </a:cubicBezTo>
                  <a:lnTo>
                    <a:pt x="766" y="7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6">
              <a:extLst>
                <a:ext uri="{FF2B5EF4-FFF2-40B4-BE49-F238E27FC236}">
                  <a16:creationId xmlns:a16="http://schemas.microsoft.com/office/drawing/2014/main" id="{6443EC75-623B-4F49-9EA2-528791C330F7}"/>
                </a:ext>
              </a:extLst>
            </p:cNvPr>
            <p:cNvSpPr>
              <a:spLocks noEditPoints="1"/>
            </p:cNvSpPr>
            <p:nvPr/>
          </p:nvSpPr>
          <p:spPr bwMode="auto">
            <a:xfrm>
              <a:off x="2014" y="1874"/>
              <a:ext cx="560" cy="565"/>
            </a:xfrm>
            <a:custGeom>
              <a:avLst/>
              <a:gdLst>
                <a:gd name="T0" fmla="*/ 448 w 896"/>
                <a:gd name="T1" fmla="*/ 80 h 903"/>
                <a:gd name="T2" fmla="*/ 95 w 896"/>
                <a:gd name="T3" fmla="*/ 452 h 903"/>
                <a:gd name="T4" fmla="*/ 448 w 896"/>
                <a:gd name="T5" fmla="*/ 823 h 903"/>
                <a:gd name="T6" fmla="*/ 801 w 896"/>
                <a:gd name="T7" fmla="*/ 452 h 903"/>
                <a:gd name="T8" fmla="*/ 448 w 896"/>
                <a:gd name="T9" fmla="*/ 80 h 903"/>
                <a:gd name="T10" fmla="*/ 448 w 896"/>
                <a:gd name="T11" fmla="*/ 903 h 903"/>
                <a:gd name="T12" fmla="*/ 0 w 896"/>
                <a:gd name="T13" fmla="*/ 452 h 903"/>
                <a:gd name="T14" fmla="*/ 448 w 896"/>
                <a:gd name="T15" fmla="*/ 0 h 903"/>
                <a:gd name="T16" fmla="*/ 896 w 896"/>
                <a:gd name="T17" fmla="*/ 452 h 903"/>
                <a:gd name="T18" fmla="*/ 448 w 896"/>
                <a:gd name="T19" fmla="*/ 903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6" h="903">
                  <a:moveTo>
                    <a:pt x="448" y="80"/>
                  </a:moveTo>
                  <a:cubicBezTo>
                    <a:pt x="227" y="80"/>
                    <a:pt x="95" y="254"/>
                    <a:pt x="95" y="452"/>
                  </a:cubicBezTo>
                  <a:cubicBezTo>
                    <a:pt x="95" y="649"/>
                    <a:pt x="227" y="823"/>
                    <a:pt x="448" y="823"/>
                  </a:cubicBezTo>
                  <a:cubicBezTo>
                    <a:pt x="669" y="823"/>
                    <a:pt x="801" y="649"/>
                    <a:pt x="801" y="452"/>
                  </a:cubicBezTo>
                  <a:cubicBezTo>
                    <a:pt x="801" y="254"/>
                    <a:pt x="669" y="80"/>
                    <a:pt x="448" y="80"/>
                  </a:cubicBezTo>
                  <a:moveTo>
                    <a:pt x="448" y="903"/>
                  </a:moveTo>
                  <a:cubicBezTo>
                    <a:pt x="192" y="903"/>
                    <a:pt x="0" y="712"/>
                    <a:pt x="0" y="452"/>
                  </a:cubicBezTo>
                  <a:cubicBezTo>
                    <a:pt x="0" y="191"/>
                    <a:pt x="192" y="0"/>
                    <a:pt x="448" y="0"/>
                  </a:cubicBezTo>
                  <a:cubicBezTo>
                    <a:pt x="704" y="0"/>
                    <a:pt x="896" y="191"/>
                    <a:pt x="896" y="452"/>
                  </a:cubicBezTo>
                  <a:cubicBezTo>
                    <a:pt x="896" y="712"/>
                    <a:pt x="704" y="903"/>
                    <a:pt x="448" y="90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7">
              <a:extLst>
                <a:ext uri="{FF2B5EF4-FFF2-40B4-BE49-F238E27FC236}">
                  <a16:creationId xmlns:a16="http://schemas.microsoft.com/office/drawing/2014/main" id="{5165FC24-6365-4B11-8A8E-7A386F1F5E69}"/>
                </a:ext>
              </a:extLst>
            </p:cNvPr>
            <p:cNvSpPr>
              <a:spLocks/>
            </p:cNvSpPr>
            <p:nvPr/>
          </p:nvSpPr>
          <p:spPr bwMode="auto">
            <a:xfrm>
              <a:off x="2672" y="1888"/>
              <a:ext cx="305" cy="538"/>
            </a:xfrm>
            <a:custGeom>
              <a:avLst/>
              <a:gdLst>
                <a:gd name="T0" fmla="*/ 0 w 305"/>
                <a:gd name="T1" fmla="*/ 0 h 538"/>
                <a:gd name="T2" fmla="*/ 0 w 305"/>
                <a:gd name="T3" fmla="*/ 538 h 538"/>
                <a:gd name="T4" fmla="*/ 305 w 305"/>
                <a:gd name="T5" fmla="*/ 538 h 538"/>
                <a:gd name="T6" fmla="*/ 305 w 305"/>
                <a:gd name="T7" fmla="*/ 488 h 538"/>
                <a:gd name="T8" fmla="*/ 55 w 305"/>
                <a:gd name="T9" fmla="*/ 488 h 538"/>
                <a:gd name="T10" fmla="*/ 55 w 305"/>
                <a:gd name="T11" fmla="*/ 0 h 538"/>
                <a:gd name="T12" fmla="*/ 0 w 305"/>
                <a:gd name="T13" fmla="*/ 0 h 538"/>
              </a:gdLst>
              <a:ahLst/>
              <a:cxnLst>
                <a:cxn ang="0">
                  <a:pos x="T0" y="T1"/>
                </a:cxn>
                <a:cxn ang="0">
                  <a:pos x="T2" y="T3"/>
                </a:cxn>
                <a:cxn ang="0">
                  <a:pos x="T4" y="T5"/>
                </a:cxn>
                <a:cxn ang="0">
                  <a:pos x="T6" y="T7"/>
                </a:cxn>
                <a:cxn ang="0">
                  <a:pos x="T8" y="T9"/>
                </a:cxn>
                <a:cxn ang="0">
                  <a:pos x="T10" y="T11"/>
                </a:cxn>
                <a:cxn ang="0">
                  <a:pos x="T12" y="T13"/>
                </a:cxn>
              </a:cxnLst>
              <a:rect l="0" t="0" r="r" b="b"/>
              <a:pathLst>
                <a:path w="305" h="538">
                  <a:moveTo>
                    <a:pt x="0" y="0"/>
                  </a:moveTo>
                  <a:lnTo>
                    <a:pt x="0" y="538"/>
                  </a:lnTo>
                  <a:lnTo>
                    <a:pt x="305" y="538"/>
                  </a:lnTo>
                  <a:lnTo>
                    <a:pt x="305" y="488"/>
                  </a:lnTo>
                  <a:lnTo>
                    <a:pt x="55" y="488"/>
                  </a:lnTo>
                  <a:lnTo>
                    <a:pt x="55"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8">
              <a:extLst>
                <a:ext uri="{FF2B5EF4-FFF2-40B4-BE49-F238E27FC236}">
                  <a16:creationId xmlns:a16="http://schemas.microsoft.com/office/drawing/2014/main" id="{EE9E9765-C4A7-4AE7-AB5D-1A961637790B}"/>
                </a:ext>
              </a:extLst>
            </p:cNvPr>
            <p:cNvSpPr>
              <a:spLocks noEditPoints="1"/>
            </p:cNvSpPr>
            <p:nvPr/>
          </p:nvSpPr>
          <p:spPr bwMode="auto">
            <a:xfrm>
              <a:off x="2997" y="1874"/>
              <a:ext cx="561" cy="565"/>
            </a:xfrm>
            <a:custGeom>
              <a:avLst/>
              <a:gdLst>
                <a:gd name="T0" fmla="*/ 448 w 896"/>
                <a:gd name="T1" fmla="*/ 80 h 903"/>
                <a:gd name="T2" fmla="*/ 95 w 896"/>
                <a:gd name="T3" fmla="*/ 452 h 903"/>
                <a:gd name="T4" fmla="*/ 448 w 896"/>
                <a:gd name="T5" fmla="*/ 823 h 903"/>
                <a:gd name="T6" fmla="*/ 801 w 896"/>
                <a:gd name="T7" fmla="*/ 452 h 903"/>
                <a:gd name="T8" fmla="*/ 448 w 896"/>
                <a:gd name="T9" fmla="*/ 80 h 903"/>
                <a:gd name="T10" fmla="*/ 448 w 896"/>
                <a:gd name="T11" fmla="*/ 903 h 903"/>
                <a:gd name="T12" fmla="*/ 0 w 896"/>
                <a:gd name="T13" fmla="*/ 452 h 903"/>
                <a:gd name="T14" fmla="*/ 448 w 896"/>
                <a:gd name="T15" fmla="*/ 0 h 903"/>
                <a:gd name="T16" fmla="*/ 896 w 896"/>
                <a:gd name="T17" fmla="*/ 452 h 903"/>
                <a:gd name="T18" fmla="*/ 448 w 896"/>
                <a:gd name="T19" fmla="*/ 903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6" h="903">
                  <a:moveTo>
                    <a:pt x="448" y="80"/>
                  </a:moveTo>
                  <a:cubicBezTo>
                    <a:pt x="227" y="80"/>
                    <a:pt x="95" y="254"/>
                    <a:pt x="95" y="452"/>
                  </a:cubicBezTo>
                  <a:cubicBezTo>
                    <a:pt x="95" y="649"/>
                    <a:pt x="227" y="823"/>
                    <a:pt x="448" y="823"/>
                  </a:cubicBezTo>
                  <a:cubicBezTo>
                    <a:pt x="669" y="823"/>
                    <a:pt x="801" y="649"/>
                    <a:pt x="801" y="452"/>
                  </a:cubicBezTo>
                  <a:cubicBezTo>
                    <a:pt x="801" y="254"/>
                    <a:pt x="669" y="80"/>
                    <a:pt x="448" y="80"/>
                  </a:cubicBezTo>
                  <a:moveTo>
                    <a:pt x="448" y="903"/>
                  </a:moveTo>
                  <a:cubicBezTo>
                    <a:pt x="192" y="903"/>
                    <a:pt x="0" y="712"/>
                    <a:pt x="0" y="452"/>
                  </a:cubicBezTo>
                  <a:cubicBezTo>
                    <a:pt x="0" y="191"/>
                    <a:pt x="192" y="0"/>
                    <a:pt x="448" y="0"/>
                  </a:cubicBezTo>
                  <a:cubicBezTo>
                    <a:pt x="704" y="0"/>
                    <a:pt x="896" y="191"/>
                    <a:pt x="896" y="452"/>
                  </a:cubicBezTo>
                  <a:cubicBezTo>
                    <a:pt x="896" y="712"/>
                    <a:pt x="704" y="903"/>
                    <a:pt x="448" y="90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9">
              <a:extLst>
                <a:ext uri="{FF2B5EF4-FFF2-40B4-BE49-F238E27FC236}">
                  <a16:creationId xmlns:a16="http://schemas.microsoft.com/office/drawing/2014/main" id="{CD0EE75A-243D-4719-AEF0-806CC01C4D44}"/>
                </a:ext>
              </a:extLst>
            </p:cNvPr>
            <p:cNvSpPr>
              <a:spLocks/>
            </p:cNvSpPr>
            <p:nvPr/>
          </p:nvSpPr>
          <p:spPr bwMode="auto">
            <a:xfrm>
              <a:off x="4182" y="1888"/>
              <a:ext cx="503" cy="538"/>
            </a:xfrm>
            <a:custGeom>
              <a:avLst/>
              <a:gdLst>
                <a:gd name="T0" fmla="*/ 0 w 503"/>
                <a:gd name="T1" fmla="*/ 0 h 538"/>
                <a:gd name="T2" fmla="*/ 119 w 503"/>
                <a:gd name="T3" fmla="*/ 0 h 538"/>
                <a:gd name="T4" fmla="*/ 119 w 503"/>
                <a:gd name="T5" fmla="*/ 243 h 538"/>
                <a:gd name="T6" fmla="*/ 327 w 503"/>
                <a:gd name="T7" fmla="*/ 0 h 538"/>
                <a:gd name="T8" fmla="*/ 482 w 503"/>
                <a:gd name="T9" fmla="*/ 0 h 538"/>
                <a:gd name="T10" fmla="*/ 243 w 503"/>
                <a:gd name="T11" fmla="*/ 270 h 538"/>
                <a:gd name="T12" fmla="*/ 503 w 503"/>
                <a:gd name="T13" fmla="*/ 538 h 538"/>
                <a:gd name="T14" fmla="*/ 337 w 503"/>
                <a:gd name="T15" fmla="*/ 538 h 538"/>
                <a:gd name="T16" fmla="*/ 119 w 503"/>
                <a:gd name="T17" fmla="*/ 302 h 538"/>
                <a:gd name="T18" fmla="*/ 119 w 503"/>
                <a:gd name="T19" fmla="*/ 538 h 538"/>
                <a:gd name="T20" fmla="*/ 0 w 503"/>
                <a:gd name="T21" fmla="*/ 538 h 538"/>
                <a:gd name="T22" fmla="*/ 0 w 503"/>
                <a:gd name="T23"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3" h="538">
                  <a:moveTo>
                    <a:pt x="0" y="0"/>
                  </a:moveTo>
                  <a:lnTo>
                    <a:pt x="119" y="0"/>
                  </a:lnTo>
                  <a:lnTo>
                    <a:pt x="119" y="243"/>
                  </a:lnTo>
                  <a:lnTo>
                    <a:pt x="327" y="0"/>
                  </a:lnTo>
                  <a:lnTo>
                    <a:pt x="482" y="0"/>
                  </a:lnTo>
                  <a:lnTo>
                    <a:pt x="243" y="270"/>
                  </a:lnTo>
                  <a:lnTo>
                    <a:pt x="503" y="538"/>
                  </a:lnTo>
                  <a:lnTo>
                    <a:pt x="337" y="538"/>
                  </a:lnTo>
                  <a:lnTo>
                    <a:pt x="119" y="302"/>
                  </a:lnTo>
                  <a:lnTo>
                    <a:pt x="119" y="538"/>
                  </a:lnTo>
                  <a:lnTo>
                    <a:pt x="0" y="53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10">
              <a:extLst>
                <a:ext uri="{FF2B5EF4-FFF2-40B4-BE49-F238E27FC236}">
                  <a16:creationId xmlns:a16="http://schemas.microsoft.com/office/drawing/2014/main" id="{4B7C3482-76AC-4362-BB17-D64AE7D11A7E}"/>
                </a:ext>
              </a:extLst>
            </p:cNvPr>
            <p:cNvSpPr>
              <a:spLocks noChangeArrowheads="1"/>
            </p:cNvSpPr>
            <p:nvPr/>
          </p:nvSpPr>
          <p:spPr bwMode="auto">
            <a:xfrm>
              <a:off x="4743" y="1888"/>
              <a:ext cx="118" cy="5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1">
              <a:extLst>
                <a:ext uri="{FF2B5EF4-FFF2-40B4-BE49-F238E27FC236}">
                  <a16:creationId xmlns:a16="http://schemas.microsoft.com/office/drawing/2014/main" id="{2CBF6DDD-FC53-448D-8FE3-3874132ACC96}"/>
                </a:ext>
              </a:extLst>
            </p:cNvPr>
            <p:cNvSpPr>
              <a:spLocks/>
            </p:cNvSpPr>
            <p:nvPr/>
          </p:nvSpPr>
          <p:spPr bwMode="auto">
            <a:xfrm>
              <a:off x="4980" y="1888"/>
              <a:ext cx="509" cy="538"/>
            </a:xfrm>
            <a:custGeom>
              <a:avLst/>
              <a:gdLst>
                <a:gd name="T0" fmla="*/ 0 w 509"/>
                <a:gd name="T1" fmla="*/ 0 h 538"/>
                <a:gd name="T2" fmla="*/ 160 w 509"/>
                <a:gd name="T3" fmla="*/ 0 h 538"/>
                <a:gd name="T4" fmla="*/ 389 w 509"/>
                <a:gd name="T5" fmla="*/ 374 h 538"/>
                <a:gd name="T6" fmla="*/ 391 w 509"/>
                <a:gd name="T7" fmla="*/ 374 h 538"/>
                <a:gd name="T8" fmla="*/ 391 w 509"/>
                <a:gd name="T9" fmla="*/ 0 h 538"/>
                <a:gd name="T10" fmla="*/ 509 w 509"/>
                <a:gd name="T11" fmla="*/ 0 h 538"/>
                <a:gd name="T12" fmla="*/ 509 w 509"/>
                <a:gd name="T13" fmla="*/ 538 h 538"/>
                <a:gd name="T14" fmla="*/ 354 w 509"/>
                <a:gd name="T15" fmla="*/ 538 h 538"/>
                <a:gd name="T16" fmla="*/ 120 w 509"/>
                <a:gd name="T17" fmla="*/ 155 h 538"/>
                <a:gd name="T18" fmla="*/ 118 w 509"/>
                <a:gd name="T19" fmla="*/ 155 h 538"/>
                <a:gd name="T20" fmla="*/ 118 w 509"/>
                <a:gd name="T21" fmla="*/ 538 h 538"/>
                <a:gd name="T22" fmla="*/ 0 w 509"/>
                <a:gd name="T23" fmla="*/ 538 h 538"/>
                <a:gd name="T24" fmla="*/ 0 w 509"/>
                <a:gd name="T25"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9" h="538">
                  <a:moveTo>
                    <a:pt x="0" y="0"/>
                  </a:moveTo>
                  <a:lnTo>
                    <a:pt x="160" y="0"/>
                  </a:lnTo>
                  <a:lnTo>
                    <a:pt x="389" y="374"/>
                  </a:lnTo>
                  <a:lnTo>
                    <a:pt x="391" y="374"/>
                  </a:lnTo>
                  <a:lnTo>
                    <a:pt x="391" y="0"/>
                  </a:lnTo>
                  <a:lnTo>
                    <a:pt x="509" y="0"/>
                  </a:lnTo>
                  <a:lnTo>
                    <a:pt x="509" y="538"/>
                  </a:lnTo>
                  <a:lnTo>
                    <a:pt x="354" y="538"/>
                  </a:lnTo>
                  <a:lnTo>
                    <a:pt x="120" y="155"/>
                  </a:lnTo>
                  <a:lnTo>
                    <a:pt x="118" y="155"/>
                  </a:lnTo>
                  <a:lnTo>
                    <a:pt x="118" y="538"/>
                  </a:lnTo>
                  <a:lnTo>
                    <a:pt x="0" y="53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2">
              <a:extLst>
                <a:ext uri="{FF2B5EF4-FFF2-40B4-BE49-F238E27FC236}">
                  <a16:creationId xmlns:a16="http://schemas.microsoft.com/office/drawing/2014/main" id="{85CC6B60-4314-474F-8B72-AC2A2D1BF31B}"/>
                </a:ext>
              </a:extLst>
            </p:cNvPr>
            <p:cNvSpPr>
              <a:spLocks/>
            </p:cNvSpPr>
            <p:nvPr/>
          </p:nvSpPr>
          <p:spPr bwMode="auto">
            <a:xfrm>
              <a:off x="5608" y="1888"/>
              <a:ext cx="378" cy="538"/>
            </a:xfrm>
            <a:custGeom>
              <a:avLst/>
              <a:gdLst>
                <a:gd name="T0" fmla="*/ 0 w 378"/>
                <a:gd name="T1" fmla="*/ 0 h 538"/>
                <a:gd name="T2" fmla="*/ 0 w 378"/>
                <a:gd name="T3" fmla="*/ 538 h 538"/>
                <a:gd name="T4" fmla="*/ 378 w 378"/>
                <a:gd name="T5" fmla="*/ 538 h 538"/>
                <a:gd name="T6" fmla="*/ 378 w 378"/>
                <a:gd name="T7" fmla="*/ 433 h 538"/>
                <a:gd name="T8" fmla="*/ 118 w 378"/>
                <a:gd name="T9" fmla="*/ 433 h 538"/>
                <a:gd name="T10" fmla="*/ 118 w 378"/>
                <a:gd name="T11" fmla="*/ 319 h 538"/>
                <a:gd name="T12" fmla="*/ 351 w 378"/>
                <a:gd name="T13" fmla="*/ 319 h 538"/>
                <a:gd name="T14" fmla="*/ 351 w 378"/>
                <a:gd name="T15" fmla="*/ 210 h 538"/>
                <a:gd name="T16" fmla="*/ 118 w 378"/>
                <a:gd name="T17" fmla="*/ 210 h 538"/>
                <a:gd name="T18" fmla="*/ 118 w 378"/>
                <a:gd name="T19" fmla="*/ 105 h 538"/>
                <a:gd name="T20" fmla="*/ 364 w 378"/>
                <a:gd name="T21" fmla="*/ 105 h 538"/>
                <a:gd name="T22" fmla="*/ 364 w 378"/>
                <a:gd name="T23" fmla="*/ 0 h 538"/>
                <a:gd name="T24" fmla="*/ 0 w 378"/>
                <a:gd name="T25"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8" h="538">
                  <a:moveTo>
                    <a:pt x="0" y="0"/>
                  </a:moveTo>
                  <a:lnTo>
                    <a:pt x="0" y="538"/>
                  </a:lnTo>
                  <a:lnTo>
                    <a:pt x="378" y="538"/>
                  </a:lnTo>
                  <a:lnTo>
                    <a:pt x="378" y="433"/>
                  </a:lnTo>
                  <a:lnTo>
                    <a:pt x="118" y="433"/>
                  </a:lnTo>
                  <a:lnTo>
                    <a:pt x="118" y="319"/>
                  </a:lnTo>
                  <a:lnTo>
                    <a:pt x="351" y="319"/>
                  </a:lnTo>
                  <a:lnTo>
                    <a:pt x="351" y="210"/>
                  </a:lnTo>
                  <a:lnTo>
                    <a:pt x="118" y="210"/>
                  </a:lnTo>
                  <a:lnTo>
                    <a:pt x="118" y="105"/>
                  </a:lnTo>
                  <a:lnTo>
                    <a:pt x="364" y="105"/>
                  </a:lnTo>
                  <a:lnTo>
                    <a:pt x="364"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3">
              <a:extLst>
                <a:ext uri="{FF2B5EF4-FFF2-40B4-BE49-F238E27FC236}">
                  <a16:creationId xmlns:a16="http://schemas.microsoft.com/office/drawing/2014/main" id="{073F103A-3BAD-4949-BC8C-4D3B44CF4603}"/>
                </a:ext>
              </a:extLst>
            </p:cNvPr>
            <p:cNvSpPr>
              <a:spLocks/>
            </p:cNvSpPr>
            <p:nvPr/>
          </p:nvSpPr>
          <p:spPr bwMode="auto">
            <a:xfrm>
              <a:off x="6052" y="1888"/>
              <a:ext cx="424" cy="538"/>
            </a:xfrm>
            <a:custGeom>
              <a:avLst/>
              <a:gdLst>
                <a:gd name="T0" fmla="*/ 0 w 424"/>
                <a:gd name="T1" fmla="*/ 0 h 538"/>
                <a:gd name="T2" fmla="*/ 0 w 424"/>
                <a:gd name="T3" fmla="*/ 105 h 538"/>
                <a:gd name="T4" fmla="*/ 152 w 424"/>
                <a:gd name="T5" fmla="*/ 105 h 538"/>
                <a:gd name="T6" fmla="*/ 152 w 424"/>
                <a:gd name="T7" fmla="*/ 538 h 538"/>
                <a:gd name="T8" fmla="*/ 271 w 424"/>
                <a:gd name="T9" fmla="*/ 538 h 538"/>
                <a:gd name="T10" fmla="*/ 271 w 424"/>
                <a:gd name="T11" fmla="*/ 105 h 538"/>
                <a:gd name="T12" fmla="*/ 424 w 424"/>
                <a:gd name="T13" fmla="*/ 105 h 538"/>
                <a:gd name="T14" fmla="*/ 424 w 424"/>
                <a:gd name="T15" fmla="*/ 0 h 538"/>
                <a:gd name="T16" fmla="*/ 0 w 424"/>
                <a:gd name="T17"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4" h="538">
                  <a:moveTo>
                    <a:pt x="0" y="0"/>
                  </a:moveTo>
                  <a:lnTo>
                    <a:pt x="0" y="105"/>
                  </a:lnTo>
                  <a:lnTo>
                    <a:pt x="152" y="105"/>
                  </a:lnTo>
                  <a:lnTo>
                    <a:pt x="152" y="538"/>
                  </a:lnTo>
                  <a:lnTo>
                    <a:pt x="271" y="538"/>
                  </a:lnTo>
                  <a:lnTo>
                    <a:pt x="271" y="105"/>
                  </a:lnTo>
                  <a:lnTo>
                    <a:pt x="424" y="105"/>
                  </a:lnTo>
                  <a:lnTo>
                    <a:pt x="424"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14">
              <a:extLst>
                <a:ext uri="{FF2B5EF4-FFF2-40B4-BE49-F238E27FC236}">
                  <a16:creationId xmlns:a16="http://schemas.microsoft.com/office/drawing/2014/main" id="{691E8977-F608-470D-BB8D-231F71C8B93E}"/>
                </a:ext>
              </a:extLst>
            </p:cNvPr>
            <p:cNvSpPr>
              <a:spLocks noChangeArrowheads="1"/>
            </p:cNvSpPr>
            <p:nvPr/>
          </p:nvSpPr>
          <p:spPr bwMode="auto">
            <a:xfrm>
              <a:off x="6554" y="1888"/>
              <a:ext cx="119" cy="5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5">
              <a:extLst>
                <a:ext uri="{FF2B5EF4-FFF2-40B4-BE49-F238E27FC236}">
                  <a16:creationId xmlns:a16="http://schemas.microsoft.com/office/drawing/2014/main" id="{D25AF574-BBEF-4E01-9B8E-2C473DA9DD94}"/>
                </a:ext>
              </a:extLst>
            </p:cNvPr>
            <p:cNvSpPr>
              <a:spLocks noEditPoints="1"/>
            </p:cNvSpPr>
            <p:nvPr/>
          </p:nvSpPr>
          <p:spPr bwMode="auto">
            <a:xfrm>
              <a:off x="3658" y="1888"/>
              <a:ext cx="383" cy="538"/>
            </a:xfrm>
            <a:custGeom>
              <a:avLst/>
              <a:gdLst>
                <a:gd name="T0" fmla="*/ 87 w 613"/>
                <a:gd name="T1" fmla="*/ 376 h 859"/>
                <a:gd name="T2" fmla="*/ 278 w 613"/>
                <a:gd name="T3" fmla="*/ 376 h 859"/>
                <a:gd name="T4" fmla="*/ 462 w 613"/>
                <a:gd name="T5" fmla="*/ 228 h 859"/>
                <a:gd name="T6" fmla="*/ 278 w 613"/>
                <a:gd name="T7" fmla="*/ 82 h 859"/>
                <a:gd name="T8" fmla="*/ 87 w 613"/>
                <a:gd name="T9" fmla="*/ 82 h 859"/>
                <a:gd name="T10" fmla="*/ 87 w 613"/>
                <a:gd name="T11" fmla="*/ 376 h 859"/>
                <a:gd name="T12" fmla="*/ 497 w 613"/>
                <a:gd name="T13" fmla="*/ 859 h 859"/>
                <a:gd name="T14" fmla="*/ 87 w 613"/>
                <a:gd name="T15" fmla="*/ 428 h 859"/>
                <a:gd name="T16" fmla="*/ 87 w 613"/>
                <a:gd name="T17" fmla="*/ 859 h 859"/>
                <a:gd name="T18" fmla="*/ 0 w 613"/>
                <a:gd name="T19" fmla="*/ 859 h 859"/>
                <a:gd name="T20" fmla="*/ 0 w 613"/>
                <a:gd name="T21" fmla="*/ 0 h 859"/>
                <a:gd name="T22" fmla="*/ 270 w 613"/>
                <a:gd name="T23" fmla="*/ 0 h 859"/>
                <a:gd name="T24" fmla="*/ 555 w 613"/>
                <a:gd name="T25" fmla="*/ 228 h 859"/>
                <a:gd name="T26" fmla="*/ 270 w 613"/>
                <a:gd name="T27" fmla="*/ 453 h 859"/>
                <a:gd name="T28" fmla="*/ 222 w 613"/>
                <a:gd name="T29" fmla="*/ 453 h 859"/>
                <a:gd name="T30" fmla="*/ 613 w 613"/>
                <a:gd name="T31" fmla="*/ 859 h 859"/>
                <a:gd name="T32" fmla="*/ 497 w 613"/>
                <a:gd name="T33" fmla="*/ 859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13" h="859">
                  <a:moveTo>
                    <a:pt x="87" y="376"/>
                  </a:moveTo>
                  <a:cubicBezTo>
                    <a:pt x="278" y="376"/>
                    <a:pt x="278" y="376"/>
                    <a:pt x="278" y="376"/>
                  </a:cubicBezTo>
                  <a:cubicBezTo>
                    <a:pt x="396" y="376"/>
                    <a:pt x="462" y="328"/>
                    <a:pt x="462" y="228"/>
                  </a:cubicBezTo>
                  <a:cubicBezTo>
                    <a:pt x="462" y="129"/>
                    <a:pt x="396" y="82"/>
                    <a:pt x="278" y="82"/>
                  </a:cubicBezTo>
                  <a:cubicBezTo>
                    <a:pt x="87" y="82"/>
                    <a:pt x="87" y="82"/>
                    <a:pt x="87" y="82"/>
                  </a:cubicBezTo>
                  <a:lnTo>
                    <a:pt x="87" y="376"/>
                  </a:lnTo>
                  <a:close/>
                  <a:moveTo>
                    <a:pt x="497" y="859"/>
                  </a:moveTo>
                  <a:cubicBezTo>
                    <a:pt x="87" y="428"/>
                    <a:pt x="87" y="428"/>
                    <a:pt x="87" y="428"/>
                  </a:cubicBezTo>
                  <a:cubicBezTo>
                    <a:pt x="87" y="859"/>
                    <a:pt x="87" y="859"/>
                    <a:pt x="87" y="859"/>
                  </a:cubicBezTo>
                  <a:cubicBezTo>
                    <a:pt x="0" y="859"/>
                    <a:pt x="0" y="859"/>
                    <a:pt x="0" y="859"/>
                  </a:cubicBezTo>
                  <a:cubicBezTo>
                    <a:pt x="0" y="0"/>
                    <a:pt x="0" y="0"/>
                    <a:pt x="0" y="0"/>
                  </a:cubicBezTo>
                  <a:cubicBezTo>
                    <a:pt x="270" y="0"/>
                    <a:pt x="270" y="0"/>
                    <a:pt x="270" y="0"/>
                  </a:cubicBezTo>
                  <a:cubicBezTo>
                    <a:pt x="457" y="0"/>
                    <a:pt x="555" y="91"/>
                    <a:pt x="555" y="228"/>
                  </a:cubicBezTo>
                  <a:cubicBezTo>
                    <a:pt x="555" y="367"/>
                    <a:pt x="457" y="453"/>
                    <a:pt x="270" y="453"/>
                  </a:cubicBezTo>
                  <a:cubicBezTo>
                    <a:pt x="222" y="453"/>
                    <a:pt x="222" y="453"/>
                    <a:pt x="222" y="453"/>
                  </a:cubicBezTo>
                  <a:cubicBezTo>
                    <a:pt x="613" y="859"/>
                    <a:pt x="613" y="859"/>
                    <a:pt x="613" y="859"/>
                  </a:cubicBezTo>
                  <a:lnTo>
                    <a:pt x="497" y="8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6">
              <a:extLst>
                <a:ext uri="{FF2B5EF4-FFF2-40B4-BE49-F238E27FC236}">
                  <a16:creationId xmlns:a16="http://schemas.microsoft.com/office/drawing/2014/main" id="{1C09DDCC-EB70-4769-B64E-DD48AEFF3596}"/>
                </a:ext>
              </a:extLst>
            </p:cNvPr>
            <p:cNvSpPr>
              <a:spLocks/>
            </p:cNvSpPr>
            <p:nvPr/>
          </p:nvSpPr>
          <p:spPr bwMode="auto">
            <a:xfrm>
              <a:off x="6752" y="1881"/>
              <a:ext cx="476" cy="558"/>
            </a:xfrm>
            <a:custGeom>
              <a:avLst/>
              <a:gdLst>
                <a:gd name="T0" fmla="*/ 0 w 761"/>
                <a:gd name="T1" fmla="*/ 447 h 893"/>
                <a:gd name="T2" fmla="*/ 417 w 761"/>
                <a:gd name="T3" fmla="*/ 0 h 893"/>
                <a:gd name="T4" fmla="*/ 747 w 761"/>
                <a:gd name="T5" fmla="*/ 181 h 893"/>
                <a:gd name="T6" fmla="*/ 614 w 761"/>
                <a:gd name="T7" fmla="*/ 285 h 893"/>
                <a:gd name="T8" fmla="*/ 421 w 761"/>
                <a:gd name="T9" fmla="*/ 178 h 893"/>
                <a:gd name="T10" fmla="*/ 197 w 761"/>
                <a:gd name="T11" fmla="*/ 447 h 893"/>
                <a:gd name="T12" fmla="*/ 427 w 761"/>
                <a:gd name="T13" fmla="*/ 715 h 893"/>
                <a:gd name="T14" fmla="*/ 623 w 761"/>
                <a:gd name="T15" fmla="*/ 608 h 893"/>
                <a:gd name="T16" fmla="*/ 761 w 761"/>
                <a:gd name="T17" fmla="*/ 715 h 893"/>
                <a:gd name="T18" fmla="*/ 423 w 761"/>
                <a:gd name="T19" fmla="*/ 893 h 893"/>
                <a:gd name="T20" fmla="*/ 0 w 761"/>
                <a:gd name="T21" fmla="*/ 447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1" h="893">
                  <a:moveTo>
                    <a:pt x="0" y="447"/>
                  </a:moveTo>
                  <a:cubicBezTo>
                    <a:pt x="0" y="177"/>
                    <a:pt x="160" y="0"/>
                    <a:pt x="417" y="0"/>
                  </a:cubicBezTo>
                  <a:cubicBezTo>
                    <a:pt x="582" y="0"/>
                    <a:pt x="698" y="79"/>
                    <a:pt x="747" y="181"/>
                  </a:cubicBezTo>
                  <a:cubicBezTo>
                    <a:pt x="614" y="285"/>
                    <a:pt x="614" y="285"/>
                    <a:pt x="614" y="285"/>
                  </a:cubicBezTo>
                  <a:cubicBezTo>
                    <a:pt x="570" y="211"/>
                    <a:pt x="493" y="178"/>
                    <a:pt x="421" y="178"/>
                  </a:cubicBezTo>
                  <a:cubicBezTo>
                    <a:pt x="295" y="178"/>
                    <a:pt x="197" y="269"/>
                    <a:pt x="197" y="447"/>
                  </a:cubicBezTo>
                  <a:cubicBezTo>
                    <a:pt x="197" y="614"/>
                    <a:pt x="300" y="715"/>
                    <a:pt x="427" y="715"/>
                  </a:cubicBezTo>
                  <a:cubicBezTo>
                    <a:pt x="500" y="715"/>
                    <a:pt x="579" y="682"/>
                    <a:pt x="623" y="608"/>
                  </a:cubicBezTo>
                  <a:cubicBezTo>
                    <a:pt x="761" y="715"/>
                    <a:pt x="761" y="715"/>
                    <a:pt x="761" y="715"/>
                  </a:cubicBezTo>
                  <a:cubicBezTo>
                    <a:pt x="699" y="819"/>
                    <a:pt x="590" y="893"/>
                    <a:pt x="423" y="893"/>
                  </a:cubicBezTo>
                  <a:cubicBezTo>
                    <a:pt x="163" y="893"/>
                    <a:pt x="0" y="716"/>
                    <a:pt x="0" y="44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7">
              <a:extLst>
                <a:ext uri="{FF2B5EF4-FFF2-40B4-BE49-F238E27FC236}">
                  <a16:creationId xmlns:a16="http://schemas.microsoft.com/office/drawing/2014/main" id="{7DF73D43-5DF0-442D-9B4D-9D2A4E809584}"/>
                </a:ext>
              </a:extLst>
            </p:cNvPr>
            <p:cNvSpPr>
              <a:spLocks/>
            </p:cNvSpPr>
            <p:nvPr/>
          </p:nvSpPr>
          <p:spPr bwMode="auto">
            <a:xfrm>
              <a:off x="7271" y="1874"/>
              <a:ext cx="409" cy="565"/>
            </a:xfrm>
            <a:custGeom>
              <a:avLst/>
              <a:gdLst>
                <a:gd name="T0" fmla="*/ 404 w 654"/>
                <a:gd name="T1" fmla="*/ 376 h 903"/>
                <a:gd name="T2" fmla="*/ 287 w 654"/>
                <a:gd name="T3" fmla="*/ 354 h 903"/>
                <a:gd name="T4" fmla="*/ 202 w 654"/>
                <a:gd name="T5" fmla="*/ 264 h 903"/>
                <a:gd name="T6" fmla="*/ 321 w 654"/>
                <a:gd name="T7" fmla="*/ 171 h 903"/>
                <a:gd name="T8" fmla="*/ 478 w 654"/>
                <a:gd name="T9" fmla="*/ 270 h 903"/>
                <a:gd name="T10" fmla="*/ 617 w 654"/>
                <a:gd name="T11" fmla="*/ 163 h 903"/>
                <a:gd name="T12" fmla="*/ 322 w 654"/>
                <a:gd name="T13" fmla="*/ 0 h 903"/>
                <a:gd name="T14" fmla="*/ 12 w 654"/>
                <a:gd name="T15" fmla="*/ 279 h 903"/>
                <a:gd name="T16" fmla="*/ 247 w 654"/>
                <a:gd name="T17" fmla="*/ 523 h 903"/>
                <a:gd name="T18" fmla="*/ 366 w 654"/>
                <a:gd name="T19" fmla="*/ 546 h 903"/>
                <a:gd name="T20" fmla="*/ 459 w 654"/>
                <a:gd name="T21" fmla="*/ 642 h 903"/>
                <a:gd name="T22" fmla="*/ 336 w 654"/>
                <a:gd name="T23" fmla="*/ 734 h 903"/>
                <a:gd name="T24" fmla="*/ 143 w 654"/>
                <a:gd name="T25" fmla="*/ 594 h 903"/>
                <a:gd name="T26" fmla="*/ 0 w 654"/>
                <a:gd name="T27" fmla="*/ 704 h 903"/>
                <a:gd name="T28" fmla="*/ 334 w 654"/>
                <a:gd name="T29" fmla="*/ 903 h 903"/>
                <a:gd name="T30" fmla="*/ 654 w 654"/>
                <a:gd name="T31" fmla="*/ 629 h 903"/>
                <a:gd name="T32" fmla="*/ 404 w 654"/>
                <a:gd name="T33" fmla="*/ 376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4" h="903">
                  <a:moveTo>
                    <a:pt x="404" y="376"/>
                  </a:moveTo>
                  <a:cubicBezTo>
                    <a:pt x="287" y="354"/>
                    <a:pt x="287" y="354"/>
                    <a:pt x="287" y="354"/>
                  </a:cubicBezTo>
                  <a:cubicBezTo>
                    <a:pt x="228" y="344"/>
                    <a:pt x="202" y="305"/>
                    <a:pt x="202" y="264"/>
                  </a:cubicBezTo>
                  <a:cubicBezTo>
                    <a:pt x="202" y="216"/>
                    <a:pt x="249" y="171"/>
                    <a:pt x="321" y="171"/>
                  </a:cubicBezTo>
                  <a:cubicBezTo>
                    <a:pt x="403" y="171"/>
                    <a:pt x="451" y="222"/>
                    <a:pt x="478" y="270"/>
                  </a:cubicBezTo>
                  <a:cubicBezTo>
                    <a:pt x="617" y="163"/>
                    <a:pt x="617" y="163"/>
                    <a:pt x="617" y="163"/>
                  </a:cubicBezTo>
                  <a:cubicBezTo>
                    <a:pt x="578" y="79"/>
                    <a:pt x="491" y="0"/>
                    <a:pt x="322" y="0"/>
                  </a:cubicBezTo>
                  <a:cubicBezTo>
                    <a:pt x="156" y="0"/>
                    <a:pt x="12" y="115"/>
                    <a:pt x="12" y="279"/>
                  </a:cubicBezTo>
                  <a:cubicBezTo>
                    <a:pt x="12" y="407"/>
                    <a:pt x="101" y="496"/>
                    <a:pt x="247" y="523"/>
                  </a:cubicBezTo>
                  <a:cubicBezTo>
                    <a:pt x="366" y="546"/>
                    <a:pt x="366" y="546"/>
                    <a:pt x="366" y="546"/>
                  </a:cubicBezTo>
                  <a:cubicBezTo>
                    <a:pt x="423" y="557"/>
                    <a:pt x="459" y="597"/>
                    <a:pt x="459" y="642"/>
                  </a:cubicBezTo>
                  <a:cubicBezTo>
                    <a:pt x="459" y="695"/>
                    <a:pt x="413" y="734"/>
                    <a:pt x="336" y="734"/>
                  </a:cubicBezTo>
                  <a:cubicBezTo>
                    <a:pt x="219" y="734"/>
                    <a:pt x="161" y="649"/>
                    <a:pt x="143" y="594"/>
                  </a:cubicBezTo>
                  <a:cubicBezTo>
                    <a:pt x="0" y="704"/>
                    <a:pt x="0" y="704"/>
                    <a:pt x="0" y="704"/>
                  </a:cubicBezTo>
                  <a:cubicBezTo>
                    <a:pt x="41" y="806"/>
                    <a:pt x="144" y="903"/>
                    <a:pt x="334" y="903"/>
                  </a:cubicBezTo>
                  <a:cubicBezTo>
                    <a:pt x="541" y="903"/>
                    <a:pt x="654" y="765"/>
                    <a:pt x="654" y="629"/>
                  </a:cubicBezTo>
                  <a:cubicBezTo>
                    <a:pt x="654" y="506"/>
                    <a:pt x="569" y="407"/>
                    <a:pt x="404" y="37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8">
              <a:extLst>
                <a:ext uri="{FF2B5EF4-FFF2-40B4-BE49-F238E27FC236}">
                  <a16:creationId xmlns:a16="http://schemas.microsoft.com/office/drawing/2014/main" id="{B9651F69-F468-4413-9453-0A0A211492DB}"/>
                </a:ext>
              </a:extLst>
            </p:cNvPr>
            <p:cNvSpPr>
              <a:spLocks/>
            </p:cNvSpPr>
            <p:nvPr/>
          </p:nvSpPr>
          <p:spPr bwMode="auto">
            <a:xfrm>
              <a:off x="0" y="1622"/>
              <a:ext cx="857" cy="1076"/>
            </a:xfrm>
            <a:custGeom>
              <a:avLst/>
              <a:gdLst>
                <a:gd name="T0" fmla="*/ 859 w 1370"/>
                <a:gd name="T1" fmla="*/ 1020 h 1719"/>
                <a:gd name="T2" fmla="*/ 859 w 1370"/>
                <a:gd name="T3" fmla="*/ 1336 h 1719"/>
                <a:gd name="T4" fmla="*/ 383 w 1370"/>
                <a:gd name="T5" fmla="*/ 860 h 1719"/>
                <a:gd name="T6" fmla="*/ 859 w 1370"/>
                <a:gd name="T7" fmla="*/ 384 h 1719"/>
                <a:gd name="T8" fmla="*/ 859 w 1370"/>
                <a:gd name="T9" fmla="*/ 714 h 1719"/>
                <a:gd name="T10" fmla="*/ 1370 w 1370"/>
                <a:gd name="T11" fmla="*/ 169 h 1719"/>
                <a:gd name="T12" fmla="*/ 859 w 1370"/>
                <a:gd name="T13" fmla="*/ 0 h 1719"/>
                <a:gd name="T14" fmla="*/ 0 w 1370"/>
                <a:gd name="T15" fmla="*/ 860 h 1719"/>
                <a:gd name="T16" fmla="*/ 859 w 1370"/>
                <a:gd name="T17" fmla="*/ 1719 h 1719"/>
                <a:gd name="T18" fmla="*/ 1335 w 1370"/>
                <a:gd name="T19" fmla="*/ 1575 h 1719"/>
                <a:gd name="T20" fmla="*/ 859 w 1370"/>
                <a:gd name="T21" fmla="*/ 1020 h 1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70" h="1719">
                  <a:moveTo>
                    <a:pt x="859" y="1020"/>
                  </a:moveTo>
                  <a:cubicBezTo>
                    <a:pt x="859" y="1336"/>
                    <a:pt x="859" y="1336"/>
                    <a:pt x="859" y="1336"/>
                  </a:cubicBezTo>
                  <a:cubicBezTo>
                    <a:pt x="596" y="1336"/>
                    <a:pt x="383" y="1122"/>
                    <a:pt x="383" y="860"/>
                  </a:cubicBezTo>
                  <a:cubicBezTo>
                    <a:pt x="383" y="596"/>
                    <a:pt x="596" y="384"/>
                    <a:pt x="859" y="384"/>
                  </a:cubicBezTo>
                  <a:cubicBezTo>
                    <a:pt x="859" y="714"/>
                    <a:pt x="859" y="714"/>
                    <a:pt x="859" y="714"/>
                  </a:cubicBezTo>
                  <a:cubicBezTo>
                    <a:pt x="1370" y="169"/>
                    <a:pt x="1370" y="169"/>
                    <a:pt x="1370" y="169"/>
                  </a:cubicBezTo>
                  <a:cubicBezTo>
                    <a:pt x="1227" y="63"/>
                    <a:pt x="1051" y="0"/>
                    <a:pt x="859" y="0"/>
                  </a:cubicBezTo>
                  <a:cubicBezTo>
                    <a:pt x="385" y="0"/>
                    <a:pt x="0" y="385"/>
                    <a:pt x="0" y="860"/>
                  </a:cubicBezTo>
                  <a:cubicBezTo>
                    <a:pt x="0" y="1334"/>
                    <a:pt x="385" y="1719"/>
                    <a:pt x="859" y="1719"/>
                  </a:cubicBezTo>
                  <a:cubicBezTo>
                    <a:pt x="1035" y="1719"/>
                    <a:pt x="1199" y="1666"/>
                    <a:pt x="1335" y="1575"/>
                  </a:cubicBezTo>
                  <a:lnTo>
                    <a:pt x="859" y="10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9">
              <a:extLst>
                <a:ext uri="{FF2B5EF4-FFF2-40B4-BE49-F238E27FC236}">
                  <a16:creationId xmlns:a16="http://schemas.microsoft.com/office/drawing/2014/main" id="{7FAC0AC2-6A7D-4FE9-999C-DEC5EA07D1A4}"/>
                </a:ext>
              </a:extLst>
            </p:cNvPr>
            <p:cNvSpPr>
              <a:spLocks/>
            </p:cNvSpPr>
            <p:nvPr/>
          </p:nvSpPr>
          <p:spPr bwMode="auto">
            <a:xfrm>
              <a:off x="583" y="1854"/>
              <a:ext cx="491" cy="612"/>
            </a:xfrm>
            <a:custGeom>
              <a:avLst/>
              <a:gdLst>
                <a:gd name="T0" fmla="*/ 634 w 786"/>
                <a:gd name="T1" fmla="*/ 0 h 979"/>
                <a:gd name="T2" fmla="*/ 0 w 786"/>
                <a:gd name="T3" fmla="*/ 490 h 979"/>
                <a:gd name="T4" fmla="*/ 634 w 786"/>
                <a:gd name="T5" fmla="*/ 979 h 979"/>
                <a:gd name="T6" fmla="*/ 786 w 786"/>
                <a:gd name="T7" fmla="*/ 490 h 979"/>
                <a:gd name="T8" fmla="*/ 634 w 786"/>
                <a:gd name="T9" fmla="*/ 0 h 979"/>
              </a:gdLst>
              <a:ahLst/>
              <a:cxnLst>
                <a:cxn ang="0">
                  <a:pos x="T0" y="T1"/>
                </a:cxn>
                <a:cxn ang="0">
                  <a:pos x="T2" y="T3"/>
                </a:cxn>
                <a:cxn ang="0">
                  <a:pos x="T4" y="T5"/>
                </a:cxn>
                <a:cxn ang="0">
                  <a:pos x="T6" y="T7"/>
                </a:cxn>
                <a:cxn ang="0">
                  <a:pos x="T8" y="T9"/>
                </a:cxn>
              </a:cxnLst>
              <a:rect l="0" t="0" r="r" b="b"/>
              <a:pathLst>
                <a:path w="786" h="979">
                  <a:moveTo>
                    <a:pt x="634" y="0"/>
                  </a:moveTo>
                  <a:cubicBezTo>
                    <a:pt x="0" y="490"/>
                    <a:pt x="0" y="490"/>
                    <a:pt x="0" y="490"/>
                  </a:cubicBezTo>
                  <a:cubicBezTo>
                    <a:pt x="634" y="979"/>
                    <a:pt x="634" y="979"/>
                    <a:pt x="634" y="979"/>
                  </a:cubicBezTo>
                  <a:cubicBezTo>
                    <a:pt x="730" y="840"/>
                    <a:pt x="786" y="671"/>
                    <a:pt x="786" y="490"/>
                  </a:cubicBezTo>
                  <a:cubicBezTo>
                    <a:pt x="786" y="308"/>
                    <a:pt x="730" y="139"/>
                    <a:pt x="6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0774871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Section Header Image">
    <p:bg>
      <p:bgPr>
        <a:solidFill>
          <a:schemeClr val="bg1">
            <a:lumMod val="85000"/>
          </a:schemeClr>
        </a:solid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lvl1pPr>
              <a:defRPr>
                <a:solidFill>
                  <a:schemeClr val="bg1"/>
                </a:solidFill>
              </a:defRPr>
            </a:lvl1pPr>
          </a:lstStyle>
          <a:p>
            <a:r>
              <a:rPr lang="en-US"/>
              <a:t>Document Nam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32B354EE-31EA-4FC2-9496-7B6202183237}" type="slidenum">
              <a:rPr lang="en-US" smtClean="0"/>
              <a:pPr/>
              <a:t>‹#›</a:t>
            </a:fld>
            <a:endParaRPr lang="en-US"/>
          </a:p>
        </p:txBody>
      </p:sp>
      <p:sp>
        <p:nvSpPr>
          <p:cNvPr id="19" name="Title 18">
            <a:extLst>
              <a:ext uri="{FF2B5EF4-FFF2-40B4-BE49-F238E27FC236}">
                <a16:creationId xmlns:a16="http://schemas.microsoft.com/office/drawing/2014/main" id="{B47DF7D0-E13C-497A-8A71-C5A8B4D7F67C}"/>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grpSp>
        <p:nvGrpSpPr>
          <p:cNvPr id="41" name="Group 4">
            <a:extLst>
              <a:ext uri="{FF2B5EF4-FFF2-40B4-BE49-F238E27FC236}">
                <a16:creationId xmlns:a16="http://schemas.microsoft.com/office/drawing/2014/main" id="{F531DBA6-9C21-4EFC-9D99-C142DD7BC522}"/>
              </a:ext>
            </a:extLst>
          </p:cNvPr>
          <p:cNvGrpSpPr>
            <a:grpSpLocks noChangeAspect="1"/>
          </p:cNvGrpSpPr>
          <p:nvPr/>
        </p:nvGrpSpPr>
        <p:grpSpPr bwMode="auto">
          <a:xfrm>
            <a:off x="10432850" y="6330937"/>
            <a:ext cx="1346400" cy="188639"/>
            <a:chOff x="0" y="1622"/>
            <a:chExt cx="7680" cy="1076"/>
          </a:xfrm>
          <a:solidFill>
            <a:schemeClr val="bg1"/>
          </a:solidFill>
        </p:grpSpPr>
        <p:sp>
          <p:nvSpPr>
            <p:cNvPr id="42" name="Freeform 5">
              <a:extLst>
                <a:ext uri="{FF2B5EF4-FFF2-40B4-BE49-F238E27FC236}">
                  <a16:creationId xmlns:a16="http://schemas.microsoft.com/office/drawing/2014/main" id="{E3A63CBD-692C-478F-BACD-8B0D1849FFA9}"/>
                </a:ext>
              </a:extLst>
            </p:cNvPr>
            <p:cNvSpPr>
              <a:spLocks/>
            </p:cNvSpPr>
            <p:nvPr/>
          </p:nvSpPr>
          <p:spPr bwMode="auto">
            <a:xfrm>
              <a:off x="1489" y="1874"/>
              <a:ext cx="479" cy="565"/>
            </a:xfrm>
            <a:custGeom>
              <a:avLst/>
              <a:gdLst>
                <a:gd name="T0" fmla="*/ 766 w 766"/>
                <a:gd name="T1" fmla="*/ 745 h 903"/>
                <a:gd name="T2" fmla="*/ 447 w 766"/>
                <a:gd name="T3" fmla="*/ 903 h 903"/>
                <a:gd name="T4" fmla="*/ 0 w 766"/>
                <a:gd name="T5" fmla="*/ 452 h 903"/>
                <a:gd name="T6" fmla="*/ 447 w 766"/>
                <a:gd name="T7" fmla="*/ 0 h 903"/>
                <a:gd name="T8" fmla="*/ 745 w 766"/>
                <a:gd name="T9" fmla="*/ 136 h 903"/>
                <a:gd name="T10" fmla="*/ 668 w 766"/>
                <a:gd name="T11" fmla="*/ 193 h 903"/>
                <a:gd name="T12" fmla="*/ 447 w 766"/>
                <a:gd name="T13" fmla="*/ 80 h 903"/>
                <a:gd name="T14" fmla="*/ 94 w 766"/>
                <a:gd name="T15" fmla="*/ 452 h 903"/>
                <a:gd name="T16" fmla="*/ 447 w 766"/>
                <a:gd name="T17" fmla="*/ 823 h 903"/>
                <a:gd name="T18" fmla="*/ 694 w 766"/>
                <a:gd name="T19" fmla="*/ 694 h 903"/>
                <a:gd name="T20" fmla="*/ 766 w 766"/>
                <a:gd name="T21" fmla="*/ 745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6" h="903">
                  <a:moveTo>
                    <a:pt x="766" y="745"/>
                  </a:moveTo>
                  <a:cubicBezTo>
                    <a:pt x="708" y="834"/>
                    <a:pt x="590" y="903"/>
                    <a:pt x="447" y="903"/>
                  </a:cubicBezTo>
                  <a:cubicBezTo>
                    <a:pt x="192" y="903"/>
                    <a:pt x="0" y="713"/>
                    <a:pt x="0" y="452"/>
                  </a:cubicBezTo>
                  <a:cubicBezTo>
                    <a:pt x="0" y="191"/>
                    <a:pt x="192" y="0"/>
                    <a:pt x="447" y="0"/>
                  </a:cubicBezTo>
                  <a:cubicBezTo>
                    <a:pt x="554" y="0"/>
                    <a:pt x="670" y="40"/>
                    <a:pt x="745" y="136"/>
                  </a:cubicBezTo>
                  <a:cubicBezTo>
                    <a:pt x="668" y="193"/>
                    <a:pt x="668" y="193"/>
                    <a:pt x="668" y="193"/>
                  </a:cubicBezTo>
                  <a:cubicBezTo>
                    <a:pt x="634" y="137"/>
                    <a:pt x="539" y="80"/>
                    <a:pt x="447" y="80"/>
                  </a:cubicBezTo>
                  <a:cubicBezTo>
                    <a:pt x="226" y="80"/>
                    <a:pt x="94" y="254"/>
                    <a:pt x="94" y="452"/>
                  </a:cubicBezTo>
                  <a:cubicBezTo>
                    <a:pt x="94" y="650"/>
                    <a:pt x="226" y="823"/>
                    <a:pt x="447" y="823"/>
                  </a:cubicBezTo>
                  <a:cubicBezTo>
                    <a:pt x="537" y="823"/>
                    <a:pt x="630" y="793"/>
                    <a:pt x="694" y="694"/>
                  </a:cubicBezTo>
                  <a:lnTo>
                    <a:pt x="766" y="7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6">
              <a:extLst>
                <a:ext uri="{FF2B5EF4-FFF2-40B4-BE49-F238E27FC236}">
                  <a16:creationId xmlns:a16="http://schemas.microsoft.com/office/drawing/2014/main" id="{963E2CA8-1F02-4F96-B4D4-FEFB6C22707E}"/>
                </a:ext>
              </a:extLst>
            </p:cNvPr>
            <p:cNvSpPr>
              <a:spLocks noEditPoints="1"/>
            </p:cNvSpPr>
            <p:nvPr/>
          </p:nvSpPr>
          <p:spPr bwMode="auto">
            <a:xfrm>
              <a:off x="2014" y="1874"/>
              <a:ext cx="560" cy="565"/>
            </a:xfrm>
            <a:custGeom>
              <a:avLst/>
              <a:gdLst>
                <a:gd name="T0" fmla="*/ 448 w 896"/>
                <a:gd name="T1" fmla="*/ 80 h 903"/>
                <a:gd name="T2" fmla="*/ 95 w 896"/>
                <a:gd name="T3" fmla="*/ 452 h 903"/>
                <a:gd name="T4" fmla="*/ 448 w 896"/>
                <a:gd name="T5" fmla="*/ 823 h 903"/>
                <a:gd name="T6" fmla="*/ 801 w 896"/>
                <a:gd name="T7" fmla="*/ 452 h 903"/>
                <a:gd name="T8" fmla="*/ 448 w 896"/>
                <a:gd name="T9" fmla="*/ 80 h 903"/>
                <a:gd name="T10" fmla="*/ 448 w 896"/>
                <a:gd name="T11" fmla="*/ 903 h 903"/>
                <a:gd name="T12" fmla="*/ 0 w 896"/>
                <a:gd name="T13" fmla="*/ 452 h 903"/>
                <a:gd name="T14" fmla="*/ 448 w 896"/>
                <a:gd name="T15" fmla="*/ 0 h 903"/>
                <a:gd name="T16" fmla="*/ 896 w 896"/>
                <a:gd name="T17" fmla="*/ 452 h 903"/>
                <a:gd name="T18" fmla="*/ 448 w 896"/>
                <a:gd name="T19" fmla="*/ 903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6" h="903">
                  <a:moveTo>
                    <a:pt x="448" y="80"/>
                  </a:moveTo>
                  <a:cubicBezTo>
                    <a:pt x="227" y="80"/>
                    <a:pt x="95" y="254"/>
                    <a:pt x="95" y="452"/>
                  </a:cubicBezTo>
                  <a:cubicBezTo>
                    <a:pt x="95" y="649"/>
                    <a:pt x="227" y="823"/>
                    <a:pt x="448" y="823"/>
                  </a:cubicBezTo>
                  <a:cubicBezTo>
                    <a:pt x="669" y="823"/>
                    <a:pt x="801" y="649"/>
                    <a:pt x="801" y="452"/>
                  </a:cubicBezTo>
                  <a:cubicBezTo>
                    <a:pt x="801" y="254"/>
                    <a:pt x="669" y="80"/>
                    <a:pt x="448" y="80"/>
                  </a:cubicBezTo>
                  <a:moveTo>
                    <a:pt x="448" y="903"/>
                  </a:moveTo>
                  <a:cubicBezTo>
                    <a:pt x="192" y="903"/>
                    <a:pt x="0" y="712"/>
                    <a:pt x="0" y="452"/>
                  </a:cubicBezTo>
                  <a:cubicBezTo>
                    <a:pt x="0" y="191"/>
                    <a:pt x="192" y="0"/>
                    <a:pt x="448" y="0"/>
                  </a:cubicBezTo>
                  <a:cubicBezTo>
                    <a:pt x="704" y="0"/>
                    <a:pt x="896" y="191"/>
                    <a:pt x="896" y="452"/>
                  </a:cubicBezTo>
                  <a:cubicBezTo>
                    <a:pt x="896" y="712"/>
                    <a:pt x="704" y="903"/>
                    <a:pt x="448" y="90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7">
              <a:extLst>
                <a:ext uri="{FF2B5EF4-FFF2-40B4-BE49-F238E27FC236}">
                  <a16:creationId xmlns:a16="http://schemas.microsoft.com/office/drawing/2014/main" id="{38B204D6-D354-45FB-B6FD-62A4072CEF1C}"/>
                </a:ext>
              </a:extLst>
            </p:cNvPr>
            <p:cNvSpPr>
              <a:spLocks/>
            </p:cNvSpPr>
            <p:nvPr/>
          </p:nvSpPr>
          <p:spPr bwMode="auto">
            <a:xfrm>
              <a:off x="2672" y="1888"/>
              <a:ext cx="305" cy="538"/>
            </a:xfrm>
            <a:custGeom>
              <a:avLst/>
              <a:gdLst>
                <a:gd name="T0" fmla="*/ 0 w 305"/>
                <a:gd name="T1" fmla="*/ 0 h 538"/>
                <a:gd name="T2" fmla="*/ 0 w 305"/>
                <a:gd name="T3" fmla="*/ 538 h 538"/>
                <a:gd name="T4" fmla="*/ 305 w 305"/>
                <a:gd name="T5" fmla="*/ 538 h 538"/>
                <a:gd name="T6" fmla="*/ 305 w 305"/>
                <a:gd name="T7" fmla="*/ 488 h 538"/>
                <a:gd name="T8" fmla="*/ 55 w 305"/>
                <a:gd name="T9" fmla="*/ 488 h 538"/>
                <a:gd name="T10" fmla="*/ 55 w 305"/>
                <a:gd name="T11" fmla="*/ 0 h 538"/>
                <a:gd name="T12" fmla="*/ 0 w 305"/>
                <a:gd name="T13" fmla="*/ 0 h 538"/>
              </a:gdLst>
              <a:ahLst/>
              <a:cxnLst>
                <a:cxn ang="0">
                  <a:pos x="T0" y="T1"/>
                </a:cxn>
                <a:cxn ang="0">
                  <a:pos x="T2" y="T3"/>
                </a:cxn>
                <a:cxn ang="0">
                  <a:pos x="T4" y="T5"/>
                </a:cxn>
                <a:cxn ang="0">
                  <a:pos x="T6" y="T7"/>
                </a:cxn>
                <a:cxn ang="0">
                  <a:pos x="T8" y="T9"/>
                </a:cxn>
                <a:cxn ang="0">
                  <a:pos x="T10" y="T11"/>
                </a:cxn>
                <a:cxn ang="0">
                  <a:pos x="T12" y="T13"/>
                </a:cxn>
              </a:cxnLst>
              <a:rect l="0" t="0" r="r" b="b"/>
              <a:pathLst>
                <a:path w="305" h="538">
                  <a:moveTo>
                    <a:pt x="0" y="0"/>
                  </a:moveTo>
                  <a:lnTo>
                    <a:pt x="0" y="538"/>
                  </a:lnTo>
                  <a:lnTo>
                    <a:pt x="305" y="538"/>
                  </a:lnTo>
                  <a:lnTo>
                    <a:pt x="305" y="488"/>
                  </a:lnTo>
                  <a:lnTo>
                    <a:pt x="55" y="488"/>
                  </a:lnTo>
                  <a:lnTo>
                    <a:pt x="55"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8">
              <a:extLst>
                <a:ext uri="{FF2B5EF4-FFF2-40B4-BE49-F238E27FC236}">
                  <a16:creationId xmlns:a16="http://schemas.microsoft.com/office/drawing/2014/main" id="{6C351C69-0634-4E8F-88D1-FF6F43009C23}"/>
                </a:ext>
              </a:extLst>
            </p:cNvPr>
            <p:cNvSpPr>
              <a:spLocks noEditPoints="1"/>
            </p:cNvSpPr>
            <p:nvPr/>
          </p:nvSpPr>
          <p:spPr bwMode="auto">
            <a:xfrm>
              <a:off x="2997" y="1874"/>
              <a:ext cx="561" cy="565"/>
            </a:xfrm>
            <a:custGeom>
              <a:avLst/>
              <a:gdLst>
                <a:gd name="T0" fmla="*/ 448 w 896"/>
                <a:gd name="T1" fmla="*/ 80 h 903"/>
                <a:gd name="T2" fmla="*/ 95 w 896"/>
                <a:gd name="T3" fmla="*/ 452 h 903"/>
                <a:gd name="T4" fmla="*/ 448 w 896"/>
                <a:gd name="T5" fmla="*/ 823 h 903"/>
                <a:gd name="T6" fmla="*/ 801 w 896"/>
                <a:gd name="T7" fmla="*/ 452 h 903"/>
                <a:gd name="T8" fmla="*/ 448 w 896"/>
                <a:gd name="T9" fmla="*/ 80 h 903"/>
                <a:gd name="T10" fmla="*/ 448 w 896"/>
                <a:gd name="T11" fmla="*/ 903 h 903"/>
                <a:gd name="T12" fmla="*/ 0 w 896"/>
                <a:gd name="T13" fmla="*/ 452 h 903"/>
                <a:gd name="T14" fmla="*/ 448 w 896"/>
                <a:gd name="T15" fmla="*/ 0 h 903"/>
                <a:gd name="T16" fmla="*/ 896 w 896"/>
                <a:gd name="T17" fmla="*/ 452 h 903"/>
                <a:gd name="T18" fmla="*/ 448 w 896"/>
                <a:gd name="T19" fmla="*/ 903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6" h="903">
                  <a:moveTo>
                    <a:pt x="448" y="80"/>
                  </a:moveTo>
                  <a:cubicBezTo>
                    <a:pt x="227" y="80"/>
                    <a:pt x="95" y="254"/>
                    <a:pt x="95" y="452"/>
                  </a:cubicBezTo>
                  <a:cubicBezTo>
                    <a:pt x="95" y="649"/>
                    <a:pt x="227" y="823"/>
                    <a:pt x="448" y="823"/>
                  </a:cubicBezTo>
                  <a:cubicBezTo>
                    <a:pt x="669" y="823"/>
                    <a:pt x="801" y="649"/>
                    <a:pt x="801" y="452"/>
                  </a:cubicBezTo>
                  <a:cubicBezTo>
                    <a:pt x="801" y="254"/>
                    <a:pt x="669" y="80"/>
                    <a:pt x="448" y="80"/>
                  </a:cubicBezTo>
                  <a:moveTo>
                    <a:pt x="448" y="903"/>
                  </a:moveTo>
                  <a:cubicBezTo>
                    <a:pt x="192" y="903"/>
                    <a:pt x="0" y="712"/>
                    <a:pt x="0" y="452"/>
                  </a:cubicBezTo>
                  <a:cubicBezTo>
                    <a:pt x="0" y="191"/>
                    <a:pt x="192" y="0"/>
                    <a:pt x="448" y="0"/>
                  </a:cubicBezTo>
                  <a:cubicBezTo>
                    <a:pt x="704" y="0"/>
                    <a:pt x="896" y="191"/>
                    <a:pt x="896" y="452"/>
                  </a:cubicBezTo>
                  <a:cubicBezTo>
                    <a:pt x="896" y="712"/>
                    <a:pt x="704" y="903"/>
                    <a:pt x="448" y="90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9">
              <a:extLst>
                <a:ext uri="{FF2B5EF4-FFF2-40B4-BE49-F238E27FC236}">
                  <a16:creationId xmlns:a16="http://schemas.microsoft.com/office/drawing/2014/main" id="{E57E84E7-25CC-4AB4-BF6D-BA6223B0CA5D}"/>
                </a:ext>
              </a:extLst>
            </p:cNvPr>
            <p:cNvSpPr>
              <a:spLocks/>
            </p:cNvSpPr>
            <p:nvPr/>
          </p:nvSpPr>
          <p:spPr bwMode="auto">
            <a:xfrm>
              <a:off x="4182" y="1888"/>
              <a:ext cx="503" cy="538"/>
            </a:xfrm>
            <a:custGeom>
              <a:avLst/>
              <a:gdLst>
                <a:gd name="T0" fmla="*/ 0 w 503"/>
                <a:gd name="T1" fmla="*/ 0 h 538"/>
                <a:gd name="T2" fmla="*/ 119 w 503"/>
                <a:gd name="T3" fmla="*/ 0 h 538"/>
                <a:gd name="T4" fmla="*/ 119 w 503"/>
                <a:gd name="T5" fmla="*/ 243 h 538"/>
                <a:gd name="T6" fmla="*/ 327 w 503"/>
                <a:gd name="T7" fmla="*/ 0 h 538"/>
                <a:gd name="T8" fmla="*/ 482 w 503"/>
                <a:gd name="T9" fmla="*/ 0 h 538"/>
                <a:gd name="T10" fmla="*/ 243 w 503"/>
                <a:gd name="T11" fmla="*/ 270 h 538"/>
                <a:gd name="T12" fmla="*/ 503 w 503"/>
                <a:gd name="T13" fmla="*/ 538 h 538"/>
                <a:gd name="T14" fmla="*/ 337 w 503"/>
                <a:gd name="T15" fmla="*/ 538 h 538"/>
                <a:gd name="T16" fmla="*/ 119 w 503"/>
                <a:gd name="T17" fmla="*/ 302 h 538"/>
                <a:gd name="T18" fmla="*/ 119 w 503"/>
                <a:gd name="T19" fmla="*/ 538 h 538"/>
                <a:gd name="T20" fmla="*/ 0 w 503"/>
                <a:gd name="T21" fmla="*/ 538 h 538"/>
                <a:gd name="T22" fmla="*/ 0 w 503"/>
                <a:gd name="T23"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3" h="538">
                  <a:moveTo>
                    <a:pt x="0" y="0"/>
                  </a:moveTo>
                  <a:lnTo>
                    <a:pt x="119" y="0"/>
                  </a:lnTo>
                  <a:lnTo>
                    <a:pt x="119" y="243"/>
                  </a:lnTo>
                  <a:lnTo>
                    <a:pt x="327" y="0"/>
                  </a:lnTo>
                  <a:lnTo>
                    <a:pt x="482" y="0"/>
                  </a:lnTo>
                  <a:lnTo>
                    <a:pt x="243" y="270"/>
                  </a:lnTo>
                  <a:lnTo>
                    <a:pt x="503" y="538"/>
                  </a:lnTo>
                  <a:lnTo>
                    <a:pt x="337" y="538"/>
                  </a:lnTo>
                  <a:lnTo>
                    <a:pt x="119" y="302"/>
                  </a:lnTo>
                  <a:lnTo>
                    <a:pt x="119" y="538"/>
                  </a:lnTo>
                  <a:lnTo>
                    <a:pt x="0" y="53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Rectangle 10">
              <a:extLst>
                <a:ext uri="{FF2B5EF4-FFF2-40B4-BE49-F238E27FC236}">
                  <a16:creationId xmlns:a16="http://schemas.microsoft.com/office/drawing/2014/main" id="{05DA7E05-A706-46A5-9865-2DF81E625FB5}"/>
                </a:ext>
              </a:extLst>
            </p:cNvPr>
            <p:cNvSpPr>
              <a:spLocks noChangeArrowheads="1"/>
            </p:cNvSpPr>
            <p:nvPr/>
          </p:nvSpPr>
          <p:spPr bwMode="auto">
            <a:xfrm>
              <a:off x="4743" y="1888"/>
              <a:ext cx="118" cy="5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11">
              <a:extLst>
                <a:ext uri="{FF2B5EF4-FFF2-40B4-BE49-F238E27FC236}">
                  <a16:creationId xmlns:a16="http://schemas.microsoft.com/office/drawing/2014/main" id="{2734E26B-D7B5-47AB-93E8-409B6614B4E7}"/>
                </a:ext>
              </a:extLst>
            </p:cNvPr>
            <p:cNvSpPr>
              <a:spLocks/>
            </p:cNvSpPr>
            <p:nvPr/>
          </p:nvSpPr>
          <p:spPr bwMode="auto">
            <a:xfrm>
              <a:off x="4980" y="1888"/>
              <a:ext cx="509" cy="538"/>
            </a:xfrm>
            <a:custGeom>
              <a:avLst/>
              <a:gdLst>
                <a:gd name="T0" fmla="*/ 0 w 509"/>
                <a:gd name="T1" fmla="*/ 0 h 538"/>
                <a:gd name="T2" fmla="*/ 160 w 509"/>
                <a:gd name="T3" fmla="*/ 0 h 538"/>
                <a:gd name="T4" fmla="*/ 389 w 509"/>
                <a:gd name="T5" fmla="*/ 374 h 538"/>
                <a:gd name="T6" fmla="*/ 391 w 509"/>
                <a:gd name="T7" fmla="*/ 374 h 538"/>
                <a:gd name="T8" fmla="*/ 391 w 509"/>
                <a:gd name="T9" fmla="*/ 0 h 538"/>
                <a:gd name="T10" fmla="*/ 509 w 509"/>
                <a:gd name="T11" fmla="*/ 0 h 538"/>
                <a:gd name="T12" fmla="*/ 509 w 509"/>
                <a:gd name="T13" fmla="*/ 538 h 538"/>
                <a:gd name="T14" fmla="*/ 354 w 509"/>
                <a:gd name="T15" fmla="*/ 538 h 538"/>
                <a:gd name="T16" fmla="*/ 120 w 509"/>
                <a:gd name="T17" fmla="*/ 155 h 538"/>
                <a:gd name="T18" fmla="*/ 118 w 509"/>
                <a:gd name="T19" fmla="*/ 155 h 538"/>
                <a:gd name="T20" fmla="*/ 118 w 509"/>
                <a:gd name="T21" fmla="*/ 538 h 538"/>
                <a:gd name="T22" fmla="*/ 0 w 509"/>
                <a:gd name="T23" fmla="*/ 538 h 538"/>
                <a:gd name="T24" fmla="*/ 0 w 509"/>
                <a:gd name="T25"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9" h="538">
                  <a:moveTo>
                    <a:pt x="0" y="0"/>
                  </a:moveTo>
                  <a:lnTo>
                    <a:pt x="160" y="0"/>
                  </a:lnTo>
                  <a:lnTo>
                    <a:pt x="389" y="374"/>
                  </a:lnTo>
                  <a:lnTo>
                    <a:pt x="391" y="374"/>
                  </a:lnTo>
                  <a:lnTo>
                    <a:pt x="391" y="0"/>
                  </a:lnTo>
                  <a:lnTo>
                    <a:pt x="509" y="0"/>
                  </a:lnTo>
                  <a:lnTo>
                    <a:pt x="509" y="538"/>
                  </a:lnTo>
                  <a:lnTo>
                    <a:pt x="354" y="538"/>
                  </a:lnTo>
                  <a:lnTo>
                    <a:pt x="120" y="155"/>
                  </a:lnTo>
                  <a:lnTo>
                    <a:pt x="118" y="155"/>
                  </a:lnTo>
                  <a:lnTo>
                    <a:pt x="118" y="538"/>
                  </a:lnTo>
                  <a:lnTo>
                    <a:pt x="0" y="53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12">
              <a:extLst>
                <a:ext uri="{FF2B5EF4-FFF2-40B4-BE49-F238E27FC236}">
                  <a16:creationId xmlns:a16="http://schemas.microsoft.com/office/drawing/2014/main" id="{7E1B3A85-079F-4992-80B2-3352761788A2}"/>
                </a:ext>
              </a:extLst>
            </p:cNvPr>
            <p:cNvSpPr>
              <a:spLocks/>
            </p:cNvSpPr>
            <p:nvPr/>
          </p:nvSpPr>
          <p:spPr bwMode="auto">
            <a:xfrm>
              <a:off x="5608" y="1888"/>
              <a:ext cx="378" cy="538"/>
            </a:xfrm>
            <a:custGeom>
              <a:avLst/>
              <a:gdLst>
                <a:gd name="T0" fmla="*/ 0 w 378"/>
                <a:gd name="T1" fmla="*/ 0 h 538"/>
                <a:gd name="T2" fmla="*/ 0 w 378"/>
                <a:gd name="T3" fmla="*/ 538 h 538"/>
                <a:gd name="T4" fmla="*/ 378 w 378"/>
                <a:gd name="T5" fmla="*/ 538 h 538"/>
                <a:gd name="T6" fmla="*/ 378 w 378"/>
                <a:gd name="T7" fmla="*/ 433 h 538"/>
                <a:gd name="T8" fmla="*/ 118 w 378"/>
                <a:gd name="T9" fmla="*/ 433 h 538"/>
                <a:gd name="T10" fmla="*/ 118 w 378"/>
                <a:gd name="T11" fmla="*/ 319 h 538"/>
                <a:gd name="T12" fmla="*/ 351 w 378"/>
                <a:gd name="T13" fmla="*/ 319 h 538"/>
                <a:gd name="T14" fmla="*/ 351 w 378"/>
                <a:gd name="T15" fmla="*/ 210 h 538"/>
                <a:gd name="T16" fmla="*/ 118 w 378"/>
                <a:gd name="T17" fmla="*/ 210 h 538"/>
                <a:gd name="T18" fmla="*/ 118 w 378"/>
                <a:gd name="T19" fmla="*/ 105 h 538"/>
                <a:gd name="T20" fmla="*/ 364 w 378"/>
                <a:gd name="T21" fmla="*/ 105 h 538"/>
                <a:gd name="T22" fmla="*/ 364 w 378"/>
                <a:gd name="T23" fmla="*/ 0 h 538"/>
                <a:gd name="T24" fmla="*/ 0 w 378"/>
                <a:gd name="T25"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8" h="538">
                  <a:moveTo>
                    <a:pt x="0" y="0"/>
                  </a:moveTo>
                  <a:lnTo>
                    <a:pt x="0" y="538"/>
                  </a:lnTo>
                  <a:lnTo>
                    <a:pt x="378" y="538"/>
                  </a:lnTo>
                  <a:lnTo>
                    <a:pt x="378" y="433"/>
                  </a:lnTo>
                  <a:lnTo>
                    <a:pt x="118" y="433"/>
                  </a:lnTo>
                  <a:lnTo>
                    <a:pt x="118" y="319"/>
                  </a:lnTo>
                  <a:lnTo>
                    <a:pt x="351" y="319"/>
                  </a:lnTo>
                  <a:lnTo>
                    <a:pt x="351" y="210"/>
                  </a:lnTo>
                  <a:lnTo>
                    <a:pt x="118" y="210"/>
                  </a:lnTo>
                  <a:lnTo>
                    <a:pt x="118" y="105"/>
                  </a:lnTo>
                  <a:lnTo>
                    <a:pt x="364" y="105"/>
                  </a:lnTo>
                  <a:lnTo>
                    <a:pt x="364"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13">
              <a:extLst>
                <a:ext uri="{FF2B5EF4-FFF2-40B4-BE49-F238E27FC236}">
                  <a16:creationId xmlns:a16="http://schemas.microsoft.com/office/drawing/2014/main" id="{64C3D14E-A4C2-4F48-B397-FE3811D6FF6B}"/>
                </a:ext>
              </a:extLst>
            </p:cNvPr>
            <p:cNvSpPr>
              <a:spLocks/>
            </p:cNvSpPr>
            <p:nvPr/>
          </p:nvSpPr>
          <p:spPr bwMode="auto">
            <a:xfrm>
              <a:off x="6052" y="1888"/>
              <a:ext cx="424" cy="538"/>
            </a:xfrm>
            <a:custGeom>
              <a:avLst/>
              <a:gdLst>
                <a:gd name="T0" fmla="*/ 0 w 424"/>
                <a:gd name="T1" fmla="*/ 0 h 538"/>
                <a:gd name="T2" fmla="*/ 0 w 424"/>
                <a:gd name="T3" fmla="*/ 105 h 538"/>
                <a:gd name="T4" fmla="*/ 152 w 424"/>
                <a:gd name="T5" fmla="*/ 105 h 538"/>
                <a:gd name="T6" fmla="*/ 152 w 424"/>
                <a:gd name="T7" fmla="*/ 538 h 538"/>
                <a:gd name="T8" fmla="*/ 271 w 424"/>
                <a:gd name="T9" fmla="*/ 538 h 538"/>
                <a:gd name="T10" fmla="*/ 271 w 424"/>
                <a:gd name="T11" fmla="*/ 105 h 538"/>
                <a:gd name="T12" fmla="*/ 424 w 424"/>
                <a:gd name="T13" fmla="*/ 105 h 538"/>
                <a:gd name="T14" fmla="*/ 424 w 424"/>
                <a:gd name="T15" fmla="*/ 0 h 538"/>
                <a:gd name="T16" fmla="*/ 0 w 424"/>
                <a:gd name="T17"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4" h="538">
                  <a:moveTo>
                    <a:pt x="0" y="0"/>
                  </a:moveTo>
                  <a:lnTo>
                    <a:pt x="0" y="105"/>
                  </a:lnTo>
                  <a:lnTo>
                    <a:pt x="152" y="105"/>
                  </a:lnTo>
                  <a:lnTo>
                    <a:pt x="152" y="538"/>
                  </a:lnTo>
                  <a:lnTo>
                    <a:pt x="271" y="538"/>
                  </a:lnTo>
                  <a:lnTo>
                    <a:pt x="271" y="105"/>
                  </a:lnTo>
                  <a:lnTo>
                    <a:pt x="424" y="105"/>
                  </a:lnTo>
                  <a:lnTo>
                    <a:pt x="424"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14">
              <a:extLst>
                <a:ext uri="{FF2B5EF4-FFF2-40B4-BE49-F238E27FC236}">
                  <a16:creationId xmlns:a16="http://schemas.microsoft.com/office/drawing/2014/main" id="{BCC64368-444D-4BC9-AACD-4234858F6F20}"/>
                </a:ext>
              </a:extLst>
            </p:cNvPr>
            <p:cNvSpPr>
              <a:spLocks noChangeArrowheads="1"/>
            </p:cNvSpPr>
            <p:nvPr/>
          </p:nvSpPr>
          <p:spPr bwMode="auto">
            <a:xfrm>
              <a:off x="6554" y="1888"/>
              <a:ext cx="119" cy="5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15">
              <a:extLst>
                <a:ext uri="{FF2B5EF4-FFF2-40B4-BE49-F238E27FC236}">
                  <a16:creationId xmlns:a16="http://schemas.microsoft.com/office/drawing/2014/main" id="{4B2867E3-DDA3-41E2-91A4-645678CC42F6}"/>
                </a:ext>
              </a:extLst>
            </p:cNvPr>
            <p:cNvSpPr>
              <a:spLocks noEditPoints="1"/>
            </p:cNvSpPr>
            <p:nvPr/>
          </p:nvSpPr>
          <p:spPr bwMode="auto">
            <a:xfrm>
              <a:off x="3658" y="1888"/>
              <a:ext cx="383" cy="538"/>
            </a:xfrm>
            <a:custGeom>
              <a:avLst/>
              <a:gdLst>
                <a:gd name="T0" fmla="*/ 87 w 613"/>
                <a:gd name="T1" fmla="*/ 376 h 859"/>
                <a:gd name="T2" fmla="*/ 278 w 613"/>
                <a:gd name="T3" fmla="*/ 376 h 859"/>
                <a:gd name="T4" fmla="*/ 462 w 613"/>
                <a:gd name="T5" fmla="*/ 228 h 859"/>
                <a:gd name="T6" fmla="*/ 278 w 613"/>
                <a:gd name="T7" fmla="*/ 82 h 859"/>
                <a:gd name="T8" fmla="*/ 87 w 613"/>
                <a:gd name="T9" fmla="*/ 82 h 859"/>
                <a:gd name="T10" fmla="*/ 87 w 613"/>
                <a:gd name="T11" fmla="*/ 376 h 859"/>
                <a:gd name="T12" fmla="*/ 497 w 613"/>
                <a:gd name="T13" fmla="*/ 859 h 859"/>
                <a:gd name="T14" fmla="*/ 87 w 613"/>
                <a:gd name="T15" fmla="*/ 428 h 859"/>
                <a:gd name="T16" fmla="*/ 87 w 613"/>
                <a:gd name="T17" fmla="*/ 859 h 859"/>
                <a:gd name="T18" fmla="*/ 0 w 613"/>
                <a:gd name="T19" fmla="*/ 859 h 859"/>
                <a:gd name="T20" fmla="*/ 0 w 613"/>
                <a:gd name="T21" fmla="*/ 0 h 859"/>
                <a:gd name="T22" fmla="*/ 270 w 613"/>
                <a:gd name="T23" fmla="*/ 0 h 859"/>
                <a:gd name="T24" fmla="*/ 555 w 613"/>
                <a:gd name="T25" fmla="*/ 228 h 859"/>
                <a:gd name="T26" fmla="*/ 270 w 613"/>
                <a:gd name="T27" fmla="*/ 453 h 859"/>
                <a:gd name="T28" fmla="*/ 222 w 613"/>
                <a:gd name="T29" fmla="*/ 453 h 859"/>
                <a:gd name="T30" fmla="*/ 613 w 613"/>
                <a:gd name="T31" fmla="*/ 859 h 859"/>
                <a:gd name="T32" fmla="*/ 497 w 613"/>
                <a:gd name="T33" fmla="*/ 859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13" h="859">
                  <a:moveTo>
                    <a:pt x="87" y="376"/>
                  </a:moveTo>
                  <a:cubicBezTo>
                    <a:pt x="278" y="376"/>
                    <a:pt x="278" y="376"/>
                    <a:pt x="278" y="376"/>
                  </a:cubicBezTo>
                  <a:cubicBezTo>
                    <a:pt x="396" y="376"/>
                    <a:pt x="462" y="328"/>
                    <a:pt x="462" y="228"/>
                  </a:cubicBezTo>
                  <a:cubicBezTo>
                    <a:pt x="462" y="129"/>
                    <a:pt x="396" y="82"/>
                    <a:pt x="278" y="82"/>
                  </a:cubicBezTo>
                  <a:cubicBezTo>
                    <a:pt x="87" y="82"/>
                    <a:pt x="87" y="82"/>
                    <a:pt x="87" y="82"/>
                  </a:cubicBezTo>
                  <a:lnTo>
                    <a:pt x="87" y="376"/>
                  </a:lnTo>
                  <a:close/>
                  <a:moveTo>
                    <a:pt x="497" y="859"/>
                  </a:moveTo>
                  <a:cubicBezTo>
                    <a:pt x="87" y="428"/>
                    <a:pt x="87" y="428"/>
                    <a:pt x="87" y="428"/>
                  </a:cubicBezTo>
                  <a:cubicBezTo>
                    <a:pt x="87" y="859"/>
                    <a:pt x="87" y="859"/>
                    <a:pt x="87" y="859"/>
                  </a:cubicBezTo>
                  <a:cubicBezTo>
                    <a:pt x="0" y="859"/>
                    <a:pt x="0" y="859"/>
                    <a:pt x="0" y="859"/>
                  </a:cubicBezTo>
                  <a:cubicBezTo>
                    <a:pt x="0" y="0"/>
                    <a:pt x="0" y="0"/>
                    <a:pt x="0" y="0"/>
                  </a:cubicBezTo>
                  <a:cubicBezTo>
                    <a:pt x="270" y="0"/>
                    <a:pt x="270" y="0"/>
                    <a:pt x="270" y="0"/>
                  </a:cubicBezTo>
                  <a:cubicBezTo>
                    <a:pt x="457" y="0"/>
                    <a:pt x="555" y="91"/>
                    <a:pt x="555" y="228"/>
                  </a:cubicBezTo>
                  <a:cubicBezTo>
                    <a:pt x="555" y="367"/>
                    <a:pt x="457" y="453"/>
                    <a:pt x="270" y="453"/>
                  </a:cubicBezTo>
                  <a:cubicBezTo>
                    <a:pt x="222" y="453"/>
                    <a:pt x="222" y="453"/>
                    <a:pt x="222" y="453"/>
                  </a:cubicBezTo>
                  <a:cubicBezTo>
                    <a:pt x="613" y="859"/>
                    <a:pt x="613" y="859"/>
                    <a:pt x="613" y="859"/>
                  </a:cubicBezTo>
                  <a:lnTo>
                    <a:pt x="497" y="8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16">
              <a:extLst>
                <a:ext uri="{FF2B5EF4-FFF2-40B4-BE49-F238E27FC236}">
                  <a16:creationId xmlns:a16="http://schemas.microsoft.com/office/drawing/2014/main" id="{EC222D36-7AF5-4738-9655-15F5992F1BAA}"/>
                </a:ext>
              </a:extLst>
            </p:cNvPr>
            <p:cNvSpPr>
              <a:spLocks/>
            </p:cNvSpPr>
            <p:nvPr/>
          </p:nvSpPr>
          <p:spPr bwMode="auto">
            <a:xfrm>
              <a:off x="6752" y="1881"/>
              <a:ext cx="476" cy="558"/>
            </a:xfrm>
            <a:custGeom>
              <a:avLst/>
              <a:gdLst>
                <a:gd name="T0" fmla="*/ 0 w 761"/>
                <a:gd name="T1" fmla="*/ 447 h 893"/>
                <a:gd name="T2" fmla="*/ 417 w 761"/>
                <a:gd name="T3" fmla="*/ 0 h 893"/>
                <a:gd name="T4" fmla="*/ 747 w 761"/>
                <a:gd name="T5" fmla="*/ 181 h 893"/>
                <a:gd name="T6" fmla="*/ 614 w 761"/>
                <a:gd name="T7" fmla="*/ 285 h 893"/>
                <a:gd name="T8" fmla="*/ 421 w 761"/>
                <a:gd name="T9" fmla="*/ 178 h 893"/>
                <a:gd name="T10" fmla="*/ 197 w 761"/>
                <a:gd name="T11" fmla="*/ 447 h 893"/>
                <a:gd name="T12" fmla="*/ 427 w 761"/>
                <a:gd name="T13" fmla="*/ 715 h 893"/>
                <a:gd name="T14" fmla="*/ 623 w 761"/>
                <a:gd name="T15" fmla="*/ 608 h 893"/>
                <a:gd name="T16" fmla="*/ 761 w 761"/>
                <a:gd name="T17" fmla="*/ 715 h 893"/>
                <a:gd name="T18" fmla="*/ 423 w 761"/>
                <a:gd name="T19" fmla="*/ 893 h 893"/>
                <a:gd name="T20" fmla="*/ 0 w 761"/>
                <a:gd name="T21" fmla="*/ 447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1" h="893">
                  <a:moveTo>
                    <a:pt x="0" y="447"/>
                  </a:moveTo>
                  <a:cubicBezTo>
                    <a:pt x="0" y="177"/>
                    <a:pt x="160" y="0"/>
                    <a:pt x="417" y="0"/>
                  </a:cubicBezTo>
                  <a:cubicBezTo>
                    <a:pt x="582" y="0"/>
                    <a:pt x="698" y="79"/>
                    <a:pt x="747" y="181"/>
                  </a:cubicBezTo>
                  <a:cubicBezTo>
                    <a:pt x="614" y="285"/>
                    <a:pt x="614" y="285"/>
                    <a:pt x="614" y="285"/>
                  </a:cubicBezTo>
                  <a:cubicBezTo>
                    <a:pt x="570" y="211"/>
                    <a:pt x="493" y="178"/>
                    <a:pt x="421" y="178"/>
                  </a:cubicBezTo>
                  <a:cubicBezTo>
                    <a:pt x="295" y="178"/>
                    <a:pt x="197" y="269"/>
                    <a:pt x="197" y="447"/>
                  </a:cubicBezTo>
                  <a:cubicBezTo>
                    <a:pt x="197" y="614"/>
                    <a:pt x="300" y="715"/>
                    <a:pt x="427" y="715"/>
                  </a:cubicBezTo>
                  <a:cubicBezTo>
                    <a:pt x="500" y="715"/>
                    <a:pt x="579" y="682"/>
                    <a:pt x="623" y="608"/>
                  </a:cubicBezTo>
                  <a:cubicBezTo>
                    <a:pt x="761" y="715"/>
                    <a:pt x="761" y="715"/>
                    <a:pt x="761" y="715"/>
                  </a:cubicBezTo>
                  <a:cubicBezTo>
                    <a:pt x="699" y="819"/>
                    <a:pt x="590" y="893"/>
                    <a:pt x="423" y="893"/>
                  </a:cubicBezTo>
                  <a:cubicBezTo>
                    <a:pt x="163" y="893"/>
                    <a:pt x="0" y="716"/>
                    <a:pt x="0" y="44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17">
              <a:extLst>
                <a:ext uri="{FF2B5EF4-FFF2-40B4-BE49-F238E27FC236}">
                  <a16:creationId xmlns:a16="http://schemas.microsoft.com/office/drawing/2014/main" id="{4C0D53D0-6590-47EA-A163-46D76FB8291B}"/>
                </a:ext>
              </a:extLst>
            </p:cNvPr>
            <p:cNvSpPr>
              <a:spLocks/>
            </p:cNvSpPr>
            <p:nvPr/>
          </p:nvSpPr>
          <p:spPr bwMode="auto">
            <a:xfrm>
              <a:off x="7271" y="1874"/>
              <a:ext cx="409" cy="565"/>
            </a:xfrm>
            <a:custGeom>
              <a:avLst/>
              <a:gdLst>
                <a:gd name="T0" fmla="*/ 404 w 654"/>
                <a:gd name="T1" fmla="*/ 376 h 903"/>
                <a:gd name="T2" fmla="*/ 287 w 654"/>
                <a:gd name="T3" fmla="*/ 354 h 903"/>
                <a:gd name="T4" fmla="*/ 202 w 654"/>
                <a:gd name="T5" fmla="*/ 264 h 903"/>
                <a:gd name="T6" fmla="*/ 321 w 654"/>
                <a:gd name="T7" fmla="*/ 171 h 903"/>
                <a:gd name="T8" fmla="*/ 478 w 654"/>
                <a:gd name="T9" fmla="*/ 270 h 903"/>
                <a:gd name="T10" fmla="*/ 617 w 654"/>
                <a:gd name="T11" fmla="*/ 163 h 903"/>
                <a:gd name="T12" fmla="*/ 322 w 654"/>
                <a:gd name="T13" fmla="*/ 0 h 903"/>
                <a:gd name="T14" fmla="*/ 12 w 654"/>
                <a:gd name="T15" fmla="*/ 279 h 903"/>
                <a:gd name="T16" fmla="*/ 247 w 654"/>
                <a:gd name="T17" fmla="*/ 523 h 903"/>
                <a:gd name="T18" fmla="*/ 366 w 654"/>
                <a:gd name="T19" fmla="*/ 546 h 903"/>
                <a:gd name="T20" fmla="*/ 459 w 654"/>
                <a:gd name="T21" fmla="*/ 642 h 903"/>
                <a:gd name="T22" fmla="*/ 336 w 654"/>
                <a:gd name="T23" fmla="*/ 734 h 903"/>
                <a:gd name="T24" fmla="*/ 143 w 654"/>
                <a:gd name="T25" fmla="*/ 594 h 903"/>
                <a:gd name="T26" fmla="*/ 0 w 654"/>
                <a:gd name="T27" fmla="*/ 704 h 903"/>
                <a:gd name="T28" fmla="*/ 334 w 654"/>
                <a:gd name="T29" fmla="*/ 903 h 903"/>
                <a:gd name="T30" fmla="*/ 654 w 654"/>
                <a:gd name="T31" fmla="*/ 629 h 903"/>
                <a:gd name="T32" fmla="*/ 404 w 654"/>
                <a:gd name="T33" fmla="*/ 376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4" h="903">
                  <a:moveTo>
                    <a:pt x="404" y="376"/>
                  </a:moveTo>
                  <a:cubicBezTo>
                    <a:pt x="287" y="354"/>
                    <a:pt x="287" y="354"/>
                    <a:pt x="287" y="354"/>
                  </a:cubicBezTo>
                  <a:cubicBezTo>
                    <a:pt x="228" y="344"/>
                    <a:pt x="202" y="305"/>
                    <a:pt x="202" y="264"/>
                  </a:cubicBezTo>
                  <a:cubicBezTo>
                    <a:pt x="202" y="216"/>
                    <a:pt x="249" y="171"/>
                    <a:pt x="321" y="171"/>
                  </a:cubicBezTo>
                  <a:cubicBezTo>
                    <a:pt x="403" y="171"/>
                    <a:pt x="451" y="222"/>
                    <a:pt x="478" y="270"/>
                  </a:cubicBezTo>
                  <a:cubicBezTo>
                    <a:pt x="617" y="163"/>
                    <a:pt x="617" y="163"/>
                    <a:pt x="617" y="163"/>
                  </a:cubicBezTo>
                  <a:cubicBezTo>
                    <a:pt x="578" y="79"/>
                    <a:pt x="491" y="0"/>
                    <a:pt x="322" y="0"/>
                  </a:cubicBezTo>
                  <a:cubicBezTo>
                    <a:pt x="156" y="0"/>
                    <a:pt x="12" y="115"/>
                    <a:pt x="12" y="279"/>
                  </a:cubicBezTo>
                  <a:cubicBezTo>
                    <a:pt x="12" y="407"/>
                    <a:pt x="101" y="496"/>
                    <a:pt x="247" y="523"/>
                  </a:cubicBezTo>
                  <a:cubicBezTo>
                    <a:pt x="366" y="546"/>
                    <a:pt x="366" y="546"/>
                    <a:pt x="366" y="546"/>
                  </a:cubicBezTo>
                  <a:cubicBezTo>
                    <a:pt x="423" y="557"/>
                    <a:pt x="459" y="597"/>
                    <a:pt x="459" y="642"/>
                  </a:cubicBezTo>
                  <a:cubicBezTo>
                    <a:pt x="459" y="695"/>
                    <a:pt x="413" y="734"/>
                    <a:pt x="336" y="734"/>
                  </a:cubicBezTo>
                  <a:cubicBezTo>
                    <a:pt x="219" y="734"/>
                    <a:pt x="161" y="649"/>
                    <a:pt x="143" y="594"/>
                  </a:cubicBezTo>
                  <a:cubicBezTo>
                    <a:pt x="0" y="704"/>
                    <a:pt x="0" y="704"/>
                    <a:pt x="0" y="704"/>
                  </a:cubicBezTo>
                  <a:cubicBezTo>
                    <a:pt x="41" y="806"/>
                    <a:pt x="144" y="903"/>
                    <a:pt x="334" y="903"/>
                  </a:cubicBezTo>
                  <a:cubicBezTo>
                    <a:pt x="541" y="903"/>
                    <a:pt x="654" y="765"/>
                    <a:pt x="654" y="629"/>
                  </a:cubicBezTo>
                  <a:cubicBezTo>
                    <a:pt x="654" y="506"/>
                    <a:pt x="569" y="407"/>
                    <a:pt x="404" y="37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18">
              <a:extLst>
                <a:ext uri="{FF2B5EF4-FFF2-40B4-BE49-F238E27FC236}">
                  <a16:creationId xmlns:a16="http://schemas.microsoft.com/office/drawing/2014/main" id="{428C190E-86C4-4F98-84B4-89A96F5F7EA4}"/>
                </a:ext>
              </a:extLst>
            </p:cNvPr>
            <p:cNvSpPr>
              <a:spLocks/>
            </p:cNvSpPr>
            <p:nvPr/>
          </p:nvSpPr>
          <p:spPr bwMode="auto">
            <a:xfrm>
              <a:off x="0" y="1622"/>
              <a:ext cx="857" cy="1076"/>
            </a:xfrm>
            <a:custGeom>
              <a:avLst/>
              <a:gdLst>
                <a:gd name="T0" fmla="*/ 859 w 1370"/>
                <a:gd name="T1" fmla="*/ 1020 h 1719"/>
                <a:gd name="T2" fmla="*/ 859 w 1370"/>
                <a:gd name="T3" fmla="*/ 1336 h 1719"/>
                <a:gd name="T4" fmla="*/ 383 w 1370"/>
                <a:gd name="T5" fmla="*/ 860 h 1719"/>
                <a:gd name="T6" fmla="*/ 859 w 1370"/>
                <a:gd name="T7" fmla="*/ 384 h 1719"/>
                <a:gd name="T8" fmla="*/ 859 w 1370"/>
                <a:gd name="T9" fmla="*/ 714 h 1719"/>
                <a:gd name="T10" fmla="*/ 1370 w 1370"/>
                <a:gd name="T11" fmla="*/ 169 h 1719"/>
                <a:gd name="T12" fmla="*/ 859 w 1370"/>
                <a:gd name="T13" fmla="*/ 0 h 1719"/>
                <a:gd name="T14" fmla="*/ 0 w 1370"/>
                <a:gd name="T15" fmla="*/ 860 h 1719"/>
                <a:gd name="T16" fmla="*/ 859 w 1370"/>
                <a:gd name="T17" fmla="*/ 1719 h 1719"/>
                <a:gd name="T18" fmla="*/ 1335 w 1370"/>
                <a:gd name="T19" fmla="*/ 1575 h 1719"/>
                <a:gd name="T20" fmla="*/ 859 w 1370"/>
                <a:gd name="T21" fmla="*/ 1020 h 1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70" h="1719">
                  <a:moveTo>
                    <a:pt x="859" y="1020"/>
                  </a:moveTo>
                  <a:cubicBezTo>
                    <a:pt x="859" y="1336"/>
                    <a:pt x="859" y="1336"/>
                    <a:pt x="859" y="1336"/>
                  </a:cubicBezTo>
                  <a:cubicBezTo>
                    <a:pt x="596" y="1336"/>
                    <a:pt x="383" y="1122"/>
                    <a:pt x="383" y="860"/>
                  </a:cubicBezTo>
                  <a:cubicBezTo>
                    <a:pt x="383" y="596"/>
                    <a:pt x="596" y="384"/>
                    <a:pt x="859" y="384"/>
                  </a:cubicBezTo>
                  <a:cubicBezTo>
                    <a:pt x="859" y="714"/>
                    <a:pt x="859" y="714"/>
                    <a:pt x="859" y="714"/>
                  </a:cubicBezTo>
                  <a:cubicBezTo>
                    <a:pt x="1370" y="169"/>
                    <a:pt x="1370" y="169"/>
                    <a:pt x="1370" y="169"/>
                  </a:cubicBezTo>
                  <a:cubicBezTo>
                    <a:pt x="1227" y="63"/>
                    <a:pt x="1051" y="0"/>
                    <a:pt x="859" y="0"/>
                  </a:cubicBezTo>
                  <a:cubicBezTo>
                    <a:pt x="385" y="0"/>
                    <a:pt x="0" y="385"/>
                    <a:pt x="0" y="860"/>
                  </a:cubicBezTo>
                  <a:cubicBezTo>
                    <a:pt x="0" y="1334"/>
                    <a:pt x="385" y="1719"/>
                    <a:pt x="859" y="1719"/>
                  </a:cubicBezTo>
                  <a:cubicBezTo>
                    <a:pt x="1035" y="1719"/>
                    <a:pt x="1199" y="1666"/>
                    <a:pt x="1335" y="1575"/>
                  </a:cubicBezTo>
                  <a:lnTo>
                    <a:pt x="859" y="10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19">
              <a:extLst>
                <a:ext uri="{FF2B5EF4-FFF2-40B4-BE49-F238E27FC236}">
                  <a16:creationId xmlns:a16="http://schemas.microsoft.com/office/drawing/2014/main" id="{DD2C009D-DFCA-4C9E-A006-65C1ED9A8953}"/>
                </a:ext>
              </a:extLst>
            </p:cNvPr>
            <p:cNvSpPr>
              <a:spLocks/>
            </p:cNvSpPr>
            <p:nvPr/>
          </p:nvSpPr>
          <p:spPr bwMode="auto">
            <a:xfrm>
              <a:off x="583" y="1854"/>
              <a:ext cx="491" cy="612"/>
            </a:xfrm>
            <a:custGeom>
              <a:avLst/>
              <a:gdLst>
                <a:gd name="T0" fmla="*/ 634 w 786"/>
                <a:gd name="T1" fmla="*/ 0 h 979"/>
                <a:gd name="T2" fmla="*/ 0 w 786"/>
                <a:gd name="T3" fmla="*/ 490 h 979"/>
                <a:gd name="T4" fmla="*/ 634 w 786"/>
                <a:gd name="T5" fmla="*/ 979 h 979"/>
                <a:gd name="T6" fmla="*/ 786 w 786"/>
                <a:gd name="T7" fmla="*/ 490 h 979"/>
                <a:gd name="T8" fmla="*/ 634 w 786"/>
                <a:gd name="T9" fmla="*/ 0 h 979"/>
              </a:gdLst>
              <a:ahLst/>
              <a:cxnLst>
                <a:cxn ang="0">
                  <a:pos x="T0" y="T1"/>
                </a:cxn>
                <a:cxn ang="0">
                  <a:pos x="T2" y="T3"/>
                </a:cxn>
                <a:cxn ang="0">
                  <a:pos x="T4" y="T5"/>
                </a:cxn>
                <a:cxn ang="0">
                  <a:pos x="T6" y="T7"/>
                </a:cxn>
                <a:cxn ang="0">
                  <a:pos x="T8" y="T9"/>
                </a:cxn>
              </a:cxnLst>
              <a:rect l="0" t="0" r="r" b="b"/>
              <a:pathLst>
                <a:path w="786" h="979">
                  <a:moveTo>
                    <a:pt x="634" y="0"/>
                  </a:moveTo>
                  <a:cubicBezTo>
                    <a:pt x="0" y="490"/>
                    <a:pt x="0" y="490"/>
                    <a:pt x="0" y="490"/>
                  </a:cubicBezTo>
                  <a:cubicBezTo>
                    <a:pt x="634" y="979"/>
                    <a:pt x="634" y="979"/>
                    <a:pt x="634" y="979"/>
                  </a:cubicBezTo>
                  <a:cubicBezTo>
                    <a:pt x="730" y="840"/>
                    <a:pt x="786" y="671"/>
                    <a:pt x="786" y="490"/>
                  </a:cubicBezTo>
                  <a:cubicBezTo>
                    <a:pt x="786" y="308"/>
                    <a:pt x="730" y="139"/>
                    <a:pt x="6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ext Placeholder 2"/>
          <p:cNvSpPr>
            <a:spLocks noGrp="1"/>
          </p:cNvSpPr>
          <p:nvPr>
            <p:ph type="body" idx="1"/>
          </p:nvPr>
        </p:nvSpPr>
        <p:spPr>
          <a:xfrm>
            <a:off x="413105" y="1521184"/>
            <a:ext cx="6176627" cy="3817442"/>
          </a:xfrm>
        </p:spPr>
        <p:txBody>
          <a:bodyPr anchor="ctr"/>
          <a:lstStyle>
            <a:lvl1pPr marL="0" indent="0">
              <a:lnSpc>
                <a:spcPct val="100000"/>
              </a:lnSpc>
              <a:spcAft>
                <a:spcPts val="0"/>
              </a:spcAft>
              <a:buNone/>
              <a:defRPr sz="4400" b="0">
                <a:solidFill>
                  <a:schemeClr val="bg1"/>
                </a:solidFill>
                <a:latin typeface="+mj-lt"/>
              </a:defRPr>
            </a:lvl1pPr>
            <a:lvl2pPr marL="521258" indent="0">
              <a:buNone/>
              <a:defRPr sz="2280">
                <a:solidFill>
                  <a:schemeClr val="tx1">
                    <a:tint val="75000"/>
                  </a:schemeClr>
                </a:solidFill>
              </a:defRPr>
            </a:lvl2pPr>
            <a:lvl3pPr marL="1042512" indent="0">
              <a:buNone/>
              <a:defRPr sz="2052">
                <a:solidFill>
                  <a:schemeClr val="tx1">
                    <a:tint val="75000"/>
                  </a:schemeClr>
                </a:solidFill>
              </a:defRPr>
            </a:lvl3pPr>
            <a:lvl4pPr marL="1563773" indent="0">
              <a:buNone/>
              <a:defRPr sz="1824">
                <a:solidFill>
                  <a:schemeClr val="tx1">
                    <a:tint val="75000"/>
                  </a:schemeClr>
                </a:solidFill>
              </a:defRPr>
            </a:lvl4pPr>
            <a:lvl5pPr marL="2085031" indent="0">
              <a:buNone/>
              <a:defRPr sz="1824">
                <a:solidFill>
                  <a:schemeClr val="tx1">
                    <a:tint val="75000"/>
                  </a:schemeClr>
                </a:solidFill>
              </a:defRPr>
            </a:lvl5pPr>
            <a:lvl6pPr marL="2606285" indent="0">
              <a:buNone/>
              <a:defRPr sz="1824">
                <a:solidFill>
                  <a:schemeClr val="tx1">
                    <a:tint val="75000"/>
                  </a:schemeClr>
                </a:solidFill>
              </a:defRPr>
            </a:lvl6pPr>
            <a:lvl7pPr marL="3127543" indent="0">
              <a:buNone/>
              <a:defRPr sz="1824">
                <a:solidFill>
                  <a:schemeClr val="tx1">
                    <a:tint val="75000"/>
                  </a:schemeClr>
                </a:solidFill>
              </a:defRPr>
            </a:lvl7pPr>
            <a:lvl8pPr marL="3648803" indent="0">
              <a:buNone/>
              <a:defRPr sz="1824">
                <a:solidFill>
                  <a:schemeClr val="tx1">
                    <a:tint val="75000"/>
                  </a:schemeClr>
                </a:solidFill>
              </a:defRPr>
            </a:lvl8pPr>
            <a:lvl9pPr marL="4170060" indent="0">
              <a:buNone/>
              <a:defRPr sz="1824">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309545241"/>
      </p:ext>
    </p:extLst>
  </p:cSld>
  <p:clrMapOvr>
    <a:masterClrMapping/>
  </p:clrMapOvr>
  <p:transition>
    <p:fade/>
  </p:transition>
  <p:extLst>
    <p:ext uri="{DCECCB84-F9BA-43D5-87BE-67443E8EF086}">
      <p15:sldGuideLst xmlns:p15="http://schemas.microsoft.com/office/powerpoint/2012/main">
        <p15:guide id="1" pos="415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US"/>
              <a:t>Document Name</a:t>
            </a:r>
          </a:p>
        </p:txBody>
      </p:sp>
      <p:sp>
        <p:nvSpPr>
          <p:cNvPr id="6" name="Slide Number Placeholder 5"/>
          <p:cNvSpPr>
            <a:spLocks noGrp="1"/>
          </p:cNvSpPr>
          <p:nvPr>
            <p:ph type="sldNum" sz="quarter" idx="12"/>
          </p:nvPr>
        </p:nvSpPr>
        <p:spPr/>
        <p:txBody>
          <a:bodyPr/>
          <a:lstStyle/>
          <a:p>
            <a:fld id="{32B354EE-31EA-4FC2-9496-7B6202183237}" type="slidenum">
              <a:rPr lang="en-US" smtClean="0"/>
              <a:t>‹#›</a:t>
            </a:fld>
            <a:endParaRPr lang="en-US"/>
          </a:p>
        </p:txBody>
      </p:sp>
      <p:sp>
        <p:nvSpPr>
          <p:cNvPr id="9" name="Content Placeholder 8">
            <a:extLst>
              <a:ext uri="{FF2B5EF4-FFF2-40B4-BE49-F238E27FC236}">
                <a16:creationId xmlns:a16="http://schemas.microsoft.com/office/drawing/2014/main" id="{AD5FF552-6074-447D-AD5E-8C1C43CCBFB0}"/>
              </a:ext>
            </a:extLst>
          </p:cNvPr>
          <p:cNvSpPr>
            <a:spLocks noGrp="1"/>
          </p:cNvSpPr>
          <p:nvPr>
            <p:ph sz="quarter" idx="13"/>
          </p:nvPr>
        </p:nvSpPr>
        <p:spPr>
          <a:xfrm>
            <a:off x="412919" y="1521184"/>
            <a:ext cx="7699205" cy="4494733"/>
          </a:xfrm>
        </p:spPr>
        <p:txBody>
          <a:bodyPr/>
          <a:lstStyle>
            <a:lvl1pPr>
              <a:defRPr sz="2400"/>
            </a:lvl1pPr>
            <a:lvl2pPr>
              <a:defRPr sz="2400"/>
            </a:lvl2pPr>
            <a:lvl3pPr>
              <a:defRPr sz="2400"/>
            </a:lvl3pPr>
            <a:lvl4pPr>
              <a:defRPr sz="2200"/>
            </a:lvl4pPr>
            <a:lvl5pP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9">
            <a:extLst>
              <a:ext uri="{FF2B5EF4-FFF2-40B4-BE49-F238E27FC236}">
                <a16:creationId xmlns:a16="http://schemas.microsoft.com/office/drawing/2014/main" id="{977F6106-20AC-4F4E-811D-6D4EBFC2BE1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82592343"/>
      </p:ext>
    </p:extLst>
  </p:cSld>
  <p:clrMapOvr>
    <a:masterClrMapping/>
  </p:clrMapOvr>
  <p:transition>
    <p:fade/>
  </p:transition>
  <p:extLst>
    <p:ext uri="{DCECCB84-F9BA-43D5-87BE-67443E8EF086}">
      <p15:sldGuideLst xmlns:p15="http://schemas.microsoft.com/office/powerpoint/2012/main">
        <p15:guide id="1" pos="511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Title and Content 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10881" y="411083"/>
            <a:ext cx="11368018" cy="776038"/>
          </a:xfrm>
        </p:spPr>
        <p:txBody>
          <a:bodyPr/>
          <a:lstStyle>
            <a:lvl1pPr>
              <a:defRPr>
                <a:solidFill>
                  <a:schemeClr val="bg1"/>
                </a:solidFill>
              </a:defRPr>
            </a:lvl1pPr>
          </a:lstStyle>
          <a:p>
            <a:r>
              <a:rPr lang="en-US"/>
              <a:t>Click to edit Master title style</a:t>
            </a:r>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Document Name</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32B354EE-31EA-4FC2-9496-7B6202183237}" type="slidenum">
              <a:rPr lang="en-US" smtClean="0"/>
              <a:pPr/>
              <a:t>‹#›</a:t>
            </a:fld>
            <a:endParaRPr lang="en-US"/>
          </a:p>
        </p:txBody>
      </p:sp>
      <p:sp>
        <p:nvSpPr>
          <p:cNvPr id="7" name="Content Placeholder 8">
            <a:extLst>
              <a:ext uri="{FF2B5EF4-FFF2-40B4-BE49-F238E27FC236}">
                <a16:creationId xmlns:a16="http://schemas.microsoft.com/office/drawing/2014/main" id="{8E40116B-71CA-472D-8400-6F4605D9D057}"/>
              </a:ext>
            </a:extLst>
          </p:cNvPr>
          <p:cNvSpPr>
            <a:spLocks noGrp="1"/>
          </p:cNvSpPr>
          <p:nvPr>
            <p:ph sz="quarter" idx="13"/>
          </p:nvPr>
        </p:nvSpPr>
        <p:spPr>
          <a:xfrm>
            <a:off x="412919" y="1521184"/>
            <a:ext cx="7699205" cy="4494733"/>
          </a:xfrm>
        </p:spPr>
        <p:txBody>
          <a:bodyPr/>
          <a:lstStyle>
            <a:lvl1pPr>
              <a:defRPr sz="2400">
                <a:solidFill>
                  <a:schemeClr val="bg1"/>
                </a:solidFill>
              </a:defRPr>
            </a:lvl1pPr>
            <a:lvl2pPr>
              <a:defRPr sz="2400">
                <a:solidFill>
                  <a:schemeClr val="bg1"/>
                </a:solidFill>
              </a:defRPr>
            </a:lvl2pPr>
            <a:lvl3pPr>
              <a:defRPr sz="2400">
                <a:solidFill>
                  <a:schemeClr val="bg1"/>
                </a:solidFill>
              </a:defRPr>
            </a:lvl3pPr>
            <a:lvl4pPr>
              <a:buClr>
                <a:schemeClr val="bg1"/>
              </a:buClr>
              <a:defRPr sz="2200">
                <a:solidFill>
                  <a:schemeClr val="bg1"/>
                </a:solidFill>
              </a:defRPr>
            </a:lvl4pPr>
            <a:lvl5pPr>
              <a:buClr>
                <a:schemeClr val="bg1"/>
              </a:buClr>
              <a:defRPr sz="2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4" name="Group 4">
            <a:extLst>
              <a:ext uri="{FF2B5EF4-FFF2-40B4-BE49-F238E27FC236}">
                <a16:creationId xmlns:a16="http://schemas.microsoft.com/office/drawing/2014/main" id="{29DCF2F7-ED91-4CF8-BCD4-D0C068C38576}"/>
              </a:ext>
            </a:extLst>
          </p:cNvPr>
          <p:cNvGrpSpPr>
            <a:grpSpLocks noChangeAspect="1"/>
          </p:cNvGrpSpPr>
          <p:nvPr/>
        </p:nvGrpSpPr>
        <p:grpSpPr bwMode="auto">
          <a:xfrm>
            <a:off x="10432850" y="6330937"/>
            <a:ext cx="1346400" cy="188639"/>
            <a:chOff x="0" y="1622"/>
            <a:chExt cx="7680" cy="1076"/>
          </a:xfrm>
          <a:solidFill>
            <a:schemeClr val="bg1"/>
          </a:solidFill>
        </p:grpSpPr>
        <p:sp>
          <p:nvSpPr>
            <p:cNvPr id="25" name="Freeform 5">
              <a:extLst>
                <a:ext uri="{FF2B5EF4-FFF2-40B4-BE49-F238E27FC236}">
                  <a16:creationId xmlns:a16="http://schemas.microsoft.com/office/drawing/2014/main" id="{5CFBDCF1-BBDE-4470-B02B-1B517340AE7F}"/>
                </a:ext>
              </a:extLst>
            </p:cNvPr>
            <p:cNvSpPr>
              <a:spLocks/>
            </p:cNvSpPr>
            <p:nvPr/>
          </p:nvSpPr>
          <p:spPr bwMode="auto">
            <a:xfrm>
              <a:off x="1489" y="1874"/>
              <a:ext cx="479" cy="565"/>
            </a:xfrm>
            <a:custGeom>
              <a:avLst/>
              <a:gdLst>
                <a:gd name="T0" fmla="*/ 766 w 766"/>
                <a:gd name="T1" fmla="*/ 745 h 903"/>
                <a:gd name="T2" fmla="*/ 447 w 766"/>
                <a:gd name="T3" fmla="*/ 903 h 903"/>
                <a:gd name="T4" fmla="*/ 0 w 766"/>
                <a:gd name="T5" fmla="*/ 452 h 903"/>
                <a:gd name="T6" fmla="*/ 447 w 766"/>
                <a:gd name="T7" fmla="*/ 0 h 903"/>
                <a:gd name="T8" fmla="*/ 745 w 766"/>
                <a:gd name="T9" fmla="*/ 136 h 903"/>
                <a:gd name="T10" fmla="*/ 668 w 766"/>
                <a:gd name="T11" fmla="*/ 193 h 903"/>
                <a:gd name="T12" fmla="*/ 447 w 766"/>
                <a:gd name="T13" fmla="*/ 80 h 903"/>
                <a:gd name="T14" fmla="*/ 94 w 766"/>
                <a:gd name="T15" fmla="*/ 452 h 903"/>
                <a:gd name="T16" fmla="*/ 447 w 766"/>
                <a:gd name="T17" fmla="*/ 823 h 903"/>
                <a:gd name="T18" fmla="*/ 694 w 766"/>
                <a:gd name="T19" fmla="*/ 694 h 903"/>
                <a:gd name="T20" fmla="*/ 766 w 766"/>
                <a:gd name="T21" fmla="*/ 745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6" h="903">
                  <a:moveTo>
                    <a:pt x="766" y="745"/>
                  </a:moveTo>
                  <a:cubicBezTo>
                    <a:pt x="708" y="834"/>
                    <a:pt x="590" y="903"/>
                    <a:pt x="447" y="903"/>
                  </a:cubicBezTo>
                  <a:cubicBezTo>
                    <a:pt x="192" y="903"/>
                    <a:pt x="0" y="713"/>
                    <a:pt x="0" y="452"/>
                  </a:cubicBezTo>
                  <a:cubicBezTo>
                    <a:pt x="0" y="191"/>
                    <a:pt x="192" y="0"/>
                    <a:pt x="447" y="0"/>
                  </a:cubicBezTo>
                  <a:cubicBezTo>
                    <a:pt x="554" y="0"/>
                    <a:pt x="670" y="40"/>
                    <a:pt x="745" y="136"/>
                  </a:cubicBezTo>
                  <a:cubicBezTo>
                    <a:pt x="668" y="193"/>
                    <a:pt x="668" y="193"/>
                    <a:pt x="668" y="193"/>
                  </a:cubicBezTo>
                  <a:cubicBezTo>
                    <a:pt x="634" y="137"/>
                    <a:pt x="539" y="80"/>
                    <a:pt x="447" y="80"/>
                  </a:cubicBezTo>
                  <a:cubicBezTo>
                    <a:pt x="226" y="80"/>
                    <a:pt x="94" y="254"/>
                    <a:pt x="94" y="452"/>
                  </a:cubicBezTo>
                  <a:cubicBezTo>
                    <a:pt x="94" y="650"/>
                    <a:pt x="226" y="823"/>
                    <a:pt x="447" y="823"/>
                  </a:cubicBezTo>
                  <a:cubicBezTo>
                    <a:pt x="537" y="823"/>
                    <a:pt x="630" y="793"/>
                    <a:pt x="694" y="694"/>
                  </a:cubicBezTo>
                  <a:lnTo>
                    <a:pt x="766" y="7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6">
              <a:extLst>
                <a:ext uri="{FF2B5EF4-FFF2-40B4-BE49-F238E27FC236}">
                  <a16:creationId xmlns:a16="http://schemas.microsoft.com/office/drawing/2014/main" id="{0FD44A24-E293-46BE-B4EC-95369CEA9320}"/>
                </a:ext>
              </a:extLst>
            </p:cNvPr>
            <p:cNvSpPr>
              <a:spLocks noEditPoints="1"/>
            </p:cNvSpPr>
            <p:nvPr/>
          </p:nvSpPr>
          <p:spPr bwMode="auto">
            <a:xfrm>
              <a:off x="2014" y="1874"/>
              <a:ext cx="560" cy="565"/>
            </a:xfrm>
            <a:custGeom>
              <a:avLst/>
              <a:gdLst>
                <a:gd name="T0" fmla="*/ 448 w 896"/>
                <a:gd name="T1" fmla="*/ 80 h 903"/>
                <a:gd name="T2" fmla="*/ 95 w 896"/>
                <a:gd name="T3" fmla="*/ 452 h 903"/>
                <a:gd name="T4" fmla="*/ 448 w 896"/>
                <a:gd name="T5" fmla="*/ 823 h 903"/>
                <a:gd name="T6" fmla="*/ 801 w 896"/>
                <a:gd name="T7" fmla="*/ 452 h 903"/>
                <a:gd name="T8" fmla="*/ 448 w 896"/>
                <a:gd name="T9" fmla="*/ 80 h 903"/>
                <a:gd name="T10" fmla="*/ 448 w 896"/>
                <a:gd name="T11" fmla="*/ 903 h 903"/>
                <a:gd name="T12" fmla="*/ 0 w 896"/>
                <a:gd name="T13" fmla="*/ 452 h 903"/>
                <a:gd name="T14" fmla="*/ 448 w 896"/>
                <a:gd name="T15" fmla="*/ 0 h 903"/>
                <a:gd name="T16" fmla="*/ 896 w 896"/>
                <a:gd name="T17" fmla="*/ 452 h 903"/>
                <a:gd name="T18" fmla="*/ 448 w 896"/>
                <a:gd name="T19" fmla="*/ 903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6" h="903">
                  <a:moveTo>
                    <a:pt x="448" y="80"/>
                  </a:moveTo>
                  <a:cubicBezTo>
                    <a:pt x="227" y="80"/>
                    <a:pt x="95" y="254"/>
                    <a:pt x="95" y="452"/>
                  </a:cubicBezTo>
                  <a:cubicBezTo>
                    <a:pt x="95" y="649"/>
                    <a:pt x="227" y="823"/>
                    <a:pt x="448" y="823"/>
                  </a:cubicBezTo>
                  <a:cubicBezTo>
                    <a:pt x="669" y="823"/>
                    <a:pt x="801" y="649"/>
                    <a:pt x="801" y="452"/>
                  </a:cubicBezTo>
                  <a:cubicBezTo>
                    <a:pt x="801" y="254"/>
                    <a:pt x="669" y="80"/>
                    <a:pt x="448" y="80"/>
                  </a:cubicBezTo>
                  <a:moveTo>
                    <a:pt x="448" y="903"/>
                  </a:moveTo>
                  <a:cubicBezTo>
                    <a:pt x="192" y="903"/>
                    <a:pt x="0" y="712"/>
                    <a:pt x="0" y="452"/>
                  </a:cubicBezTo>
                  <a:cubicBezTo>
                    <a:pt x="0" y="191"/>
                    <a:pt x="192" y="0"/>
                    <a:pt x="448" y="0"/>
                  </a:cubicBezTo>
                  <a:cubicBezTo>
                    <a:pt x="704" y="0"/>
                    <a:pt x="896" y="191"/>
                    <a:pt x="896" y="452"/>
                  </a:cubicBezTo>
                  <a:cubicBezTo>
                    <a:pt x="896" y="712"/>
                    <a:pt x="704" y="903"/>
                    <a:pt x="448" y="90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7">
              <a:extLst>
                <a:ext uri="{FF2B5EF4-FFF2-40B4-BE49-F238E27FC236}">
                  <a16:creationId xmlns:a16="http://schemas.microsoft.com/office/drawing/2014/main" id="{DB94DBE4-95DD-4C25-BC05-00983FE00E45}"/>
                </a:ext>
              </a:extLst>
            </p:cNvPr>
            <p:cNvSpPr>
              <a:spLocks/>
            </p:cNvSpPr>
            <p:nvPr/>
          </p:nvSpPr>
          <p:spPr bwMode="auto">
            <a:xfrm>
              <a:off x="2672" y="1888"/>
              <a:ext cx="305" cy="538"/>
            </a:xfrm>
            <a:custGeom>
              <a:avLst/>
              <a:gdLst>
                <a:gd name="T0" fmla="*/ 0 w 305"/>
                <a:gd name="T1" fmla="*/ 0 h 538"/>
                <a:gd name="T2" fmla="*/ 0 w 305"/>
                <a:gd name="T3" fmla="*/ 538 h 538"/>
                <a:gd name="T4" fmla="*/ 305 w 305"/>
                <a:gd name="T5" fmla="*/ 538 h 538"/>
                <a:gd name="T6" fmla="*/ 305 w 305"/>
                <a:gd name="T7" fmla="*/ 488 h 538"/>
                <a:gd name="T8" fmla="*/ 55 w 305"/>
                <a:gd name="T9" fmla="*/ 488 h 538"/>
                <a:gd name="T10" fmla="*/ 55 w 305"/>
                <a:gd name="T11" fmla="*/ 0 h 538"/>
                <a:gd name="T12" fmla="*/ 0 w 305"/>
                <a:gd name="T13" fmla="*/ 0 h 538"/>
              </a:gdLst>
              <a:ahLst/>
              <a:cxnLst>
                <a:cxn ang="0">
                  <a:pos x="T0" y="T1"/>
                </a:cxn>
                <a:cxn ang="0">
                  <a:pos x="T2" y="T3"/>
                </a:cxn>
                <a:cxn ang="0">
                  <a:pos x="T4" y="T5"/>
                </a:cxn>
                <a:cxn ang="0">
                  <a:pos x="T6" y="T7"/>
                </a:cxn>
                <a:cxn ang="0">
                  <a:pos x="T8" y="T9"/>
                </a:cxn>
                <a:cxn ang="0">
                  <a:pos x="T10" y="T11"/>
                </a:cxn>
                <a:cxn ang="0">
                  <a:pos x="T12" y="T13"/>
                </a:cxn>
              </a:cxnLst>
              <a:rect l="0" t="0" r="r" b="b"/>
              <a:pathLst>
                <a:path w="305" h="538">
                  <a:moveTo>
                    <a:pt x="0" y="0"/>
                  </a:moveTo>
                  <a:lnTo>
                    <a:pt x="0" y="538"/>
                  </a:lnTo>
                  <a:lnTo>
                    <a:pt x="305" y="538"/>
                  </a:lnTo>
                  <a:lnTo>
                    <a:pt x="305" y="488"/>
                  </a:lnTo>
                  <a:lnTo>
                    <a:pt x="55" y="488"/>
                  </a:lnTo>
                  <a:lnTo>
                    <a:pt x="55"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8">
              <a:extLst>
                <a:ext uri="{FF2B5EF4-FFF2-40B4-BE49-F238E27FC236}">
                  <a16:creationId xmlns:a16="http://schemas.microsoft.com/office/drawing/2014/main" id="{5D69084C-8A2C-4F56-840C-854C059404AA}"/>
                </a:ext>
              </a:extLst>
            </p:cNvPr>
            <p:cNvSpPr>
              <a:spLocks noEditPoints="1"/>
            </p:cNvSpPr>
            <p:nvPr/>
          </p:nvSpPr>
          <p:spPr bwMode="auto">
            <a:xfrm>
              <a:off x="2997" y="1874"/>
              <a:ext cx="561" cy="565"/>
            </a:xfrm>
            <a:custGeom>
              <a:avLst/>
              <a:gdLst>
                <a:gd name="T0" fmla="*/ 448 w 896"/>
                <a:gd name="T1" fmla="*/ 80 h 903"/>
                <a:gd name="T2" fmla="*/ 95 w 896"/>
                <a:gd name="T3" fmla="*/ 452 h 903"/>
                <a:gd name="T4" fmla="*/ 448 w 896"/>
                <a:gd name="T5" fmla="*/ 823 h 903"/>
                <a:gd name="T6" fmla="*/ 801 w 896"/>
                <a:gd name="T7" fmla="*/ 452 h 903"/>
                <a:gd name="T8" fmla="*/ 448 w 896"/>
                <a:gd name="T9" fmla="*/ 80 h 903"/>
                <a:gd name="T10" fmla="*/ 448 w 896"/>
                <a:gd name="T11" fmla="*/ 903 h 903"/>
                <a:gd name="T12" fmla="*/ 0 w 896"/>
                <a:gd name="T13" fmla="*/ 452 h 903"/>
                <a:gd name="T14" fmla="*/ 448 w 896"/>
                <a:gd name="T15" fmla="*/ 0 h 903"/>
                <a:gd name="T16" fmla="*/ 896 w 896"/>
                <a:gd name="T17" fmla="*/ 452 h 903"/>
                <a:gd name="T18" fmla="*/ 448 w 896"/>
                <a:gd name="T19" fmla="*/ 903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6" h="903">
                  <a:moveTo>
                    <a:pt x="448" y="80"/>
                  </a:moveTo>
                  <a:cubicBezTo>
                    <a:pt x="227" y="80"/>
                    <a:pt x="95" y="254"/>
                    <a:pt x="95" y="452"/>
                  </a:cubicBezTo>
                  <a:cubicBezTo>
                    <a:pt x="95" y="649"/>
                    <a:pt x="227" y="823"/>
                    <a:pt x="448" y="823"/>
                  </a:cubicBezTo>
                  <a:cubicBezTo>
                    <a:pt x="669" y="823"/>
                    <a:pt x="801" y="649"/>
                    <a:pt x="801" y="452"/>
                  </a:cubicBezTo>
                  <a:cubicBezTo>
                    <a:pt x="801" y="254"/>
                    <a:pt x="669" y="80"/>
                    <a:pt x="448" y="80"/>
                  </a:cubicBezTo>
                  <a:moveTo>
                    <a:pt x="448" y="903"/>
                  </a:moveTo>
                  <a:cubicBezTo>
                    <a:pt x="192" y="903"/>
                    <a:pt x="0" y="712"/>
                    <a:pt x="0" y="452"/>
                  </a:cubicBezTo>
                  <a:cubicBezTo>
                    <a:pt x="0" y="191"/>
                    <a:pt x="192" y="0"/>
                    <a:pt x="448" y="0"/>
                  </a:cubicBezTo>
                  <a:cubicBezTo>
                    <a:pt x="704" y="0"/>
                    <a:pt x="896" y="191"/>
                    <a:pt x="896" y="452"/>
                  </a:cubicBezTo>
                  <a:cubicBezTo>
                    <a:pt x="896" y="712"/>
                    <a:pt x="704" y="903"/>
                    <a:pt x="448" y="90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9">
              <a:extLst>
                <a:ext uri="{FF2B5EF4-FFF2-40B4-BE49-F238E27FC236}">
                  <a16:creationId xmlns:a16="http://schemas.microsoft.com/office/drawing/2014/main" id="{A8335D12-BE1F-47FC-B1B1-D38E41B65B65}"/>
                </a:ext>
              </a:extLst>
            </p:cNvPr>
            <p:cNvSpPr>
              <a:spLocks/>
            </p:cNvSpPr>
            <p:nvPr/>
          </p:nvSpPr>
          <p:spPr bwMode="auto">
            <a:xfrm>
              <a:off x="4182" y="1888"/>
              <a:ext cx="503" cy="538"/>
            </a:xfrm>
            <a:custGeom>
              <a:avLst/>
              <a:gdLst>
                <a:gd name="T0" fmla="*/ 0 w 503"/>
                <a:gd name="T1" fmla="*/ 0 h 538"/>
                <a:gd name="T2" fmla="*/ 119 w 503"/>
                <a:gd name="T3" fmla="*/ 0 h 538"/>
                <a:gd name="T4" fmla="*/ 119 w 503"/>
                <a:gd name="T5" fmla="*/ 243 h 538"/>
                <a:gd name="T6" fmla="*/ 327 w 503"/>
                <a:gd name="T7" fmla="*/ 0 h 538"/>
                <a:gd name="T8" fmla="*/ 482 w 503"/>
                <a:gd name="T9" fmla="*/ 0 h 538"/>
                <a:gd name="T10" fmla="*/ 243 w 503"/>
                <a:gd name="T11" fmla="*/ 270 h 538"/>
                <a:gd name="T12" fmla="*/ 503 w 503"/>
                <a:gd name="T13" fmla="*/ 538 h 538"/>
                <a:gd name="T14" fmla="*/ 337 w 503"/>
                <a:gd name="T15" fmla="*/ 538 h 538"/>
                <a:gd name="T16" fmla="*/ 119 w 503"/>
                <a:gd name="T17" fmla="*/ 302 h 538"/>
                <a:gd name="T18" fmla="*/ 119 w 503"/>
                <a:gd name="T19" fmla="*/ 538 h 538"/>
                <a:gd name="T20" fmla="*/ 0 w 503"/>
                <a:gd name="T21" fmla="*/ 538 h 538"/>
                <a:gd name="T22" fmla="*/ 0 w 503"/>
                <a:gd name="T23"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3" h="538">
                  <a:moveTo>
                    <a:pt x="0" y="0"/>
                  </a:moveTo>
                  <a:lnTo>
                    <a:pt x="119" y="0"/>
                  </a:lnTo>
                  <a:lnTo>
                    <a:pt x="119" y="243"/>
                  </a:lnTo>
                  <a:lnTo>
                    <a:pt x="327" y="0"/>
                  </a:lnTo>
                  <a:lnTo>
                    <a:pt x="482" y="0"/>
                  </a:lnTo>
                  <a:lnTo>
                    <a:pt x="243" y="270"/>
                  </a:lnTo>
                  <a:lnTo>
                    <a:pt x="503" y="538"/>
                  </a:lnTo>
                  <a:lnTo>
                    <a:pt x="337" y="538"/>
                  </a:lnTo>
                  <a:lnTo>
                    <a:pt x="119" y="302"/>
                  </a:lnTo>
                  <a:lnTo>
                    <a:pt x="119" y="538"/>
                  </a:lnTo>
                  <a:lnTo>
                    <a:pt x="0" y="53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10">
              <a:extLst>
                <a:ext uri="{FF2B5EF4-FFF2-40B4-BE49-F238E27FC236}">
                  <a16:creationId xmlns:a16="http://schemas.microsoft.com/office/drawing/2014/main" id="{6AFD345D-B4DD-470E-B648-6430D05E93B2}"/>
                </a:ext>
              </a:extLst>
            </p:cNvPr>
            <p:cNvSpPr>
              <a:spLocks noChangeArrowheads="1"/>
            </p:cNvSpPr>
            <p:nvPr/>
          </p:nvSpPr>
          <p:spPr bwMode="auto">
            <a:xfrm>
              <a:off x="4743" y="1888"/>
              <a:ext cx="118" cy="5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1">
              <a:extLst>
                <a:ext uri="{FF2B5EF4-FFF2-40B4-BE49-F238E27FC236}">
                  <a16:creationId xmlns:a16="http://schemas.microsoft.com/office/drawing/2014/main" id="{0B0B3A75-1A0A-49AC-9816-77E1B29B648D}"/>
                </a:ext>
              </a:extLst>
            </p:cNvPr>
            <p:cNvSpPr>
              <a:spLocks/>
            </p:cNvSpPr>
            <p:nvPr/>
          </p:nvSpPr>
          <p:spPr bwMode="auto">
            <a:xfrm>
              <a:off x="4980" y="1888"/>
              <a:ext cx="509" cy="538"/>
            </a:xfrm>
            <a:custGeom>
              <a:avLst/>
              <a:gdLst>
                <a:gd name="T0" fmla="*/ 0 w 509"/>
                <a:gd name="T1" fmla="*/ 0 h 538"/>
                <a:gd name="T2" fmla="*/ 160 w 509"/>
                <a:gd name="T3" fmla="*/ 0 h 538"/>
                <a:gd name="T4" fmla="*/ 389 w 509"/>
                <a:gd name="T5" fmla="*/ 374 h 538"/>
                <a:gd name="T6" fmla="*/ 391 w 509"/>
                <a:gd name="T7" fmla="*/ 374 h 538"/>
                <a:gd name="T8" fmla="*/ 391 w 509"/>
                <a:gd name="T9" fmla="*/ 0 h 538"/>
                <a:gd name="T10" fmla="*/ 509 w 509"/>
                <a:gd name="T11" fmla="*/ 0 h 538"/>
                <a:gd name="T12" fmla="*/ 509 w 509"/>
                <a:gd name="T13" fmla="*/ 538 h 538"/>
                <a:gd name="T14" fmla="*/ 354 w 509"/>
                <a:gd name="T15" fmla="*/ 538 h 538"/>
                <a:gd name="T16" fmla="*/ 120 w 509"/>
                <a:gd name="T17" fmla="*/ 155 h 538"/>
                <a:gd name="T18" fmla="*/ 118 w 509"/>
                <a:gd name="T19" fmla="*/ 155 h 538"/>
                <a:gd name="T20" fmla="*/ 118 w 509"/>
                <a:gd name="T21" fmla="*/ 538 h 538"/>
                <a:gd name="T22" fmla="*/ 0 w 509"/>
                <a:gd name="T23" fmla="*/ 538 h 538"/>
                <a:gd name="T24" fmla="*/ 0 w 509"/>
                <a:gd name="T25"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9" h="538">
                  <a:moveTo>
                    <a:pt x="0" y="0"/>
                  </a:moveTo>
                  <a:lnTo>
                    <a:pt x="160" y="0"/>
                  </a:lnTo>
                  <a:lnTo>
                    <a:pt x="389" y="374"/>
                  </a:lnTo>
                  <a:lnTo>
                    <a:pt x="391" y="374"/>
                  </a:lnTo>
                  <a:lnTo>
                    <a:pt x="391" y="0"/>
                  </a:lnTo>
                  <a:lnTo>
                    <a:pt x="509" y="0"/>
                  </a:lnTo>
                  <a:lnTo>
                    <a:pt x="509" y="538"/>
                  </a:lnTo>
                  <a:lnTo>
                    <a:pt x="354" y="538"/>
                  </a:lnTo>
                  <a:lnTo>
                    <a:pt x="120" y="155"/>
                  </a:lnTo>
                  <a:lnTo>
                    <a:pt x="118" y="155"/>
                  </a:lnTo>
                  <a:lnTo>
                    <a:pt x="118" y="538"/>
                  </a:lnTo>
                  <a:lnTo>
                    <a:pt x="0" y="53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12">
              <a:extLst>
                <a:ext uri="{FF2B5EF4-FFF2-40B4-BE49-F238E27FC236}">
                  <a16:creationId xmlns:a16="http://schemas.microsoft.com/office/drawing/2014/main" id="{837B2D43-A683-41AF-A149-31D567B81178}"/>
                </a:ext>
              </a:extLst>
            </p:cNvPr>
            <p:cNvSpPr>
              <a:spLocks/>
            </p:cNvSpPr>
            <p:nvPr/>
          </p:nvSpPr>
          <p:spPr bwMode="auto">
            <a:xfrm>
              <a:off x="5608" y="1888"/>
              <a:ext cx="378" cy="538"/>
            </a:xfrm>
            <a:custGeom>
              <a:avLst/>
              <a:gdLst>
                <a:gd name="T0" fmla="*/ 0 w 378"/>
                <a:gd name="T1" fmla="*/ 0 h 538"/>
                <a:gd name="T2" fmla="*/ 0 w 378"/>
                <a:gd name="T3" fmla="*/ 538 h 538"/>
                <a:gd name="T4" fmla="*/ 378 w 378"/>
                <a:gd name="T5" fmla="*/ 538 h 538"/>
                <a:gd name="T6" fmla="*/ 378 w 378"/>
                <a:gd name="T7" fmla="*/ 433 h 538"/>
                <a:gd name="T8" fmla="*/ 118 w 378"/>
                <a:gd name="T9" fmla="*/ 433 h 538"/>
                <a:gd name="T10" fmla="*/ 118 w 378"/>
                <a:gd name="T11" fmla="*/ 319 h 538"/>
                <a:gd name="T12" fmla="*/ 351 w 378"/>
                <a:gd name="T13" fmla="*/ 319 h 538"/>
                <a:gd name="T14" fmla="*/ 351 w 378"/>
                <a:gd name="T15" fmla="*/ 210 h 538"/>
                <a:gd name="T16" fmla="*/ 118 w 378"/>
                <a:gd name="T17" fmla="*/ 210 h 538"/>
                <a:gd name="T18" fmla="*/ 118 w 378"/>
                <a:gd name="T19" fmla="*/ 105 h 538"/>
                <a:gd name="T20" fmla="*/ 364 w 378"/>
                <a:gd name="T21" fmla="*/ 105 h 538"/>
                <a:gd name="T22" fmla="*/ 364 w 378"/>
                <a:gd name="T23" fmla="*/ 0 h 538"/>
                <a:gd name="T24" fmla="*/ 0 w 378"/>
                <a:gd name="T25"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8" h="538">
                  <a:moveTo>
                    <a:pt x="0" y="0"/>
                  </a:moveTo>
                  <a:lnTo>
                    <a:pt x="0" y="538"/>
                  </a:lnTo>
                  <a:lnTo>
                    <a:pt x="378" y="538"/>
                  </a:lnTo>
                  <a:lnTo>
                    <a:pt x="378" y="433"/>
                  </a:lnTo>
                  <a:lnTo>
                    <a:pt x="118" y="433"/>
                  </a:lnTo>
                  <a:lnTo>
                    <a:pt x="118" y="319"/>
                  </a:lnTo>
                  <a:lnTo>
                    <a:pt x="351" y="319"/>
                  </a:lnTo>
                  <a:lnTo>
                    <a:pt x="351" y="210"/>
                  </a:lnTo>
                  <a:lnTo>
                    <a:pt x="118" y="210"/>
                  </a:lnTo>
                  <a:lnTo>
                    <a:pt x="118" y="105"/>
                  </a:lnTo>
                  <a:lnTo>
                    <a:pt x="364" y="105"/>
                  </a:lnTo>
                  <a:lnTo>
                    <a:pt x="364"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13">
              <a:extLst>
                <a:ext uri="{FF2B5EF4-FFF2-40B4-BE49-F238E27FC236}">
                  <a16:creationId xmlns:a16="http://schemas.microsoft.com/office/drawing/2014/main" id="{36D3F44B-8A34-4F65-B4C2-45A83E2610D8}"/>
                </a:ext>
              </a:extLst>
            </p:cNvPr>
            <p:cNvSpPr>
              <a:spLocks/>
            </p:cNvSpPr>
            <p:nvPr/>
          </p:nvSpPr>
          <p:spPr bwMode="auto">
            <a:xfrm>
              <a:off x="6052" y="1888"/>
              <a:ext cx="424" cy="538"/>
            </a:xfrm>
            <a:custGeom>
              <a:avLst/>
              <a:gdLst>
                <a:gd name="T0" fmla="*/ 0 w 424"/>
                <a:gd name="T1" fmla="*/ 0 h 538"/>
                <a:gd name="T2" fmla="*/ 0 w 424"/>
                <a:gd name="T3" fmla="*/ 105 h 538"/>
                <a:gd name="T4" fmla="*/ 152 w 424"/>
                <a:gd name="T5" fmla="*/ 105 h 538"/>
                <a:gd name="T6" fmla="*/ 152 w 424"/>
                <a:gd name="T7" fmla="*/ 538 h 538"/>
                <a:gd name="T8" fmla="*/ 271 w 424"/>
                <a:gd name="T9" fmla="*/ 538 h 538"/>
                <a:gd name="T10" fmla="*/ 271 w 424"/>
                <a:gd name="T11" fmla="*/ 105 h 538"/>
                <a:gd name="T12" fmla="*/ 424 w 424"/>
                <a:gd name="T13" fmla="*/ 105 h 538"/>
                <a:gd name="T14" fmla="*/ 424 w 424"/>
                <a:gd name="T15" fmla="*/ 0 h 538"/>
                <a:gd name="T16" fmla="*/ 0 w 424"/>
                <a:gd name="T17"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4" h="538">
                  <a:moveTo>
                    <a:pt x="0" y="0"/>
                  </a:moveTo>
                  <a:lnTo>
                    <a:pt x="0" y="105"/>
                  </a:lnTo>
                  <a:lnTo>
                    <a:pt x="152" y="105"/>
                  </a:lnTo>
                  <a:lnTo>
                    <a:pt x="152" y="538"/>
                  </a:lnTo>
                  <a:lnTo>
                    <a:pt x="271" y="538"/>
                  </a:lnTo>
                  <a:lnTo>
                    <a:pt x="271" y="105"/>
                  </a:lnTo>
                  <a:lnTo>
                    <a:pt x="424" y="105"/>
                  </a:lnTo>
                  <a:lnTo>
                    <a:pt x="424"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14">
              <a:extLst>
                <a:ext uri="{FF2B5EF4-FFF2-40B4-BE49-F238E27FC236}">
                  <a16:creationId xmlns:a16="http://schemas.microsoft.com/office/drawing/2014/main" id="{5813B57B-8CF6-4EEC-9651-47D6CF8CC7CA}"/>
                </a:ext>
              </a:extLst>
            </p:cNvPr>
            <p:cNvSpPr>
              <a:spLocks noChangeArrowheads="1"/>
            </p:cNvSpPr>
            <p:nvPr/>
          </p:nvSpPr>
          <p:spPr bwMode="auto">
            <a:xfrm>
              <a:off x="6554" y="1888"/>
              <a:ext cx="119" cy="5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5">
              <a:extLst>
                <a:ext uri="{FF2B5EF4-FFF2-40B4-BE49-F238E27FC236}">
                  <a16:creationId xmlns:a16="http://schemas.microsoft.com/office/drawing/2014/main" id="{34A7EF8C-46FC-41E4-90DA-42120BB10F65}"/>
                </a:ext>
              </a:extLst>
            </p:cNvPr>
            <p:cNvSpPr>
              <a:spLocks noEditPoints="1"/>
            </p:cNvSpPr>
            <p:nvPr/>
          </p:nvSpPr>
          <p:spPr bwMode="auto">
            <a:xfrm>
              <a:off x="3658" y="1888"/>
              <a:ext cx="383" cy="538"/>
            </a:xfrm>
            <a:custGeom>
              <a:avLst/>
              <a:gdLst>
                <a:gd name="T0" fmla="*/ 87 w 613"/>
                <a:gd name="T1" fmla="*/ 376 h 859"/>
                <a:gd name="T2" fmla="*/ 278 w 613"/>
                <a:gd name="T3" fmla="*/ 376 h 859"/>
                <a:gd name="T4" fmla="*/ 462 w 613"/>
                <a:gd name="T5" fmla="*/ 228 h 859"/>
                <a:gd name="T6" fmla="*/ 278 w 613"/>
                <a:gd name="T7" fmla="*/ 82 h 859"/>
                <a:gd name="T8" fmla="*/ 87 w 613"/>
                <a:gd name="T9" fmla="*/ 82 h 859"/>
                <a:gd name="T10" fmla="*/ 87 w 613"/>
                <a:gd name="T11" fmla="*/ 376 h 859"/>
                <a:gd name="T12" fmla="*/ 497 w 613"/>
                <a:gd name="T13" fmla="*/ 859 h 859"/>
                <a:gd name="T14" fmla="*/ 87 w 613"/>
                <a:gd name="T15" fmla="*/ 428 h 859"/>
                <a:gd name="T16" fmla="*/ 87 w 613"/>
                <a:gd name="T17" fmla="*/ 859 h 859"/>
                <a:gd name="T18" fmla="*/ 0 w 613"/>
                <a:gd name="T19" fmla="*/ 859 h 859"/>
                <a:gd name="T20" fmla="*/ 0 w 613"/>
                <a:gd name="T21" fmla="*/ 0 h 859"/>
                <a:gd name="T22" fmla="*/ 270 w 613"/>
                <a:gd name="T23" fmla="*/ 0 h 859"/>
                <a:gd name="T24" fmla="*/ 555 w 613"/>
                <a:gd name="T25" fmla="*/ 228 h 859"/>
                <a:gd name="T26" fmla="*/ 270 w 613"/>
                <a:gd name="T27" fmla="*/ 453 h 859"/>
                <a:gd name="T28" fmla="*/ 222 w 613"/>
                <a:gd name="T29" fmla="*/ 453 h 859"/>
                <a:gd name="T30" fmla="*/ 613 w 613"/>
                <a:gd name="T31" fmla="*/ 859 h 859"/>
                <a:gd name="T32" fmla="*/ 497 w 613"/>
                <a:gd name="T33" fmla="*/ 859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13" h="859">
                  <a:moveTo>
                    <a:pt x="87" y="376"/>
                  </a:moveTo>
                  <a:cubicBezTo>
                    <a:pt x="278" y="376"/>
                    <a:pt x="278" y="376"/>
                    <a:pt x="278" y="376"/>
                  </a:cubicBezTo>
                  <a:cubicBezTo>
                    <a:pt x="396" y="376"/>
                    <a:pt x="462" y="328"/>
                    <a:pt x="462" y="228"/>
                  </a:cubicBezTo>
                  <a:cubicBezTo>
                    <a:pt x="462" y="129"/>
                    <a:pt x="396" y="82"/>
                    <a:pt x="278" y="82"/>
                  </a:cubicBezTo>
                  <a:cubicBezTo>
                    <a:pt x="87" y="82"/>
                    <a:pt x="87" y="82"/>
                    <a:pt x="87" y="82"/>
                  </a:cubicBezTo>
                  <a:lnTo>
                    <a:pt x="87" y="376"/>
                  </a:lnTo>
                  <a:close/>
                  <a:moveTo>
                    <a:pt x="497" y="859"/>
                  </a:moveTo>
                  <a:cubicBezTo>
                    <a:pt x="87" y="428"/>
                    <a:pt x="87" y="428"/>
                    <a:pt x="87" y="428"/>
                  </a:cubicBezTo>
                  <a:cubicBezTo>
                    <a:pt x="87" y="859"/>
                    <a:pt x="87" y="859"/>
                    <a:pt x="87" y="859"/>
                  </a:cubicBezTo>
                  <a:cubicBezTo>
                    <a:pt x="0" y="859"/>
                    <a:pt x="0" y="859"/>
                    <a:pt x="0" y="859"/>
                  </a:cubicBezTo>
                  <a:cubicBezTo>
                    <a:pt x="0" y="0"/>
                    <a:pt x="0" y="0"/>
                    <a:pt x="0" y="0"/>
                  </a:cubicBezTo>
                  <a:cubicBezTo>
                    <a:pt x="270" y="0"/>
                    <a:pt x="270" y="0"/>
                    <a:pt x="270" y="0"/>
                  </a:cubicBezTo>
                  <a:cubicBezTo>
                    <a:pt x="457" y="0"/>
                    <a:pt x="555" y="91"/>
                    <a:pt x="555" y="228"/>
                  </a:cubicBezTo>
                  <a:cubicBezTo>
                    <a:pt x="555" y="367"/>
                    <a:pt x="457" y="453"/>
                    <a:pt x="270" y="453"/>
                  </a:cubicBezTo>
                  <a:cubicBezTo>
                    <a:pt x="222" y="453"/>
                    <a:pt x="222" y="453"/>
                    <a:pt x="222" y="453"/>
                  </a:cubicBezTo>
                  <a:cubicBezTo>
                    <a:pt x="613" y="859"/>
                    <a:pt x="613" y="859"/>
                    <a:pt x="613" y="859"/>
                  </a:cubicBezTo>
                  <a:lnTo>
                    <a:pt x="497" y="8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6">
              <a:extLst>
                <a:ext uri="{FF2B5EF4-FFF2-40B4-BE49-F238E27FC236}">
                  <a16:creationId xmlns:a16="http://schemas.microsoft.com/office/drawing/2014/main" id="{C43A1BEA-9B0C-4B2A-8B81-8019FB05F5EC}"/>
                </a:ext>
              </a:extLst>
            </p:cNvPr>
            <p:cNvSpPr>
              <a:spLocks/>
            </p:cNvSpPr>
            <p:nvPr/>
          </p:nvSpPr>
          <p:spPr bwMode="auto">
            <a:xfrm>
              <a:off x="6752" y="1881"/>
              <a:ext cx="476" cy="558"/>
            </a:xfrm>
            <a:custGeom>
              <a:avLst/>
              <a:gdLst>
                <a:gd name="T0" fmla="*/ 0 w 761"/>
                <a:gd name="T1" fmla="*/ 447 h 893"/>
                <a:gd name="T2" fmla="*/ 417 w 761"/>
                <a:gd name="T3" fmla="*/ 0 h 893"/>
                <a:gd name="T4" fmla="*/ 747 w 761"/>
                <a:gd name="T5" fmla="*/ 181 h 893"/>
                <a:gd name="T6" fmla="*/ 614 w 761"/>
                <a:gd name="T7" fmla="*/ 285 h 893"/>
                <a:gd name="T8" fmla="*/ 421 w 761"/>
                <a:gd name="T9" fmla="*/ 178 h 893"/>
                <a:gd name="T10" fmla="*/ 197 w 761"/>
                <a:gd name="T11" fmla="*/ 447 h 893"/>
                <a:gd name="T12" fmla="*/ 427 w 761"/>
                <a:gd name="T13" fmla="*/ 715 h 893"/>
                <a:gd name="T14" fmla="*/ 623 w 761"/>
                <a:gd name="T15" fmla="*/ 608 h 893"/>
                <a:gd name="T16" fmla="*/ 761 w 761"/>
                <a:gd name="T17" fmla="*/ 715 h 893"/>
                <a:gd name="T18" fmla="*/ 423 w 761"/>
                <a:gd name="T19" fmla="*/ 893 h 893"/>
                <a:gd name="T20" fmla="*/ 0 w 761"/>
                <a:gd name="T21" fmla="*/ 447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1" h="893">
                  <a:moveTo>
                    <a:pt x="0" y="447"/>
                  </a:moveTo>
                  <a:cubicBezTo>
                    <a:pt x="0" y="177"/>
                    <a:pt x="160" y="0"/>
                    <a:pt x="417" y="0"/>
                  </a:cubicBezTo>
                  <a:cubicBezTo>
                    <a:pt x="582" y="0"/>
                    <a:pt x="698" y="79"/>
                    <a:pt x="747" y="181"/>
                  </a:cubicBezTo>
                  <a:cubicBezTo>
                    <a:pt x="614" y="285"/>
                    <a:pt x="614" y="285"/>
                    <a:pt x="614" y="285"/>
                  </a:cubicBezTo>
                  <a:cubicBezTo>
                    <a:pt x="570" y="211"/>
                    <a:pt x="493" y="178"/>
                    <a:pt x="421" y="178"/>
                  </a:cubicBezTo>
                  <a:cubicBezTo>
                    <a:pt x="295" y="178"/>
                    <a:pt x="197" y="269"/>
                    <a:pt x="197" y="447"/>
                  </a:cubicBezTo>
                  <a:cubicBezTo>
                    <a:pt x="197" y="614"/>
                    <a:pt x="300" y="715"/>
                    <a:pt x="427" y="715"/>
                  </a:cubicBezTo>
                  <a:cubicBezTo>
                    <a:pt x="500" y="715"/>
                    <a:pt x="579" y="682"/>
                    <a:pt x="623" y="608"/>
                  </a:cubicBezTo>
                  <a:cubicBezTo>
                    <a:pt x="761" y="715"/>
                    <a:pt x="761" y="715"/>
                    <a:pt x="761" y="715"/>
                  </a:cubicBezTo>
                  <a:cubicBezTo>
                    <a:pt x="699" y="819"/>
                    <a:pt x="590" y="893"/>
                    <a:pt x="423" y="893"/>
                  </a:cubicBezTo>
                  <a:cubicBezTo>
                    <a:pt x="163" y="893"/>
                    <a:pt x="0" y="716"/>
                    <a:pt x="0" y="44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7">
              <a:extLst>
                <a:ext uri="{FF2B5EF4-FFF2-40B4-BE49-F238E27FC236}">
                  <a16:creationId xmlns:a16="http://schemas.microsoft.com/office/drawing/2014/main" id="{99870025-A3B4-48B1-B961-5C894CD455FF}"/>
                </a:ext>
              </a:extLst>
            </p:cNvPr>
            <p:cNvSpPr>
              <a:spLocks/>
            </p:cNvSpPr>
            <p:nvPr/>
          </p:nvSpPr>
          <p:spPr bwMode="auto">
            <a:xfrm>
              <a:off x="7271" y="1874"/>
              <a:ext cx="409" cy="565"/>
            </a:xfrm>
            <a:custGeom>
              <a:avLst/>
              <a:gdLst>
                <a:gd name="T0" fmla="*/ 404 w 654"/>
                <a:gd name="T1" fmla="*/ 376 h 903"/>
                <a:gd name="T2" fmla="*/ 287 w 654"/>
                <a:gd name="T3" fmla="*/ 354 h 903"/>
                <a:gd name="T4" fmla="*/ 202 w 654"/>
                <a:gd name="T5" fmla="*/ 264 h 903"/>
                <a:gd name="T6" fmla="*/ 321 w 654"/>
                <a:gd name="T7" fmla="*/ 171 h 903"/>
                <a:gd name="T8" fmla="*/ 478 w 654"/>
                <a:gd name="T9" fmla="*/ 270 h 903"/>
                <a:gd name="T10" fmla="*/ 617 w 654"/>
                <a:gd name="T11" fmla="*/ 163 h 903"/>
                <a:gd name="T12" fmla="*/ 322 w 654"/>
                <a:gd name="T13" fmla="*/ 0 h 903"/>
                <a:gd name="T14" fmla="*/ 12 w 654"/>
                <a:gd name="T15" fmla="*/ 279 h 903"/>
                <a:gd name="T16" fmla="*/ 247 w 654"/>
                <a:gd name="T17" fmla="*/ 523 h 903"/>
                <a:gd name="T18" fmla="*/ 366 w 654"/>
                <a:gd name="T19" fmla="*/ 546 h 903"/>
                <a:gd name="T20" fmla="*/ 459 w 654"/>
                <a:gd name="T21" fmla="*/ 642 h 903"/>
                <a:gd name="T22" fmla="*/ 336 w 654"/>
                <a:gd name="T23" fmla="*/ 734 h 903"/>
                <a:gd name="T24" fmla="*/ 143 w 654"/>
                <a:gd name="T25" fmla="*/ 594 h 903"/>
                <a:gd name="T26" fmla="*/ 0 w 654"/>
                <a:gd name="T27" fmla="*/ 704 h 903"/>
                <a:gd name="T28" fmla="*/ 334 w 654"/>
                <a:gd name="T29" fmla="*/ 903 h 903"/>
                <a:gd name="T30" fmla="*/ 654 w 654"/>
                <a:gd name="T31" fmla="*/ 629 h 903"/>
                <a:gd name="T32" fmla="*/ 404 w 654"/>
                <a:gd name="T33" fmla="*/ 376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4" h="903">
                  <a:moveTo>
                    <a:pt x="404" y="376"/>
                  </a:moveTo>
                  <a:cubicBezTo>
                    <a:pt x="287" y="354"/>
                    <a:pt x="287" y="354"/>
                    <a:pt x="287" y="354"/>
                  </a:cubicBezTo>
                  <a:cubicBezTo>
                    <a:pt x="228" y="344"/>
                    <a:pt x="202" y="305"/>
                    <a:pt x="202" y="264"/>
                  </a:cubicBezTo>
                  <a:cubicBezTo>
                    <a:pt x="202" y="216"/>
                    <a:pt x="249" y="171"/>
                    <a:pt x="321" y="171"/>
                  </a:cubicBezTo>
                  <a:cubicBezTo>
                    <a:pt x="403" y="171"/>
                    <a:pt x="451" y="222"/>
                    <a:pt x="478" y="270"/>
                  </a:cubicBezTo>
                  <a:cubicBezTo>
                    <a:pt x="617" y="163"/>
                    <a:pt x="617" y="163"/>
                    <a:pt x="617" y="163"/>
                  </a:cubicBezTo>
                  <a:cubicBezTo>
                    <a:pt x="578" y="79"/>
                    <a:pt x="491" y="0"/>
                    <a:pt x="322" y="0"/>
                  </a:cubicBezTo>
                  <a:cubicBezTo>
                    <a:pt x="156" y="0"/>
                    <a:pt x="12" y="115"/>
                    <a:pt x="12" y="279"/>
                  </a:cubicBezTo>
                  <a:cubicBezTo>
                    <a:pt x="12" y="407"/>
                    <a:pt x="101" y="496"/>
                    <a:pt x="247" y="523"/>
                  </a:cubicBezTo>
                  <a:cubicBezTo>
                    <a:pt x="366" y="546"/>
                    <a:pt x="366" y="546"/>
                    <a:pt x="366" y="546"/>
                  </a:cubicBezTo>
                  <a:cubicBezTo>
                    <a:pt x="423" y="557"/>
                    <a:pt x="459" y="597"/>
                    <a:pt x="459" y="642"/>
                  </a:cubicBezTo>
                  <a:cubicBezTo>
                    <a:pt x="459" y="695"/>
                    <a:pt x="413" y="734"/>
                    <a:pt x="336" y="734"/>
                  </a:cubicBezTo>
                  <a:cubicBezTo>
                    <a:pt x="219" y="734"/>
                    <a:pt x="161" y="649"/>
                    <a:pt x="143" y="594"/>
                  </a:cubicBezTo>
                  <a:cubicBezTo>
                    <a:pt x="0" y="704"/>
                    <a:pt x="0" y="704"/>
                    <a:pt x="0" y="704"/>
                  </a:cubicBezTo>
                  <a:cubicBezTo>
                    <a:pt x="41" y="806"/>
                    <a:pt x="144" y="903"/>
                    <a:pt x="334" y="903"/>
                  </a:cubicBezTo>
                  <a:cubicBezTo>
                    <a:pt x="541" y="903"/>
                    <a:pt x="654" y="765"/>
                    <a:pt x="654" y="629"/>
                  </a:cubicBezTo>
                  <a:cubicBezTo>
                    <a:pt x="654" y="506"/>
                    <a:pt x="569" y="407"/>
                    <a:pt x="404" y="37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8">
              <a:extLst>
                <a:ext uri="{FF2B5EF4-FFF2-40B4-BE49-F238E27FC236}">
                  <a16:creationId xmlns:a16="http://schemas.microsoft.com/office/drawing/2014/main" id="{224AEEDD-2A83-4415-9986-24467BC3A2AE}"/>
                </a:ext>
              </a:extLst>
            </p:cNvPr>
            <p:cNvSpPr>
              <a:spLocks/>
            </p:cNvSpPr>
            <p:nvPr/>
          </p:nvSpPr>
          <p:spPr bwMode="auto">
            <a:xfrm>
              <a:off x="0" y="1622"/>
              <a:ext cx="857" cy="1076"/>
            </a:xfrm>
            <a:custGeom>
              <a:avLst/>
              <a:gdLst>
                <a:gd name="T0" fmla="*/ 859 w 1370"/>
                <a:gd name="T1" fmla="*/ 1020 h 1719"/>
                <a:gd name="T2" fmla="*/ 859 w 1370"/>
                <a:gd name="T3" fmla="*/ 1336 h 1719"/>
                <a:gd name="T4" fmla="*/ 383 w 1370"/>
                <a:gd name="T5" fmla="*/ 860 h 1719"/>
                <a:gd name="T6" fmla="*/ 859 w 1370"/>
                <a:gd name="T7" fmla="*/ 384 h 1719"/>
                <a:gd name="T8" fmla="*/ 859 w 1370"/>
                <a:gd name="T9" fmla="*/ 714 h 1719"/>
                <a:gd name="T10" fmla="*/ 1370 w 1370"/>
                <a:gd name="T11" fmla="*/ 169 h 1719"/>
                <a:gd name="T12" fmla="*/ 859 w 1370"/>
                <a:gd name="T13" fmla="*/ 0 h 1719"/>
                <a:gd name="T14" fmla="*/ 0 w 1370"/>
                <a:gd name="T15" fmla="*/ 860 h 1719"/>
                <a:gd name="T16" fmla="*/ 859 w 1370"/>
                <a:gd name="T17" fmla="*/ 1719 h 1719"/>
                <a:gd name="T18" fmla="*/ 1335 w 1370"/>
                <a:gd name="T19" fmla="*/ 1575 h 1719"/>
                <a:gd name="T20" fmla="*/ 859 w 1370"/>
                <a:gd name="T21" fmla="*/ 1020 h 1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70" h="1719">
                  <a:moveTo>
                    <a:pt x="859" y="1020"/>
                  </a:moveTo>
                  <a:cubicBezTo>
                    <a:pt x="859" y="1336"/>
                    <a:pt x="859" y="1336"/>
                    <a:pt x="859" y="1336"/>
                  </a:cubicBezTo>
                  <a:cubicBezTo>
                    <a:pt x="596" y="1336"/>
                    <a:pt x="383" y="1122"/>
                    <a:pt x="383" y="860"/>
                  </a:cubicBezTo>
                  <a:cubicBezTo>
                    <a:pt x="383" y="596"/>
                    <a:pt x="596" y="384"/>
                    <a:pt x="859" y="384"/>
                  </a:cubicBezTo>
                  <a:cubicBezTo>
                    <a:pt x="859" y="714"/>
                    <a:pt x="859" y="714"/>
                    <a:pt x="859" y="714"/>
                  </a:cubicBezTo>
                  <a:cubicBezTo>
                    <a:pt x="1370" y="169"/>
                    <a:pt x="1370" y="169"/>
                    <a:pt x="1370" y="169"/>
                  </a:cubicBezTo>
                  <a:cubicBezTo>
                    <a:pt x="1227" y="63"/>
                    <a:pt x="1051" y="0"/>
                    <a:pt x="859" y="0"/>
                  </a:cubicBezTo>
                  <a:cubicBezTo>
                    <a:pt x="385" y="0"/>
                    <a:pt x="0" y="385"/>
                    <a:pt x="0" y="860"/>
                  </a:cubicBezTo>
                  <a:cubicBezTo>
                    <a:pt x="0" y="1334"/>
                    <a:pt x="385" y="1719"/>
                    <a:pt x="859" y="1719"/>
                  </a:cubicBezTo>
                  <a:cubicBezTo>
                    <a:pt x="1035" y="1719"/>
                    <a:pt x="1199" y="1666"/>
                    <a:pt x="1335" y="1575"/>
                  </a:cubicBezTo>
                  <a:lnTo>
                    <a:pt x="859" y="10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9">
              <a:extLst>
                <a:ext uri="{FF2B5EF4-FFF2-40B4-BE49-F238E27FC236}">
                  <a16:creationId xmlns:a16="http://schemas.microsoft.com/office/drawing/2014/main" id="{39EC7CAA-F510-4C69-B067-D6E68387582E}"/>
                </a:ext>
              </a:extLst>
            </p:cNvPr>
            <p:cNvSpPr>
              <a:spLocks/>
            </p:cNvSpPr>
            <p:nvPr/>
          </p:nvSpPr>
          <p:spPr bwMode="auto">
            <a:xfrm>
              <a:off x="583" y="1854"/>
              <a:ext cx="491" cy="612"/>
            </a:xfrm>
            <a:custGeom>
              <a:avLst/>
              <a:gdLst>
                <a:gd name="T0" fmla="*/ 634 w 786"/>
                <a:gd name="T1" fmla="*/ 0 h 979"/>
                <a:gd name="T2" fmla="*/ 0 w 786"/>
                <a:gd name="T3" fmla="*/ 490 h 979"/>
                <a:gd name="T4" fmla="*/ 634 w 786"/>
                <a:gd name="T5" fmla="*/ 979 h 979"/>
                <a:gd name="T6" fmla="*/ 786 w 786"/>
                <a:gd name="T7" fmla="*/ 490 h 979"/>
                <a:gd name="T8" fmla="*/ 634 w 786"/>
                <a:gd name="T9" fmla="*/ 0 h 979"/>
              </a:gdLst>
              <a:ahLst/>
              <a:cxnLst>
                <a:cxn ang="0">
                  <a:pos x="T0" y="T1"/>
                </a:cxn>
                <a:cxn ang="0">
                  <a:pos x="T2" y="T3"/>
                </a:cxn>
                <a:cxn ang="0">
                  <a:pos x="T4" y="T5"/>
                </a:cxn>
                <a:cxn ang="0">
                  <a:pos x="T6" y="T7"/>
                </a:cxn>
                <a:cxn ang="0">
                  <a:pos x="T8" y="T9"/>
                </a:cxn>
              </a:cxnLst>
              <a:rect l="0" t="0" r="r" b="b"/>
              <a:pathLst>
                <a:path w="786" h="979">
                  <a:moveTo>
                    <a:pt x="634" y="0"/>
                  </a:moveTo>
                  <a:cubicBezTo>
                    <a:pt x="0" y="490"/>
                    <a:pt x="0" y="490"/>
                    <a:pt x="0" y="490"/>
                  </a:cubicBezTo>
                  <a:cubicBezTo>
                    <a:pt x="634" y="979"/>
                    <a:pt x="634" y="979"/>
                    <a:pt x="634" y="979"/>
                  </a:cubicBezTo>
                  <a:cubicBezTo>
                    <a:pt x="730" y="840"/>
                    <a:pt x="786" y="671"/>
                    <a:pt x="786" y="490"/>
                  </a:cubicBezTo>
                  <a:cubicBezTo>
                    <a:pt x="786" y="308"/>
                    <a:pt x="730" y="139"/>
                    <a:pt x="6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91806431"/>
      </p:ext>
    </p:extLst>
  </p:cSld>
  <p:clrMapOvr>
    <a:masterClrMapping/>
  </p:clrMapOvr>
  <p:transition>
    <p:fade/>
  </p:transition>
  <p:extLst>
    <p:ext uri="{DCECCB84-F9BA-43D5-87BE-67443E8EF086}">
      <p15:sldGuideLst xmlns:p15="http://schemas.microsoft.com/office/powerpoint/2012/main">
        <p15:guide id="1" pos="511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Image">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806139"/>
            <a:ext cx="9144001" cy="3245724"/>
          </a:xfrm>
        </p:spPr>
        <p:txBody>
          <a:bodyPr anchor="ctr"/>
          <a:lstStyle>
            <a:lvl1pPr algn="ctr">
              <a:defRPr sz="4000">
                <a:solidFill>
                  <a:schemeClr val="bg1"/>
                </a:solidFill>
              </a:defRPr>
            </a:lvl1pPr>
          </a:lstStyle>
          <a:p>
            <a:r>
              <a:rPr lang="en-US"/>
              <a:t>Click to edit Master title style</a:t>
            </a:r>
          </a:p>
        </p:txBody>
      </p:sp>
      <p:sp>
        <p:nvSpPr>
          <p:cNvPr id="3" name="Subtitle 2"/>
          <p:cNvSpPr>
            <a:spLocks noGrp="1"/>
          </p:cNvSpPr>
          <p:nvPr>
            <p:ph type="subTitle" idx="1"/>
          </p:nvPr>
        </p:nvSpPr>
        <p:spPr>
          <a:xfrm>
            <a:off x="1524000" y="5714325"/>
            <a:ext cx="9144001" cy="453754"/>
          </a:xfrm>
        </p:spPr>
        <p:txBody>
          <a:bodyPr/>
          <a:lstStyle>
            <a:lvl1pPr marL="0" indent="0" algn="ctr">
              <a:buNone/>
              <a:defRPr sz="2400">
                <a:solidFill>
                  <a:schemeClr val="bg1"/>
                </a:solidFill>
              </a:defRPr>
            </a:lvl1pPr>
            <a:lvl2pPr marL="521258" indent="0" algn="ctr">
              <a:buNone/>
              <a:defRPr sz="2280"/>
            </a:lvl2pPr>
            <a:lvl3pPr marL="1042512" indent="0" algn="ctr">
              <a:buNone/>
              <a:defRPr sz="2052"/>
            </a:lvl3pPr>
            <a:lvl4pPr marL="1563773" indent="0" algn="ctr">
              <a:buNone/>
              <a:defRPr sz="1824"/>
            </a:lvl4pPr>
            <a:lvl5pPr marL="2085031" indent="0" algn="ctr">
              <a:buNone/>
              <a:defRPr sz="1824"/>
            </a:lvl5pPr>
            <a:lvl6pPr marL="2606285" indent="0" algn="ctr">
              <a:buNone/>
              <a:defRPr sz="1824"/>
            </a:lvl6pPr>
            <a:lvl7pPr marL="3127543" indent="0" algn="ctr">
              <a:buNone/>
              <a:defRPr sz="1824"/>
            </a:lvl7pPr>
            <a:lvl8pPr marL="3648803" indent="0" algn="ctr">
              <a:buNone/>
              <a:defRPr sz="1824"/>
            </a:lvl8pPr>
            <a:lvl9pPr marL="4170060" indent="0" algn="ctr">
              <a:buNone/>
              <a:defRPr sz="1824"/>
            </a:lvl9pPr>
          </a:lstStyle>
          <a:p>
            <a:r>
              <a:rPr lang="en-US"/>
              <a:t>Click to edit Master subtitle style</a:t>
            </a:r>
          </a:p>
        </p:txBody>
      </p:sp>
      <p:sp>
        <p:nvSpPr>
          <p:cNvPr id="15" name="Freeform 5">
            <a:extLst>
              <a:ext uri="{FF2B5EF4-FFF2-40B4-BE49-F238E27FC236}">
                <a16:creationId xmlns:a16="http://schemas.microsoft.com/office/drawing/2014/main" id="{72080786-E399-4A97-AA01-14F60200E9FC}"/>
              </a:ext>
            </a:extLst>
          </p:cNvPr>
          <p:cNvSpPr>
            <a:spLocks noChangeAspect="1" noEditPoints="1"/>
          </p:cNvSpPr>
          <p:nvPr/>
        </p:nvSpPr>
        <p:spPr bwMode="auto">
          <a:xfrm>
            <a:off x="5282400" y="662400"/>
            <a:ext cx="1627200" cy="283542"/>
          </a:xfrm>
          <a:custGeom>
            <a:avLst/>
            <a:gdLst>
              <a:gd name="T0" fmla="*/ 2108 w 2301"/>
              <a:gd name="T1" fmla="*/ 43 h 400"/>
              <a:gd name="T2" fmla="*/ 2257 w 2301"/>
              <a:gd name="T3" fmla="*/ 121 h 400"/>
              <a:gd name="T4" fmla="*/ 2154 w 2301"/>
              <a:gd name="T5" fmla="*/ 289 h 400"/>
              <a:gd name="T6" fmla="*/ 2261 w 2301"/>
              <a:gd name="T7" fmla="*/ 295 h 400"/>
              <a:gd name="T8" fmla="*/ 2301 w 2301"/>
              <a:gd name="T9" fmla="*/ 300 h 400"/>
              <a:gd name="T10" fmla="*/ 2108 w 2301"/>
              <a:gd name="T11" fmla="*/ 167 h 400"/>
              <a:gd name="T12" fmla="*/ 548 w 2301"/>
              <a:gd name="T13" fmla="*/ 121 h 400"/>
              <a:gd name="T14" fmla="*/ 643 w 2301"/>
              <a:gd name="T15" fmla="*/ 43 h 400"/>
              <a:gd name="T16" fmla="*/ 746 w 2301"/>
              <a:gd name="T17" fmla="*/ 167 h 400"/>
              <a:gd name="T18" fmla="*/ 729 w 2301"/>
              <a:gd name="T19" fmla="*/ 342 h 400"/>
              <a:gd name="T20" fmla="*/ 789 w 2301"/>
              <a:gd name="T21" fmla="*/ 296 h 400"/>
              <a:gd name="T22" fmla="*/ 622 w 2301"/>
              <a:gd name="T23" fmla="*/ 371 h 400"/>
              <a:gd name="T24" fmla="*/ 1997 w 2301"/>
              <a:gd name="T25" fmla="*/ 297 h 400"/>
              <a:gd name="T26" fmla="*/ 1822 w 2301"/>
              <a:gd name="T27" fmla="*/ 327 h 400"/>
              <a:gd name="T28" fmla="*/ 1954 w 2301"/>
              <a:gd name="T29" fmla="*/ 213 h 400"/>
              <a:gd name="T30" fmla="*/ 1962 w 2301"/>
              <a:gd name="T31" fmla="*/ 141 h 400"/>
              <a:gd name="T32" fmla="*/ 1885 w 2301"/>
              <a:gd name="T33" fmla="*/ 400 h 400"/>
              <a:gd name="T34" fmla="*/ 0 w 2301"/>
              <a:gd name="T35" fmla="*/ 389 h 400"/>
              <a:gd name="T36" fmla="*/ 19 w 2301"/>
              <a:gd name="T37" fmla="*/ 167 h 400"/>
              <a:gd name="T38" fmla="*/ 125 w 2301"/>
              <a:gd name="T39" fmla="*/ 126 h 400"/>
              <a:gd name="T40" fmla="*/ 206 w 2301"/>
              <a:gd name="T41" fmla="*/ 395 h 400"/>
              <a:gd name="T42" fmla="*/ 381 w 2301"/>
              <a:gd name="T43" fmla="*/ 116 h 400"/>
              <a:gd name="T44" fmla="*/ 266 w 2301"/>
              <a:gd name="T45" fmla="*/ 126 h 400"/>
              <a:gd name="T46" fmla="*/ 272 w 2301"/>
              <a:gd name="T47" fmla="*/ 395 h 400"/>
              <a:gd name="T48" fmla="*/ 312 w 2301"/>
              <a:gd name="T49" fmla="*/ 250 h 400"/>
              <a:gd name="T50" fmla="*/ 313 w 2301"/>
              <a:gd name="T51" fmla="*/ 228 h 400"/>
              <a:gd name="T52" fmla="*/ 313 w 2301"/>
              <a:gd name="T53" fmla="*/ 215 h 400"/>
              <a:gd name="T54" fmla="*/ 316 w 2301"/>
              <a:gd name="T55" fmla="*/ 206 h 400"/>
              <a:gd name="T56" fmla="*/ 319 w 2301"/>
              <a:gd name="T57" fmla="*/ 197 h 400"/>
              <a:gd name="T58" fmla="*/ 327 w 2301"/>
              <a:gd name="T59" fmla="*/ 186 h 400"/>
              <a:gd name="T60" fmla="*/ 447 w 2301"/>
              <a:gd name="T61" fmla="*/ 389 h 400"/>
              <a:gd name="T62" fmla="*/ 493 w 2301"/>
              <a:gd name="T63" fmla="*/ 228 h 400"/>
              <a:gd name="T64" fmla="*/ 142 w 2301"/>
              <a:gd name="T65" fmla="*/ 38 h 400"/>
              <a:gd name="T66" fmla="*/ 1292 w 2301"/>
              <a:gd name="T67" fmla="*/ 116 h 400"/>
              <a:gd name="T68" fmla="*/ 1177 w 2301"/>
              <a:gd name="T69" fmla="*/ 126 h 400"/>
              <a:gd name="T70" fmla="*/ 1183 w 2301"/>
              <a:gd name="T71" fmla="*/ 395 h 400"/>
              <a:gd name="T72" fmla="*/ 1223 w 2301"/>
              <a:gd name="T73" fmla="*/ 250 h 400"/>
              <a:gd name="T74" fmla="*/ 1224 w 2301"/>
              <a:gd name="T75" fmla="*/ 228 h 400"/>
              <a:gd name="T76" fmla="*/ 1224 w 2301"/>
              <a:gd name="T77" fmla="*/ 215 h 400"/>
              <a:gd name="T78" fmla="*/ 1227 w 2301"/>
              <a:gd name="T79" fmla="*/ 206 h 400"/>
              <a:gd name="T80" fmla="*/ 1230 w 2301"/>
              <a:gd name="T81" fmla="*/ 197 h 400"/>
              <a:gd name="T82" fmla="*/ 1238 w 2301"/>
              <a:gd name="T83" fmla="*/ 186 h 400"/>
              <a:gd name="T84" fmla="*/ 1386 w 2301"/>
              <a:gd name="T85" fmla="*/ 179 h 400"/>
              <a:gd name="T86" fmla="*/ 1002 w 2301"/>
              <a:gd name="T87" fmla="*/ 126 h 400"/>
              <a:gd name="T88" fmla="*/ 956 w 2301"/>
              <a:gd name="T89" fmla="*/ 170 h 400"/>
              <a:gd name="T90" fmla="*/ 981 w 2301"/>
              <a:gd name="T91" fmla="*/ 400 h 400"/>
              <a:gd name="T92" fmla="*/ 981 w 2301"/>
              <a:gd name="T93" fmla="*/ 354 h 400"/>
              <a:gd name="T94" fmla="*/ 1692 w 2301"/>
              <a:gd name="T95" fmla="*/ 232 h 400"/>
              <a:gd name="T96" fmla="*/ 1646 w 2301"/>
              <a:gd name="T97" fmla="*/ 149 h 400"/>
              <a:gd name="T98" fmla="*/ 1648 w 2301"/>
              <a:gd name="T99" fmla="*/ 258 h 400"/>
              <a:gd name="T100" fmla="*/ 1536 w 2301"/>
              <a:gd name="T101" fmla="*/ 120 h 400"/>
              <a:gd name="T102" fmla="*/ 1646 w 2301"/>
              <a:gd name="T103" fmla="*/ 390 h 400"/>
              <a:gd name="T104" fmla="*/ 1692 w 2301"/>
              <a:gd name="T105" fmla="*/ 242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01" h="400">
                <a:moveTo>
                  <a:pt x="2054" y="162"/>
                </a:moveTo>
                <a:cubicBezTo>
                  <a:pt x="2054" y="126"/>
                  <a:pt x="2054" y="126"/>
                  <a:pt x="2054" y="126"/>
                </a:cubicBezTo>
                <a:cubicBezTo>
                  <a:pt x="2054" y="122"/>
                  <a:pt x="2055" y="121"/>
                  <a:pt x="2059" y="121"/>
                </a:cubicBezTo>
                <a:cubicBezTo>
                  <a:pt x="2108" y="121"/>
                  <a:pt x="2108" y="121"/>
                  <a:pt x="2108" y="121"/>
                </a:cubicBezTo>
                <a:cubicBezTo>
                  <a:pt x="2108" y="43"/>
                  <a:pt x="2108" y="43"/>
                  <a:pt x="2108" y="43"/>
                </a:cubicBezTo>
                <a:cubicBezTo>
                  <a:pt x="2108" y="39"/>
                  <a:pt x="2110" y="38"/>
                  <a:pt x="2113" y="38"/>
                </a:cubicBezTo>
                <a:cubicBezTo>
                  <a:pt x="2149" y="38"/>
                  <a:pt x="2149" y="38"/>
                  <a:pt x="2149" y="38"/>
                </a:cubicBezTo>
                <a:cubicBezTo>
                  <a:pt x="2152" y="38"/>
                  <a:pt x="2154" y="39"/>
                  <a:pt x="2154" y="43"/>
                </a:cubicBezTo>
                <a:cubicBezTo>
                  <a:pt x="2154" y="121"/>
                  <a:pt x="2154" y="121"/>
                  <a:pt x="2154" y="121"/>
                </a:cubicBezTo>
                <a:cubicBezTo>
                  <a:pt x="2257" y="121"/>
                  <a:pt x="2257" y="121"/>
                  <a:pt x="2257" y="121"/>
                </a:cubicBezTo>
                <a:cubicBezTo>
                  <a:pt x="2260" y="121"/>
                  <a:pt x="2262" y="122"/>
                  <a:pt x="2262" y="126"/>
                </a:cubicBezTo>
                <a:cubicBezTo>
                  <a:pt x="2262" y="162"/>
                  <a:pt x="2262" y="162"/>
                  <a:pt x="2262" y="162"/>
                </a:cubicBezTo>
                <a:cubicBezTo>
                  <a:pt x="2262" y="165"/>
                  <a:pt x="2260" y="167"/>
                  <a:pt x="2257" y="167"/>
                </a:cubicBezTo>
                <a:cubicBezTo>
                  <a:pt x="2154" y="167"/>
                  <a:pt x="2154" y="167"/>
                  <a:pt x="2154" y="167"/>
                </a:cubicBezTo>
                <a:cubicBezTo>
                  <a:pt x="2154" y="289"/>
                  <a:pt x="2154" y="289"/>
                  <a:pt x="2154" y="289"/>
                </a:cubicBezTo>
                <a:cubicBezTo>
                  <a:pt x="2154" y="311"/>
                  <a:pt x="2158" y="326"/>
                  <a:pt x="2166" y="336"/>
                </a:cubicBezTo>
                <a:cubicBezTo>
                  <a:pt x="2174" y="348"/>
                  <a:pt x="2186" y="353"/>
                  <a:pt x="2204" y="353"/>
                </a:cubicBezTo>
                <a:cubicBezTo>
                  <a:pt x="2221" y="353"/>
                  <a:pt x="2232" y="351"/>
                  <a:pt x="2240" y="342"/>
                </a:cubicBezTo>
                <a:cubicBezTo>
                  <a:pt x="2248" y="333"/>
                  <a:pt x="2252" y="319"/>
                  <a:pt x="2255" y="300"/>
                </a:cubicBezTo>
                <a:cubicBezTo>
                  <a:pt x="2255" y="297"/>
                  <a:pt x="2257" y="295"/>
                  <a:pt x="2261" y="295"/>
                </a:cubicBezTo>
                <a:cubicBezTo>
                  <a:pt x="2296" y="295"/>
                  <a:pt x="2296" y="295"/>
                  <a:pt x="2296" y="295"/>
                </a:cubicBezTo>
                <a:cubicBezTo>
                  <a:pt x="2298" y="295"/>
                  <a:pt x="2298" y="295"/>
                  <a:pt x="2298" y="295"/>
                </a:cubicBezTo>
                <a:cubicBezTo>
                  <a:pt x="2298" y="295"/>
                  <a:pt x="2299" y="295"/>
                  <a:pt x="2300" y="296"/>
                </a:cubicBezTo>
                <a:cubicBezTo>
                  <a:pt x="2300" y="296"/>
                  <a:pt x="2301" y="297"/>
                  <a:pt x="2301" y="297"/>
                </a:cubicBezTo>
                <a:cubicBezTo>
                  <a:pt x="2301" y="298"/>
                  <a:pt x="2301" y="299"/>
                  <a:pt x="2301" y="300"/>
                </a:cubicBezTo>
                <a:cubicBezTo>
                  <a:pt x="2301" y="327"/>
                  <a:pt x="2295" y="350"/>
                  <a:pt x="2276" y="371"/>
                </a:cubicBezTo>
                <a:cubicBezTo>
                  <a:pt x="2259" y="390"/>
                  <a:pt x="2235" y="400"/>
                  <a:pt x="2205" y="400"/>
                </a:cubicBezTo>
                <a:cubicBezTo>
                  <a:pt x="2173" y="400"/>
                  <a:pt x="2149" y="390"/>
                  <a:pt x="2133" y="371"/>
                </a:cubicBezTo>
                <a:cubicBezTo>
                  <a:pt x="2116" y="353"/>
                  <a:pt x="2108" y="325"/>
                  <a:pt x="2108" y="289"/>
                </a:cubicBezTo>
                <a:cubicBezTo>
                  <a:pt x="2108" y="167"/>
                  <a:pt x="2108" y="167"/>
                  <a:pt x="2108" y="167"/>
                </a:cubicBezTo>
                <a:cubicBezTo>
                  <a:pt x="2059" y="167"/>
                  <a:pt x="2059" y="167"/>
                  <a:pt x="2059" y="167"/>
                </a:cubicBezTo>
                <a:cubicBezTo>
                  <a:pt x="2055" y="167"/>
                  <a:pt x="2054" y="165"/>
                  <a:pt x="2054" y="162"/>
                </a:cubicBezTo>
                <a:moveTo>
                  <a:pt x="543" y="162"/>
                </a:moveTo>
                <a:cubicBezTo>
                  <a:pt x="543" y="126"/>
                  <a:pt x="543" y="126"/>
                  <a:pt x="543" y="126"/>
                </a:cubicBezTo>
                <a:cubicBezTo>
                  <a:pt x="543" y="122"/>
                  <a:pt x="545" y="121"/>
                  <a:pt x="548" y="121"/>
                </a:cubicBezTo>
                <a:cubicBezTo>
                  <a:pt x="597" y="121"/>
                  <a:pt x="597" y="121"/>
                  <a:pt x="597" y="121"/>
                </a:cubicBezTo>
                <a:cubicBezTo>
                  <a:pt x="597" y="43"/>
                  <a:pt x="597" y="43"/>
                  <a:pt x="597" y="43"/>
                </a:cubicBezTo>
                <a:cubicBezTo>
                  <a:pt x="597" y="39"/>
                  <a:pt x="599" y="38"/>
                  <a:pt x="603" y="38"/>
                </a:cubicBezTo>
                <a:cubicBezTo>
                  <a:pt x="638" y="38"/>
                  <a:pt x="638" y="38"/>
                  <a:pt x="638" y="38"/>
                </a:cubicBezTo>
                <a:cubicBezTo>
                  <a:pt x="642" y="38"/>
                  <a:pt x="643" y="39"/>
                  <a:pt x="643" y="43"/>
                </a:cubicBezTo>
                <a:cubicBezTo>
                  <a:pt x="643" y="121"/>
                  <a:pt x="643" y="121"/>
                  <a:pt x="643" y="121"/>
                </a:cubicBezTo>
                <a:cubicBezTo>
                  <a:pt x="746" y="121"/>
                  <a:pt x="746" y="121"/>
                  <a:pt x="746" y="121"/>
                </a:cubicBezTo>
                <a:cubicBezTo>
                  <a:pt x="750" y="121"/>
                  <a:pt x="751" y="122"/>
                  <a:pt x="751" y="126"/>
                </a:cubicBezTo>
                <a:cubicBezTo>
                  <a:pt x="751" y="162"/>
                  <a:pt x="751" y="162"/>
                  <a:pt x="751" y="162"/>
                </a:cubicBezTo>
                <a:cubicBezTo>
                  <a:pt x="751" y="165"/>
                  <a:pt x="750" y="167"/>
                  <a:pt x="746" y="167"/>
                </a:cubicBezTo>
                <a:cubicBezTo>
                  <a:pt x="644" y="167"/>
                  <a:pt x="644" y="167"/>
                  <a:pt x="644" y="167"/>
                </a:cubicBezTo>
                <a:cubicBezTo>
                  <a:pt x="644" y="289"/>
                  <a:pt x="644" y="289"/>
                  <a:pt x="644" y="289"/>
                </a:cubicBezTo>
                <a:cubicBezTo>
                  <a:pt x="644" y="311"/>
                  <a:pt x="648" y="326"/>
                  <a:pt x="655" y="336"/>
                </a:cubicBezTo>
                <a:cubicBezTo>
                  <a:pt x="663" y="348"/>
                  <a:pt x="675" y="353"/>
                  <a:pt x="694" y="353"/>
                </a:cubicBezTo>
                <a:cubicBezTo>
                  <a:pt x="711" y="353"/>
                  <a:pt x="721" y="351"/>
                  <a:pt x="729" y="342"/>
                </a:cubicBezTo>
                <a:cubicBezTo>
                  <a:pt x="737" y="333"/>
                  <a:pt x="741" y="319"/>
                  <a:pt x="744" y="300"/>
                </a:cubicBezTo>
                <a:cubicBezTo>
                  <a:pt x="745" y="297"/>
                  <a:pt x="746" y="295"/>
                  <a:pt x="750" y="295"/>
                </a:cubicBezTo>
                <a:cubicBezTo>
                  <a:pt x="785" y="295"/>
                  <a:pt x="785" y="295"/>
                  <a:pt x="785" y="295"/>
                </a:cubicBezTo>
                <a:cubicBezTo>
                  <a:pt x="787" y="295"/>
                  <a:pt x="787" y="295"/>
                  <a:pt x="787" y="295"/>
                </a:cubicBezTo>
                <a:cubicBezTo>
                  <a:pt x="788" y="295"/>
                  <a:pt x="788" y="295"/>
                  <a:pt x="789" y="296"/>
                </a:cubicBezTo>
                <a:cubicBezTo>
                  <a:pt x="790" y="296"/>
                  <a:pt x="790" y="297"/>
                  <a:pt x="790" y="297"/>
                </a:cubicBezTo>
                <a:cubicBezTo>
                  <a:pt x="790" y="298"/>
                  <a:pt x="790" y="299"/>
                  <a:pt x="790" y="300"/>
                </a:cubicBezTo>
                <a:cubicBezTo>
                  <a:pt x="790" y="327"/>
                  <a:pt x="784" y="350"/>
                  <a:pt x="765" y="371"/>
                </a:cubicBezTo>
                <a:cubicBezTo>
                  <a:pt x="748" y="390"/>
                  <a:pt x="725" y="400"/>
                  <a:pt x="694" y="400"/>
                </a:cubicBezTo>
                <a:cubicBezTo>
                  <a:pt x="662" y="400"/>
                  <a:pt x="639" y="390"/>
                  <a:pt x="622" y="371"/>
                </a:cubicBezTo>
                <a:cubicBezTo>
                  <a:pt x="606" y="353"/>
                  <a:pt x="597" y="325"/>
                  <a:pt x="597" y="289"/>
                </a:cubicBezTo>
                <a:cubicBezTo>
                  <a:pt x="597" y="167"/>
                  <a:pt x="597" y="167"/>
                  <a:pt x="597" y="167"/>
                </a:cubicBezTo>
                <a:cubicBezTo>
                  <a:pt x="548" y="167"/>
                  <a:pt x="548" y="167"/>
                  <a:pt x="548" y="167"/>
                </a:cubicBezTo>
                <a:cubicBezTo>
                  <a:pt x="545" y="167"/>
                  <a:pt x="543" y="165"/>
                  <a:pt x="543" y="162"/>
                </a:cubicBezTo>
                <a:moveTo>
                  <a:pt x="1997" y="297"/>
                </a:moveTo>
                <a:cubicBezTo>
                  <a:pt x="1965" y="297"/>
                  <a:pt x="1965" y="297"/>
                  <a:pt x="1965" y="297"/>
                </a:cubicBezTo>
                <a:cubicBezTo>
                  <a:pt x="1958" y="297"/>
                  <a:pt x="1956" y="301"/>
                  <a:pt x="1955" y="304"/>
                </a:cubicBezTo>
                <a:cubicBezTo>
                  <a:pt x="1950" y="319"/>
                  <a:pt x="1942" y="331"/>
                  <a:pt x="1929" y="340"/>
                </a:cubicBezTo>
                <a:cubicBezTo>
                  <a:pt x="1917" y="349"/>
                  <a:pt x="1902" y="354"/>
                  <a:pt x="1885" y="354"/>
                </a:cubicBezTo>
                <a:cubicBezTo>
                  <a:pt x="1860" y="354"/>
                  <a:pt x="1837" y="345"/>
                  <a:pt x="1822" y="327"/>
                </a:cubicBezTo>
                <a:cubicBezTo>
                  <a:pt x="1807" y="309"/>
                  <a:pt x="1799" y="286"/>
                  <a:pt x="1799" y="258"/>
                </a:cubicBezTo>
                <a:cubicBezTo>
                  <a:pt x="1799" y="230"/>
                  <a:pt x="1807" y="206"/>
                  <a:pt x="1822" y="188"/>
                </a:cubicBezTo>
                <a:cubicBezTo>
                  <a:pt x="1837" y="170"/>
                  <a:pt x="1860" y="162"/>
                  <a:pt x="1885" y="162"/>
                </a:cubicBezTo>
                <a:cubicBezTo>
                  <a:pt x="1902" y="162"/>
                  <a:pt x="1916" y="166"/>
                  <a:pt x="1928" y="175"/>
                </a:cubicBezTo>
                <a:cubicBezTo>
                  <a:pt x="1941" y="184"/>
                  <a:pt x="1949" y="197"/>
                  <a:pt x="1954" y="213"/>
                </a:cubicBezTo>
                <a:cubicBezTo>
                  <a:pt x="1955" y="215"/>
                  <a:pt x="1957" y="219"/>
                  <a:pt x="1964" y="219"/>
                </a:cubicBezTo>
                <a:cubicBezTo>
                  <a:pt x="1996" y="219"/>
                  <a:pt x="1996" y="219"/>
                  <a:pt x="1996" y="219"/>
                </a:cubicBezTo>
                <a:cubicBezTo>
                  <a:pt x="1999" y="219"/>
                  <a:pt x="2002" y="217"/>
                  <a:pt x="2002" y="213"/>
                </a:cubicBezTo>
                <a:cubicBezTo>
                  <a:pt x="2002" y="211"/>
                  <a:pt x="2002" y="209"/>
                  <a:pt x="2001" y="207"/>
                </a:cubicBezTo>
                <a:cubicBezTo>
                  <a:pt x="1994" y="179"/>
                  <a:pt x="1982" y="157"/>
                  <a:pt x="1962" y="141"/>
                </a:cubicBezTo>
                <a:cubicBezTo>
                  <a:pt x="1942" y="125"/>
                  <a:pt x="1916" y="117"/>
                  <a:pt x="1885" y="117"/>
                </a:cubicBezTo>
                <a:cubicBezTo>
                  <a:pt x="1845" y="117"/>
                  <a:pt x="1812" y="130"/>
                  <a:pt x="1788" y="157"/>
                </a:cubicBezTo>
                <a:cubicBezTo>
                  <a:pt x="1765" y="183"/>
                  <a:pt x="1753" y="217"/>
                  <a:pt x="1753" y="258"/>
                </a:cubicBezTo>
                <a:cubicBezTo>
                  <a:pt x="1753" y="299"/>
                  <a:pt x="1765" y="333"/>
                  <a:pt x="1789" y="360"/>
                </a:cubicBezTo>
                <a:cubicBezTo>
                  <a:pt x="1812" y="386"/>
                  <a:pt x="1845" y="400"/>
                  <a:pt x="1885" y="400"/>
                </a:cubicBezTo>
                <a:cubicBezTo>
                  <a:pt x="1916" y="400"/>
                  <a:pt x="1942" y="392"/>
                  <a:pt x="1962" y="376"/>
                </a:cubicBezTo>
                <a:cubicBezTo>
                  <a:pt x="1982" y="360"/>
                  <a:pt x="1995" y="337"/>
                  <a:pt x="2003" y="309"/>
                </a:cubicBezTo>
                <a:cubicBezTo>
                  <a:pt x="2003" y="307"/>
                  <a:pt x="2003" y="305"/>
                  <a:pt x="2003" y="303"/>
                </a:cubicBezTo>
                <a:cubicBezTo>
                  <a:pt x="2003" y="300"/>
                  <a:pt x="2002" y="297"/>
                  <a:pt x="1997" y="297"/>
                </a:cubicBezTo>
                <a:moveTo>
                  <a:pt x="0" y="389"/>
                </a:moveTo>
                <a:cubicBezTo>
                  <a:pt x="0" y="354"/>
                  <a:pt x="0" y="354"/>
                  <a:pt x="0" y="354"/>
                </a:cubicBezTo>
                <a:cubicBezTo>
                  <a:pt x="0" y="351"/>
                  <a:pt x="2" y="349"/>
                  <a:pt x="6" y="349"/>
                </a:cubicBezTo>
                <a:cubicBezTo>
                  <a:pt x="78" y="349"/>
                  <a:pt x="78" y="349"/>
                  <a:pt x="78" y="349"/>
                </a:cubicBezTo>
                <a:cubicBezTo>
                  <a:pt x="78" y="167"/>
                  <a:pt x="78" y="167"/>
                  <a:pt x="78" y="167"/>
                </a:cubicBezTo>
                <a:cubicBezTo>
                  <a:pt x="19" y="167"/>
                  <a:pt x="19" y="167"/>
                  <a:pt x="19" y="167"/>
                </a:cubicBezTo>
                <a:cubicBezTo>
                  <a:pt x="16" y="167"/>
                  <a:pt x="14" y="165"/>
                  <a:pt x="14" y="162"/>
                </a:cubicBezTo>
                <a:cubicBezTo>
                  <a:pt x="14" y="126"/>
                  <a:pt x="14" y="126"/>
                  <a:pt x="14" y="126"/>
                </a:cubicBezTo>
                <a:cubicBezTo>
                  <a:pt x="14" y="122"/>
                  <a:pt x="16" y="121"/>
                  <a:pt x="19" y="121"/>
                </a:cubicBezTo>
                <a:cubicBezTo>
                  <a:pt x="119" y="121"/>
                  <a:pt x="119" y="121"/>
                  <a:pt x="119" y="121"/>
                </a:cubicBezTo>
                <a:cubicBezTo>
                  <a:pt x="122" y="121"/>
                  <a:pt x="124" y="122"/>
                  <a:pt x="125" y="126"/>
                </a:cubicBezTo>
                <a:cubicBezTo>
                  <a:pt x="125" y="349"/>
                  <a:pt x="125" y="349"/>
                  <a:pt x="125" y="349"/>
                </a:cubicBezTo>
                <a:cubicBezTo>
                  <a:pt x="206" y="349"/>
                  <a:pt x="206" y="349"/>
                  <a:pt x="206" y="349"/>
                </a:cubicBezTo>
                <a:cubicBezTo>
                  <a:pt x="209" y="349"/>
                  <a:pt x="211" y="351"/>
                  <a:pt x="211" y="354"/>
                </a:cubicBezTo>
                <a:cubicBezTo>
                  <a:pt x="211" y="389"/>
                  <a:pt x="211" y="389"/>
                  <a:pt x="211" y="389"/>
                </a:cubicBezTo>
                <a:cubicBezTo>
                  <a:pt x="211" y="393"/>
                  <a:pt x="210" y="395"/>
                  <a:pt x="206" y="395"/>
                </a:cubicBezTo>
                <a:cubicBezTo>
                  <a:pt x="6" y="395"/>
                  <a:pt x="6" y="395"/>
                  <a:pt x="6" y="395"/>
                </a:cubicBezTo>
                <a:cubicBezTo>
                  <a:pt x="2" y="395"/>
                  <a:pt x="0" y="393"/>
                  <a:pt x="0" y="389"/>
                </a:cubicBezTo>
                <a:moveTo>
                  <a:pt x="493" y="227"/>
                </a:moveTo>
                <a:cubicBezTo>
                  <a:pt x="493" y="199"/>
                  <a:pt x="485" y="173"/>
                  <a:pt x="463" y="149"/>
                </a:cubicBezTo>
                <a:cubicBezTo>
                  <a:pt x="444" y="128"/>
                  <a:pt x="411" y="116"/>
                  <a:pt x="381" y="116"/>
                </a:cubicBezTo>
                <a:cubicBezTo>
                  <a:pt x="332" y="116"/>
                  <a:pt x="312" y="150"/>
                  <a:pt x="312" y="150"/>
                </a:cubicBezTo>
                <a:cubicBezTo>
                  <a:pt x="312" y="126"/>
                  <a:pt x="312" y="126"/>
                  <a:pt x="312" y="126"/>
                </a:cubicBezTo>
                <a:cubicBezTo>
                  <a:pt x="312" y="122"/>
                  <a:pt x="311" y="121"/>
                  <a:pt x="307" y="121"/>
                </a:cubicBezTo>
                <a:cubicBezTo>
                  <a:pt x="272" y="121"/>
                  <a:pt x="272" y="121"/>
                  <a:pt x="272" y="121"/>
                </a:cubicBezTo>
                <a:cubicBezTo>
                  <a:pt x="268" y="121"/>
                  <a:pt x="266" y="122"/>
                  <a:pt x="266" y="126"/>
                </a:cubicBezTo>
                <a:cubicBezTo>
                  <a:pt x="266" y="231"/>
                  <a:pt x="266" y="231"/>
                  <a:pt x="266" y="231"/>
                </a:cubicBezTo>
                <a:cubicBezTo>
                  <a:pt x="266" y="235"/>
                  <a:pt x="266" y="238"/>
                  <a:pt x="266" y="242"/>
                </a:cubicBezTo>
                <a:cubicBezTo>
                  <a:pt x="266" y="244"/>
                  <a:pt x="266" y="247"/>
                  <a:pt x="266" y="250"/>
                </a:cubicBezTo>
                <a:cubicBezTo>
                  <a:pt x="266" y="389"/>
                  <a:pt x="266" y="389"/>
                  <a:pt x="266" y="389"/>
                </a:cubicBezTo>
                <a:cubicBezTo>
                  <a:pt x="266" y="393"/>
                  <a:pt x="268" y="395"/>
                  <a:pt x="272" y="395"/>
                </a:cubicBezTo>
                <a:cubicBezTo>
                  <a:pt x="307" y="395"/>
                  <a:pt x="307" y="395"/>
                  <a:pt x="307" y="395"/>
                </a:cubicBezTo>
                <a:cubicBezTo>
                  <a:pt x="311" y="395"/>
                  <a:pt x="312" y="393"/>
                  <a:pt x="312" y="389"/>
                </a:cubicBezTo>
                <a:cubicBezTo>
                  <a:pt x="312" y="251"/>
                  <a:pt x="312" y="251"/>
                  <a:pt x="312" y="251"/>
                </a:cubicBezTo>
                <a:cubicBezTo>
                  <a:pt x="312" y="250"/>
                  <a:pt x="312" y="250"/>
                  <a:pt x="312" y="250"/>
                </a:cubicBezTo>
                <a:cubicBezTo>
                  <a:pt x="312" y="250"/>
                  <a:pt x="312" y="250"/>
                  <a:pt x="312" y="250"/>
                </a:cubicBezTo>
                <a:cubicBezTo>
                  <a:pt x="312" y="243"/>
                  <a:pt x="312" y="241"/>
                  <a:pt x="312" y="236"/>
                </a:cubicBezTo>
                <a:cubicBezTo>
                  <a:pt x="312" y="235"/>
                  <a:pt x="312" y="235"/>
                  <a:pt x="312" y="235"/>
                </a:cubicBezTo>
                <a:cubicBezTo>
                  <a:pt x="312" y="234"/>
                  <a:pt x="312" y="233"/>
                  <a:pt x="312" y="232"/>
                </a:cubicBezTo>
                <a:cubicBezTo>
                  <a:pt x="312" y="232"/>
                  <a:pt x="312" y="231"/>
                  <a:pt x="312" y="231"/>
                </a:cubicBezTo>
                <a:cubicBezTo>
                  <a:pt x="312" y="230"/>
                  <a:pt x="313" y="229"/>
                  <a:pt x="313" y="228"/>
                </a:cubicBezTo>
                <a:cubicBezTo>
                  <a:pt x="313" y="228"/>
                  <a:pt x="313" y="224"/>
                  <a:pt x="313" y="223"/>
                </a:cubicBezTo>
                <a:cubicBezTo>
                  <a:pt x="313" y="222"/>
                  <a:pt x="313" y="222"/>
                  <a:pt x="313" y="221"/>
                </a:cubicBezTo>
                <a:cubicBezTo>
                  <a:pt x="313" y="220"/>
                  <a:pt x="313" y="220"/>
                  <a:pt x="313" y="219"/>
                </a:cubicBezTo>
                <a:cubicBezTo>
                  <a:pt x="313" y="218"/>
                  <a:pt x="313" y="218"/>
                  <a:pt x="313" y="217"/>
                </a:cubicBezTo>
                <a:cubicBezTo>
                  <a:pt x="313" y="216"/>
                  <a:pt x="313" y="216"/>
                  <a:pt x="313" y="215"/>
                </a:cubicBezTo>
                <a:cubicBezTo>
                  <a:pt x="314" y="215"/>
                  <a:pt x="314" y="214"/>
                  <a:pt x="314" y="213"/>
                </a:cubicBezTo>
                <a:cubicBezTo>
                  <a:pt x="314" y="213"/>
                  <a:pt x="314" y="212"/>
                  <a:pt x="314" y="211"/>
                </a:cubicBezTo>
                <a:cubicBezTo>
                  <a:pt x="314" y="211"/>
                  <a:pt x="314" y="210"/>
                  <a:pt x="315" y="210"/>
                </a:cubicBezTo>
                <a:cubicBezTo>
                  <a:pt x="315" y="209"/>
                  <a:pt x="315" y="208"/>
                  <a:pt x="315" y="208"/>
                </a:cubicBezTo>
                <a:cubicBezTo>
                  <a:pt x="315" y="207"/>
                  <a:pt x="315" y="207"/>
                  <a:pt x="316" y="206"/>
                </a:cubicBezTo>
                <a:cubicBezTo>
                  <a:pt x="316" y="205"/>
                  <a:pt x="316" y="205"/>
                  <a:pt x="316" y="204"/>
                </a:cubicBezTo>
                <a:cubicBezTo>
                  <a:pt x="316" y="203"/>
                  <a:pt x="317" y="203"/>
                  <a:pt x="317" y="202"/>
                </a:cubicBezTo>
                <a:cubicBezTo>
                  <a:pt x="317" y="202"/>
                  <a:pt x="317" y="201"/>
                  <a:pt x="318" y="200"/>
                </a:cubicBezTo>
                <a:cubicBezTo>
                  <a:pt x="318" y="200"/>
                  <a:pt x="318" y="199"/>
                  <a:pt x="319" y="199"/>
                </a:cubicBezTo>
                <a:cubicBezTo>
                  <a:pt x="319" y="198"/>
                  <a:pt x="319" y="197"/>
                  <a:pt x="319" y="197"/>
                </a:cubicBezTo>
                <a:cubicBezTo>
                  <a:pt x="320" y="196"/>
                  <a:pt x="320" y="195"/>
                  <a:pt x="321" y="195"/>
                </a:cubicBezTo>
                <a:cubicBezTo>
                  <a:pt x="321" y="194"/>
                  <a:pt x="321" y="194"/>
                  <a:pt x="322" y="193"/>
                </a:cubicBezTo>
                <a:cubicBezTo>
                  <a:pt x="322" y="192"/>
                  <a:pt x="323" y="192"/>
                  <a:pt x="323" y="191"/>
                </a:cubicBezTo>
                <a:cubicBezTo>
                  <a:pt x="323" y="190"/>
                  <a:pt x="324" y="190"/>
                  <a:pt x="324" y="189"/>
                </a:cubicBezTo>
                <a:cubicBezTo>
                  <a:pt x="325" y="188"/>
                  <a:pt x="326" y="187"/>
                  <a:pt x="327" y="186"/>
                </a:cubicBezTo>
                <a:cubicBezTo>
                  <a:pt x="342" y="168"/>
                  <a:pt x="360" y="162"/>
                  <a:pt x="380" y="162"/>
                </a:cubicBezTo>
                <a:cubicBezTo>
                  <a:pt x="398" y="162"/>
                  <a:pt x="416" y="169"/>
                  <a:pt x="427" y="180"/>
                </a:cubicBezTo>
                <a:cubicBezTo>
                  <a:pt x="439" y="192"/>
                  <a:pt x="447" y="210"/>
                  <a:pt x="447" y="229"/>
                </a:cubicBezTo>
                <a:cubicBezTo>
                  <a:pt x="447" y="254"/>
                  <a:pt x="447" y="254"/>
                  <a:pt x="447" y="254"/>
                </a:cubicBezTo>
                <a:cubicBezTo>
                  <a:pt x="447" y="389"/>
                  <a:pt x="447" y="389"/>
                  <a:pt x="447" y="389"/>
                </a:cubicBezTo>
                <a:cubicBezTo>
                  <a:pt x="447" y="393"/>
                  <a:pt x="449" y="395"/>
                  <a:pt x="453" y="395"/>
                </a:cubicBezTo>
                <a:cubicBezTo>
                  <a:pt x="488" y="395"/>
                  <a:pt x="488" y="395"/>
                  <a:pt x="488" y="395"/>
                </a:cubicBezTo>
                <a:cubicBezTo>
                  <a:pt x="492" y="395"/>
                  <a:pt x="493" y="393"/>
                  <a:pt x="493" y="389"/>
                </a:cubicBezTo>
                <a:cubicBezTo>
                  <a:pt x="493" y="254"/>
                  <a:pt x="493" y="254"/>
                  <a:pt x="493" y="254"/>
                </a:cubicBezTo>
                <a:cubicBezTo>
                  <a:pt x="493" y="228"/>
                  <a:pt x="493" y="228"/>
                  <a:pt x="493" y="228"/>
                </a:cubicBezTo>
                <a:cubicBezTo>
                  <a:pt x="493" y="227"/>
                  <a:pt x="493" y="227"/>
                  <a:pt x="493" y="227"/>
                </a:cubicBezTo>
                <a:close/>
                <a:moveTo>
                  <a:pt x="105" y="0"/>
                </a:moveTo>
                <a:cubicBezTo>
                  <a:pt x="84" y="0"/>
                  <a:pt x="67" y="17"/>
                  <a:pt x="67" y="38"/>
                </a:cubicBezTo>
                <a:cubicBezTo>
                  <a:pt x="67" y="58"/>
                  <a:pt x="84" y="75"/>
                  <a:pt x="105" y="75"/>
                </a:cubicBezTo>
                <a:cubicBezTo>
                  <a:pt x="125" y="75"/>
                  <a:pt x="142" y="58"/>
                  <a:pt x="142" y="38"/>
                </a:cubicBezTo>
                <a:cubicBezTo>
                  <a:pt x="142" y="17"/>
                  <a:pt x="125" y="0"/>
                  <a:pt x="105" y="0"/>
                </a:cubicBezTo>
                <a:moveTo>
                  <a:pt x="1386" y="179"/>
                </a:moveTo>
                <a:cubicBezTo>
                  <a:pt x="1390" y="177"/>
                  <a:pt x="1391" y="173"/>
                  <a:pt x="1389" y="169"/>
                </a:cubicBezTo>
                <a:cubicBezTo>
                  <a:pt x="1385" y="162"/>
                  <a:pt x="1380" y="156"/>
                  <a:pt x="1374" y="149"/>
                </a:cubicBezTo>
                <a:cubicBezTo>
                  <a:pt x="1355" y="128"/>
                  <a:pt x="1322" y="116"/>
                  <a:pt x="1292" y="116"/>
                </a:cubicBezTo>
                <a:cubicBezTo>
                  <a:pt x="1243" y="116"/>
                  <a:pt x="1223" y="150"/>
                  <a:pt x="1223" y="150"/>
                </a:cubicBezTo>
                <a:cubicBezTo>
                  <a:pt x="1223" y="126"/>
                  <a:pt x="1223" y="126"/>
                  <a:pt x="1223" y="126"/>
                </a:cubicBezTo>
                <a:cubicBezTo>
                  <a:pt x="1223" y="123"/>
                  <a:pt x="1221" y="121"/>
                  <a:pt x="1218" y="121"/>
                </a:cubicBezTo>
                <a:cubicBezTo>
                  <a:pt x="1183" y="121"/>
                  <a:pt x="1183" y="121"/>
                  <a:pt x="1183" y="121"/>
                </a:cubicBezTo>
                <a:cubicBezTo>
                  <a:pt x="1179" y="121"/>
                  <a:pt x="1177" y="122"/>
                  <a:pt x="1177" y="126"/>
                </a:cubicBezTo>
                <a:cubicBezTo>
                  <a:pt x="1177" y="231"/>
                  <a:pt x="1177" y="231"/>
                  <a:pt x="1177" y="231"/>
                </a:cubicBezTo>
                <a:cubicBezTo>
                  <a:pt x="1177" y="235"/>
                  <a:pt x="1177" y="238"/>
                  <a:pt x="1177" y="242"/>
                </a:cubicBezTo>
                <a:cubicBezTo>
                  <a:pt x="1177" y="244"/>
                  <a:pt x="1177" y="247"/>
                  <a:pt x="1177" y="250"/>
                </a:cubicBezTo>
                <a:cubicBezTo>
                  <a:pt x="1177" y="389"/>
                  <a:pt x="1177" y="389"/>
                  <a:pt x="1177" y="389"/>
                </a:cubicBezTo>
                <a:cubicBezTo>
                  <a:pt x="1177" y="393"/>
                  <a:pt x="1179" y="395"/>
                  <a:pt x="1183" y="395"/>
                </a:cubicBezTo>
                <a:cubicBezTo>
                  <a:pt x="1218" y="395"/>
                  <a:pt x="1218" y="395"/>
                  <a:pt x="1218" y="395"/>
                </a:cubicBezTo>
                <a:cubicBezTo>
                  <a:pt x="1221" y="395"/>
                  <a:pt x="1223" y="392"/>
                  <a:pt x="1223" y="389"/>
                </a:cubicBezTo>
                <a:cubicBezTo>
                  <a:pt x="1223" y="251"/>
                  <a:pt x="1223" y="251"/>
                  <a:pt x="1223" y="251"/>
                </a:cubicBezTo>
                <a:cubicBezTo>
                  <a:pt x="1223" y="250"/>
                  <a:pt x="1223" y="250"/>
                  <a:pt x="1223" y="250"/>
                </a:cubicBezTo>
                <a:cubicBezTo>
                  <a:pt x="1223" y="250"/>
                  <a:pt x="1223" y="250"/>
                  <a:pt x="1223" y="250"/>
                </a:cubicBezTo>
                <a:cubicBezTo>
                  <a:pt x="1223" y="243"/>
                  <a:pt x="1223" y="241"/>
                  <a:pt x="1223" y="236"/>
                </a:cubicBezTo>
                <a:cubicBezTo>
                  <a:pt x="1223" y="236"/>
                  <a:pt x="1223" y="235"/>
                  <a:pt x="1223" y="235"/>
                </a:cubicBezTo>
                <a:cubicBezTo>
                  <a:pt x="1223" y="234"/>
                  <a:pt x="1223" y="233"/>
                  <a:pt x="1223" y="232"/>
                </a:cubicBezTo>
                <a:cubicBezTo>
                  <a:pt x="1223" y="232"/>
                  <a:pt x="1223" y="231"/>
                  <a:pt x="1223" y="231"/>
                </a:cubicBezTo>
                <a:cubicBezTo>
                  <a:pt x="1223" y="230"/>
                  <a:pt x="1223" y="229"/>
                  <a:pt x="1224" y="228"/>
                </a:cubicBezTo>
                <a:cubicBezTo>
                  <a:pt x="1224" y="228"/>
                  <a:pt x="1224" y="224"/>
                  <a:pt x="1224" y="223"/>
                </a:cubicBezTo>
                <a:cubicBezTo>
                  <a:pt x="1224" y="222"/>
                  <a:pt x="1224" y="222"/>
                  <a:pt x="1224" y="221"/>
                </a:cubicBezTo>
                <a:cubicBezTo>
                  <a:pt x="1224" y="220"/>
                  <a:pt x="1224" y="220"/>
                  <a:pt x="1224" y="219"/>
                </a:cubicBezTo>
                <a:cubicBezTo>
                  <a:pt x="1224" y="218"/>
                  <a:pt x="1224" y="218"/>
                  <a:pt x="1224" y="217"/>
                </a:cubicBezTo>
                <a:cubicBezTo>
                  <a:pt x="1224" y="216"/>
                  <a:pt x="1224" y="216"/>
                  <a:pt x="1224" y="215"/>
                </a:cubicBezTo>
                <a:cubicBezTo>
                  <a:pt x="1225" y="215"/>
                  <a:pt x="1225" y="214"/>
                  <a:pt x="1225" y="213"/>
                </a:cubicBezTo>
                <a:cubicBezTo>
                  <a:pt x="1225" y="213"/>
                  <a:pt x="1225" y="212"/>
                  <a:pt x="1225" y="211"/>
                </a:cubicBezTo>
                <a:cubicBezTo>
                  <a:pt x="1225" y="211"/>
                  <a:pt x="1225" y="210"/>
                  <a:pt x="1226" y="210"/>
                </a:cubicBezTo>
                <a:cubicBezTo>
                  <a:pt x="1226" y="209"/>
                  <a:pt x="1226" y="208"/>
                  <a:pt x="1226" y="208"/>
                </a:cubicBezTo>
                <a:cubicBezTo>
                  <a:pt x="1226" y="207"/>
                  <a:pt x="1226" y="207"/>
                  <a:pt x="1227" y="206"/>
                </a:cubicBezTo>
                <a:cubicBezTo>
                  <a:pt x="1227" y="205"/>
                  <a:pt x="1227" y="205"/>
                  <a:pt x="1227" y="204"/>
                </a:cubicBezTo>
                <a:cubicBezTo>
                  <a:pt x="1227" y="203"/>
                  <a:pt x="1228" y="203"/>
                  <a:pt x="1228" y="202"/>
                </a:cubicBezTo>
                <a:cubicBezTo>
                  <a:pt x="1228" y="202"/>
                  <a:pt x="1228" y="201"/>
                  <a:pt x="1229" y="200"/>
                </a:cubicBezTo>
                <a:cubicBezTo>
                  <a:pt x="1229" y="200"/>
                  <a:pt x="1229" y="199"/>
                  <a:pt x="1230" y="199"/>
                </a:cubicBezTo>
                <a:cubicBezTo>
                  <a:pt x="1230" y="198"/>
                  <a:pt x="1230" y="197"/>
                  <a:pt x="1230" y="197"/>
                </a:cubicBezTo>
                <a:cubicBezTo>
                  <a:pt x="1231" y="196"/>
                  <a:pt x="1231" y="195"/>
                  <a:pt x="1232" y="195"/>
                </a:cubicBezTo>
                <a:cubicBezTo>
                  <a:pt x="1232" y="194"/>
                  <a:pt x="1232" y="194"/>
                  <a:pt x="1232" y="193"/>
                </a:cubicBezTo>
                <a:cubicBezTo>
                  <a:pt x="1233" y="192"/>
                  <a:pt x="1233" y="192"/>
                  <a:pt x="1234" y="191"/>
                </a:cubicBezTo>
                <a:cubicBezTo>
                  <a:pt x="1234" y="190"/>
                  <a:pt x="1235" y="190"/>
                  <a:pt x="1235" y="189"/>
                </a:cubicBezTo>
                <a:cubicBezTo>
                  <a:pt x="1236" y="188"/>
                  <a:pt x="1237" y="187"/>
                  <a:pt x="1238" y="186"/>
                </a:cubicBezTo>
                <a:cubicBezTo>
                  <a:pt x="1253" y="168"/>
                  <a:pt x="1271" y="162"/>
                  <a:pt x="1291" y="162"/>
                </a:cubicBezTo>
                <a:cubicBezTo>
                  <a:pt x="1308" y="162"/>
                  <a:pt x="1328" y="169"/>
                  <a:pt x="1338" y="180"/>
                </a:cubicBezTo>
                <a:cubicBezTo>
                  <a:pt x="1341" y="184"/>
                  <a:pt x="1345" y="188"/>
                  <a:pt x="1348" y="192"/>
                </a:cubicBezTo>
                <a:cubicBezTo>
                  <a:pt x="1350" y="196"/>
                  <a:pt x="1354" y="197"/>
                  <a:pt x="1357" y="195"/>
                </a:cubicBezTo>
                <a:lnTo>
                  <a:pt x="1386" y="179"/>
                </a:lnTo>
                <a:close/>
                <a:moveTo>
                  <a:pt x="1106" y="268"/>
                </a:moveTo>
                <a:cubicBezTo>
                  <a:pt x="1109" y="268"/>
                  <a:pt x="1112" y="265"/>
                  <a:pt x="1112" y="262"/>
                </a:cubicBezTo>
                <a:cubicBezTo>
                  <a:pt x="1112" y="256"/>
                  <a:pt x="1112" y="249"/>
                  <a:pt x="1112" y="246"/>
                </a:cubicBezTo>
                <a:cubicBezTo>
                  <a:pt x="1107" y="184"/>
                  <a:pt x="1065" y="133"/>
                  <a:pt x="1010" y="120"/>
                </a:cubicBezTo>
                <a:cubicBezTo>
                  <a:pt x="1006" y="119"/>
                  <a:pt x="1002" y="122"/>
                  <a:pt x="1002" y="126"/>
                </a:cubicBezTo>
                <a:cubicBezTo>
                  <a:pt x="1002" y="164"/>
                  <a:pt x="1002" y="164"/>
                  <a:pt x="1002" y="164"/>
                </a:cubicBezTo>
                <a:cubicBezTo>
                  <a:pt x="1002" y="166"/>
                  <a:pt x="1004" y="169"/>
                  <a:pt x="1006" y="170"/>
                </a:cubicBezTo>
                <a:cubicBezTo>
                  <a:pt x="1032" y="179"/>
                  <a:pt x="1053" y="201"/>
                  <a:pt x="1062" y="229"/>
                </a:cubicBezTo>
                <a:cubicBezTo>
                  <a:pt x="900" y="229"/>
                  <a:pt x="900" y="229"/>
                  <a:pt x="900" y="229"/>
                </a:cubicBezTo>
                <a:cubicBezTo>
                  <a:pt x="909" y="201"/>
                  <a:pt x="930" y="179"/>
                  <a:pt x="956" y="170"/>
                </a:cubicBezTo>
                <a:cubicBezTo>
                  <a:pt x="958" y="169"/>
                  <a:pt x="960" y="166"/>
                  <a:pt x="960" y="164"/>
                </a:cubicBezTo>
                <a:cubicBezTo>
                  <a:pt x="960" y="126"/>
                  <a:pt x="960" y="126"/>
                  <a:pt x="960" y="126"/>
                </a:cubicBezTo>
                <a:cubicBezTo>
                  <a:pt x="960" y="122"/>
                  <a:pt x="956" y="119"/>
                  <a:pt x="952" y="120"/>
                </a:cubicBezTo>
                <a:cubicBezTo>
                  <a:pt x="893" y="134"/>
                  <a:pt x="850" y="191"/>
                  <a:pt x="850" y="258"/>
                </a:cubicBezTo>
                <a:cubicBezTo>
                  <a:pt x="850" y="337"/>
                  <a:pt x="908" y="400"/>
                  <a:pt x="981" y="400"/>
                </a:cubicBezTo>
                <a:cubicBezTo>
                  <a:pt x="1032" y="400"/>
                  <a:pt x="1076" y="369"/>
                  <a:pt x="1098" y="322"/>
                </a:cubicBezTo>
                <a:cubicBezTo>
                  <a:pt x="1100" y="318"/>
                  <a:pt x="1097" y="313"/>
                  <a:pt x="1092" y="313"/>
                </a:cubicBezTo>
                <a:cubicBezTo>
                  <a:pt x="1055" y="313"/>
                  <a:pt x="1055" y="313"/>
                  <a:pt x="1055" y="313"/>
                </a:cubicBezTo>
                <a:cubicBezTo>
                  <a:pt x="1053" y="313"/>
                  <a:pt x="1051" y="314"/>
                  <a:pt x="1049" y="316"/>
                </a:cubicBezTo>
                <a:cubicBezTo>
                  <a:pt x="1034" y="339"/>
                  <a:pt x="1009" y="354"/>
                  <a:pt x="981" y="354"/>
                </a:cubicBezTo>
                <a:cubicBezTo>
                  <a:pt x="936" y="354"/>
                  <a:pt x="900" y="316"/>
                  <a:pt x="896" y="268"/>
                </a:cubicBezTo>
                <a:cubicBezTo>
                  <a:pt x="1066" y="268"/>
                  <a:pt x="1066" y="268"/>
                  <a:pt x="1066" y="268"/>
                </a:cubicBezTo>
                <a:cubicBezTo>
                  <a:pt x="1066" y="268"/>
                  <a:pt x="1066" y="268"/>
                  <a:pt x="1066" y="268"/>
                </a:cubicBezTo>
                <a:lnTo>
                  <a:pt x="1106" y="268"/>
                </a:lnTo>
                <a:close/>
                <a:moveTo>
                  <a:pt x="1692" y="232"/>
                </a:moveTo>
                <a:cubicBezTo>
                  <a:pt x="1692" y="126"/>
                  <a:pt x="1692" y="126"/>
                  <a:pt x="1692" y="126"/>
                </a:cubicBezTo>
                <a:cubicBezTo>
                  <a:pt x="1692" y="123"/>
                  <a:pt x="1690" y="121"/>
                  <a:pt x="1686" y="121"/>
                </a:cubicBezTo>
                <a:cubicBezTo>
                  <a:pt x="1651" y="121"/>
                  <a:pt x="1651" y="121"/>
                  <a:pt x="1651" y="121"/>
                </a:cubicBezTo>
                <a:cubicBezTo>
                  <a:pt x="1648" y="121"/>
                  <a:pt x="1646" y="123"/>
                  <a:pt x="1646" y="126"/>
                </a:cubicBezTo>
                <a:cubicBezTo>
                  <a:pt x="1646" y="149"/>
                  <a:pt x="1646" y="149"/>
                  <a:pt x="1646" y="149"/>
                </a:cubicBezTo>
                <a:cubicBezTo>
                  <a:pt x="1628" y="133"/>
                  <a:pt x="1607" y="121"/>
                  <a:pt x="1583" y="116"/>
                </a:cubicBezTo>
                <a:cubicBezTo>
                  <a:pt x="1580" y="115"/>
                  <a:pt x="1578" y="117"/>
                  <a:pt x="1578" y="120"/>
                </a:cubicBezTo>
                <a:cubicBezTo>
                  <a:pt x="1578" y="161"/>
                  <a:pt x="1578" y="161"/>
                  <a:pt x="1578" y="161"/>
                </a:cubicBezTo>
                <a:cubicBezTo>
                  <a:pt x="1578" y="163"/>
                  <a:pt x="1579" y="165"/>
                  <a:pt x="1581" y="165"/>
                </a:cubicBezTo>
                <a:cubicBezTo>
                  <a:pt x="1619" y="176"/>
                  <a:pt x="1648" y="213"/>
                  <a:pt x="1648" y="258"/>
                </a:cubicBezTo>
                <a:cubicBezTo>
                  <a:pt x="1648" y="311"/>
                  <a:pt x="1608" y="354"/>
                  <a:pt x="1558" y="354"/>
                </a:cubicBezTo>
                <a:cubicBezTo>
                  <a:pt x="1509" y="354"/>
                  <a:pt x="1469" y="311"/>
                  <a:pt x="1469" y="258"/>
                </a:cubicBezTo>
                <a:cubicBezTo>
                  <a:pt x="1469" y="214"/>
                  <a:pt x="1496" y="178"/>
                  <a:pt x="1533" y="166"/>
                </a:cubicBezTo>
                <a:cubicBezTo>
                  <a:pt x="1535" y="165"/>
                  <a:pt x="1536" y="164"/>
                  <a:pt x="1536" y="162"/>
                </a:cubicBezTo>
                <a:cubicBezTo>
                  <a:pt x="1536" y="120"/>
                  <a:pt x="1536" y="120"/>
                  <a:pt x="1536" y="120"/>
                </a:cubicBezTo>
                <a:cubicBezTo>
                  <a:pt x="1536" y="117"/>
                  <a:pt x="1534" y="115"/>
                  <a:pt x="1531" y="116"/>
                </a:cubicBezTo>
                <a:cubicBezTo>
                  <a:pt x="1469" y="128"/>
                  <a:pt x="1422" y="187"/>
                  <a:pt x="1422" y="257"/>
                </a:cubicBezTo>
                <a:cubicBezTo>
                  <a:pt x="1422" y="336"/>
                  <a:pt x="1482" y="400"/>
                  <a:pt x="1557" y="400"/>
                </a:cubicBezTo>
                <a:cubicBezTo>
                  <a:pt x="1591" y="400"/>
                  <a:pt x="1622" y="386"/>
                  <a:pt x="1646" y="364"/>
                </a:cubicBezTo>
                <a:cubicBezTo>
                  <a:pt x="1646" y="390"/>
                  <a:pt x="1646" y="390"/>
                  <a:pt x="1646" y="390"/>
                </a:cubicBezTo>
                <a:cubicBezTo>
                  <a:pt x="1646" y="393"/>
                  <a:pt x="1648" y="395"/>
                  <a:pt x="1651" y="395"/>
                </a:cubicBezTo>
                <a:cubicBezTo>
                  <a:pt x="1686" y="395"/>
                  <a:pt x="1686" y="395"/>
                  <a:pt x="1686" y="395"/>
                </a:cubicBezTo>
                <a:cubicBezTo>
                  <a:pt x="1690" y="395"/>
                  <a:pt x="1692" y="393"/>
                  <a:pt x="1692" y="390"/>
                </a:cubicBezTo>
                <a:cubicBezTo>
                  <a:pt x="1692" y="250"/>
                  <a:pt x="1692" y="250"/>
                  <a:pt x="1692" y="250"/>
                </a:cubicBezTo>
                <a:cubicBezTo>
                  <a:pt x="1692" y="247"/>
                  <a:pt x="1692" y="245"/>
                  <a:pt x="1692" y="242"/>
                </a:cubicBezTo>
                <a:cubicBezTo>
                  <a:pt x="1692" y="239"/>
                  <a:pt x="1692" y="235"/>
                  <a:pt x="1692" y="232"/>
                </a:cubicBezTo>
              </a:path>
            </a:pathLst>
          </a:custGeom>
          <a:solidFill>
            <a:srgbClr val="FF37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68435337"/>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10878" y="1521184"/>
            <a:ext cx="5292112" cy="44947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86785" y="1521184"/>
            <a:ext cx="5292112" cy="44947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r>
              <a:rPr lang="en-US"/>
              <a:t>Document Name</a:t>
            </a:r>
          </a:p>
        </p:txBody>
      </p:sp>
      <p:sp>
        <p:nvSpPr>
          <p:cNvPr id="7" name="Slide Number Placeholder 6"/>
          <p:cNvSpPr>
            <a:spLocks noGrp="1"/>
          </p:cNvSpPr>
          <p:nvPr>
            <p:ph type="sldNum" sz="quarter" idx="12"/>
          </p:nvPr>
        </p:nvSpPr>
        <p:spPr/>
        <p:txBody>
          <a:bodyPr/>
          <a:lstStyle/>
          <a:p>
            <a:fld id="{32B354EE-31EA-4FC2-9496-7B6202183237}" type="slidenum">
              <a:rPr lang="en-US" smtClean="0"/>
              <a:t>‹#›</a:t>
            </a:fld>
            <a:endParaRPr lang="en-US"/>
          </a:p>
        </p:txBody>
      </p:sp>
      <p:sp>
        <p:nvSpPr>
          <p:cNvPr id="8" name="Title 7">
            <a:extLst>
              <a:ext uri="{FF2B5EF4-FFF2-40B4-BE49-F238E27FC236}">
                <a16:creationId xmlns:a16="http://schemas.microsoft.com/office/drawing/2014/main" id="{2BEC790B-BB37-46AF-9CC2-582F081B640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245873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ext and 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623EE699-16B4-4E6C-852E-7A2C3D133E42}"/>
              </a:ext>
            </a:extLst>
          </p:cNvPr>
          <p:cNvSpPr>
            <a:spLocks noGrp="1"/>
          </p:cNvSpPr>
          <p:nvPr>
            <p:ph type="pic" sz="quarter" idx="13"/>
          </p:nvPr>
        </p:nvSpPr>
        <p:spPr>
          <a:xfrm>
            <a:off x="6096906" y="4"/>
            <a:ext cx="6095094" cy="6858000"/>
          </a:xfrm>
          <a:solidFill>
            <a:schemeClr val="bg1">
              <a:lumMod val="85000"/>
            </a:schemeClr>
          </a:solidFill>
        </p:spPr>
        <p:txBody>
          <a:bodyPr/>
          <a:lstStyle/>
          <a:p>
            <a:r>
              <a:rPr lang="en-US"/>
              <a:t>Click icon to add picture</a:t>
            </a:r>
            <a:endParaRPr lang="en-GB"/>
          </a:p>
        </p:txBody>
      </p:sp>
      <p:sp>
        <p:nvSpPr>
          <p:cNvPr id="2" name="Title 1"/>
          <p:cNvSpPr>
            <a:spLocks noGrp="1"/>
          </p:cNvSpPr>
          <p:nvPr>
            <p:ph type="title"/>
          </p:nvPr>
        </p:nvSpPr>
        <p:spPr>
          <a:xfrm>
            <a:off x="410878" y="411083"/>
            <a:ext cx="5292112" cy="776038"/>
          </a:xfrm>
        </p:spPr>
        <p:txBody>
          <a:bodyPr/>
          <a:lstStyle/>
          <a:p>
            <a:r>
              <a:rPr lang="en-US"/>
              <a:t>Click to edit Master title style</a:t>
            </a:r>
          </a:p>
        </p:txBody>
      </p:sp>
      <p:sp>
        <p:nvSpPr>
          <p:cNvPr id="3" name="Content Placeholder 2"/>
          <p:cNvSpPr>
            <a:spLocks noGrp="1"/>
          </p:cNvSpPr>
          <p:nvPr>
            <p:ph sz="half" idx="1"/>
          </p:nvPr>
        </p:nvSpPr>
        <p:spPr>
          <a:xfrm>
            <a:off x="410878" y="1521184"/>
            <a:ext cx="5292112" cy="44947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r>
              <a:rPr lang="en-US"/>
              <a:t>Document Name</a:t>
            </a:r>
          </a:p>
        </p:txBody>
      </p:sp>
      <p:sp>
        <p:nvSpPr>
          <p:cNvPr id="7" name="Slide Number Placeholder 6"/>
          <p:cNvSpPr>
            <a:spLocks noGrp="1"/>
          </p:cNvSpPr>
          <p:nvPr>
            <p:ph type="sldNum" sz="quarter" idx="12"/>
          </p:nvPr>
        </p:nvSpPr>
        <p:spPr/>
        <p:txBody>
          <a:bodyPr/>
          <a:lstStyle/>
          <a:p>
            <a:fld id="{32B354EE-31EA-4FC2-9496-7B6202183237}" type="slidenum">
              <a:rPr lang="en-US" smtClean="0"/>
              <a:t>‹#›</a:t>
            </a:fld>
            <a:endParaRPr lang="en-US"/>
          </a:p>
        </p:txBody>
      </p:sp>
    </p:spTree>
    <p:extLst>
      <p:ext uri="{BB962C8B-B14F-4D97-AF65-F5344CB8AC3E}">
        <p14:creationId xmlns:p14="http://schemas.microsoft.com/office/powerpoint/2010/main" val="158465759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ext and Image Lef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623EE699-16B4-4E6C-852E-7A2C3D133E42}"/>
              </a:ext>
            </a:extLst>
          </p:cNvPr>
          <p:cNvSpPr>
            <a:spLocks noGrp="1"/>
          </p:cNvSpPr>
          <p:nvPr>
            <p:ph type="pic" sz="quarter" idx="13"/>
          </p:nvPr>
        </p:nvSpPr>
        <p:spPr>
          <a:xfrm>
            <a:off x="3" y="-1"/>
            <a:ext cx="6095094" cy="6858000"/>
          </a:xfrm>
          <a:solidFill>
            <a:schemeClr val="bg1">
              <a:lumMod val="85000"/>
            </a:schemeClr>
          </a:solidFill>
        </p:spPr>
        <p:txBody>
          <a:bodyPr/>
          <a:lstStyle/>
          <a:p>
            <a:r>
              <a:rPr lang="en-US"/>
              <a:t>Click icon to add picture</a:t>
            </a:r>
            <a:endParaRPr lang="en-GB"/>
          </a:p>
        </p:txBody>
      </p:sp>
      <p:sp>
        <p:nvSpPr>
          <p:cNvPr id="2" name="Title 1"/>
          <p:cNvSpPr>
            <a:spLocks noGrp="1"/>
          </p:cNvSpPr>
          <p:nvPr>
            <p:ph type="title"/>
          </p:nvPr>
        </p:nvSpPr>
        <p:spPr>
          <a:xfrm>
            <a:off x="6487250" y="411791"/>
            <a:ext cx="5292000" cy="776038"/>
          </a:xfrm>
        </p:spPr>
        <p:txBody>
          <a:bodyPr/>
          <a:lstStyle/>
          <a:p>
            <a:r>
              <a:rPr lang="en-US"/>
              <a:t>Click to edit Master title style</a:t>
            </a:r>
          </a:p>
        </p:txBody>
      </p:sp>
      <p:sp>
        <p:nvSpPr>
          <p:cNvPr id="3" name="Content Placeholder 2"/>
          <p:cNvSpPr>
            <a:spLocks noGrp="1"/>
          </p:cNvSpPr>
          <p:nvPr>
            <p:ph sz="half" idx="1"/>
          </p:nvPr>
        </p:nvSpPr>
        <p:spPr>
          <a:xfrm>
            <a:off x="6487250" y="1521892"/>
            <a:ext cx="5292000" cy="44947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lvl1pPr>
              <a:defRPr>
                <a:solidFill>
                  <a:schemeClr val="bg1"/>
                </a:solidFill>
              </a:defRPr>
            </a:lvl1pPr>
          </a:lstStyle>
          <a:p>
            <a:r>
              <a:rPr lang="en-US"/>
              <a:t>Document Name</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32B354EE-31EA-4FC2-9496-7B6202183237}" type="slidenum">
              <a:rPr lang="en-US" smtClean="0"/>
              <a:pPr/>
              <a:t>‹#›</a:t>
            </a:fld>
            <a:endParaRPr lang="en-US"/>
          </a:p>
        </p:txBody>
      </p:sp>
    </p:spTree>
    <p:extLst>
      <p:ext uri="{BB962C8B-B14F-4D97-AF65-F5344CB8AC3E}">
        <p14:creationId xmlns:p14="http://schemas.microsoft.com/office/powerpoint/2010/main" val="179094555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ext, Key Info and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623EE699-16B4-4E6C-852E-7A2C3D133E42}"/>
              </a:ext>
            </a:extLst>
          </p:cNvPr>
          <p:cNvSpPr>
            <a:spLocks noGrp="1"/>
          </p:cNvSpPr>
          <p:nvPr>
            <p:ph type="pic" sz="quarter" idx="13"/>
          </p:nvPr>
        </p:nvSpPr>
        <p:spPr>
          <a:xfrm>
            <a:off x="6096906" y="3429905"/>
            <a:ext cx="6095094" cy="3428095"/>
          </a:xfrm>
          <a:solidFill>
            <a:schemeClr val="bg1">
              <a:lumMod val="85000"/>
            </a:schemeClr>
          </a:solidFill>
        </p:spPr>
        <p:txBody>
          <a:bodyPr/>
          <a:lstStyle/>
          <a:p>
            <a:r>
              <a:rPr lang="en-US"/>
              <a:t>Click icon to add picture</a:t>
            </a:r>
            <a:endParaRPr lang="en-GB"/>
          </a:p>
        </p:txBody>
      </p:sp>
      <p:sp>
        <p:nvSpPr>
          <p:cNvPr id="6" name="Footer Placeholder 5"/>
          <p:cNvSpPr>
            <a:spLocks noGrp="1"/>
          </p:cNvSpPr>
          <p:nvPr>
            <p:ph type="ftr" sz="quarter" idx="11"/>
          </p:nvPr>
        </p:nvSpPr>
        <p:spPr/>
        <p:txBody>
          <a:bodyPr/>
          <a:lstStyle/>
          <a:p>
            <a:r>
              <a:rPr lang="en-US"/>
              <a:t>Document Name</a:t>
            </a:r>
          </a:p>
        </p:txBody>
      </p:sp>
      <p:sp>
        <p:nvSpPr>
          <p:cNvPr id="7" name="Slide Number Placeholder 6"/>
          <p:cNvSpPr>
            <a:spLocks noGrp="1"/>
          </p:cNvSpPr>
          <p:nvPr>
            <p:ph type="sldNum" sz="quarter" idx="12"/>
          </p:nvPr>
        </p:nvSpPr>
        <p:spPr/>
        <p:txBody>
          <a:bodyPr/>
          <a:lstStyle/>
          <a:p>
            <a:fld id="{32B354EE-31EA-4FC2-9496-7B6202183237}" type="slidenum">
              <a:rPr lang="en-US" smtClean="0"/>
              <a:t>‹#›</a:t>
            </a:fld>
            <a:endParaRPr lang="en-US"/>
          </a:p>
        </p:txBody>
      </p:sp>
      <p:sp>
        <p:nvSpPr>
          <p:cNvPr id="5" name="Text Placeholder 4">
            <a:extLst>
              <a:ext uri="{FF2B5EF4-FFF2-40B4-BE49-F238E27FC236}">
                <a16:creationId xmlns:a16="http://schemas.microsoft.com/office/drawing/2014/main" id="{F57219E9-6258-4F28-A57E-2D2A7A1479EF}"/>
              </a:ext>
            </a:extLst>
          </p:cNvPr>
          <p:cNvSpPr>
            <a:spLocks noGrp="1"/>
          </p:cNvSpPr>
          <p:nvPr>
            <p:ph type="body" sz="quarter" idx="14"/>
          </p:nvPr>
        </p:nvSpPr>
        <p:spPr>
          <a:xfrm>
            <a:off x="6096906" y="4"/>
            <a:ext cx="6095094" cy="3429905"/>
          </a:xfrm>
          <a:solidFill>
            <a:schemeClr val="tx1"/>
          </a:solidFill>
        </p:spPr>
        <p:txBody>
          <a:bodyPr lIns="360000" tIns="360000" rIns="360000" bIns="360000" anchor="ctr"/>
          <a:lstStyle>
            <a:lvl1pPr algn="ctr">
              <a:defRPr sz="3400">
                <a:solidFill>
                  <a:schemeClr val="bg1"/>
                </a:solidFill>
                <a:latin typeface="+mj-lt"/>
              </a:defRPr>
            </a:lvl1pPr>
          </a:lstStyle>
          <a:p>
            <a:pPr lvl="0"/>
            <a:r>
              <a:rPr lang="en-US"/>
              <a:t>Click to edit Master text styles</a:t>
            </a:r>
          </a:p>
        </p:txBody>
      </p:sp>
      <p:sp>
        <p:nvSpPr>
          <p:cNvPr id="4" name="Title 3">
            <a:extLst>
              <a:ext uri="{FF2B5EF4-FFF2-40B4-BE49-F238E27FC236}">
                <a16:creationId xmlns:a16="http://schemas.microsoft.com/office/drawing/2014/main" id="{73F85738-4ACC-4932-9AC9-54B0CFBC9C5F}"/>
              </a:ext>
            </a:extLst>
          </p:cNvPr>
          <p:cNvSpPr>
            <a:spLocks noGrp="1"/>
          </p:cNvSpPr>
          <p:nvPr>
            <p:ph type="title"/>
          </p:nvPr>
        </p:nvSpPr>
        <p:spPr>
          <a:xfrm>
            <a:off x="410879" y="410669"/>
            <a:ext cx="5292111" cy="776038"/>
          </a:xfrm>
        </p:spPr>
        <p:txBody>
          <a:bodyPr/>
          <a:lstStyle/>
          <a:p>
            <a:r>
              <a:rPr lang="en-US"/>
              <a:t>Click to edit Master title style</a:t>
            </a:r>
          </a:p>
        </p:txBody>
      </p:sp>
      <p:sp>
        <p:nvSpPr>
          <p:cNvPr id="9" name="Content Placeholder 2">
            <a:extLst>
              <a:ext uri="{FF2B5EF4-FFF2-40B4-BE49-F238E27FC236}">
                <a16:creationId xmlns:a16="http://schemas.microsoft.com/office/drawing/2014/main" id="{28A7491F-1E1B-44B3-B411-C2B74C75C2AC}"/>
              </a:ext>
            </a:extLst>
          </p:cNvPr>
          <p:cNvSpPr>
            <a:spLocks noGrp="1"/>
          </p:cNvSpPr>
          <p:nvPr>
            <p:ph sz="half" idx="1"/>
          </p:nvPr>
        </p:nvSpPr>
        <p:spPr>
          <a:xfrm>
            <a:off x="410878" y="1521184"/>
            <a:ext cx="5292112" cy="44947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51387526"/>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ext and Large Image">
    <p:bg>
      <p:bgPr>
        <a:solidFill>
          <a:schemeClr val="tx1"/>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C1E61418-E972-40CA-AF1C-5059724D8739}"/>
              </a:ext>
            </a:extLst>
          </p:cNvPr>
          <p:cNvSpPr>
            <a:spLocks noGrp="1"/>
          </p:cNvSpPr>
          <p:nvPr>
            <p:ph type="pic" sz="quarter" idx="14"/>
          </p:nvPr>
        </p:nvSpPr>
        <p:spPr>
          <a:xfrm>
            <a:off x="3948000" y="0"/>
            <a:ext cx="8244000" cy="6858000"/>
          </a:xfrm>
          <a:solidFill>
            <a:schemeClr val="bg1">
              <a:lumMod val="85000"/>
            </a:schemeClr>
          </a:solidFill>
        </p:spPr>
        <p:txBody>
          <a:bodyPr/>
          <a:lstStyle/>
          <a:p>
            <a:r>
              <a:rPr lang="en-US"/>
              <a:t>Click icon to add picture</a:t>
            </a:r>
            <a:endParaRPr lang="en-GB"/>
          </a:p>
        </p:txBody>
      </p:sp>
      <p:sp>
        <p:nvSpPr>
          <p:cNvPr id="4" name="Footer Placeholder 3">
            <a:extLst>
              <a:ext uri="{FF2B5EF4-FFF2-40B4-BE49-F238E27FC236}">
                <a16:creationId xmlns:a16="http://schemas.microsoft.com/office/drawing/2014/main" id="{265266B1-3B43-413F-B581-A2BA7F232AAD}"/>
              </a:ext>
            </a:extLst>
          </p:cNvPr>
          <p:cNvSpPr>
            <a:spLocks noGrp="1"/>
          </p:cNvSpPr>
          <p:nvPr>
            <p:ph type="ftr" sz="quarter" idx="11"/>
          </p:nvPr>
        </p:nvSpPr>
        <p:spPr/>
        <p:txBody>
          <a:bodyPr/>
          <a:lstStyle>
            <a:lvl1pPr>
              <a:defRPr>
                <a:solidFill>
                  <a:schemeClr val="bg1"/>
                </a:solidFill>
              </a:defRPr>
            </a:lvl1pPr>
          </a:lstStyle>
          <a:p>
            <a:r>
              <a:rPr lang="en-US"/>
              <a:t>Document Name</a:t>
            </a:r>
          </a:p>
        </p:txBody>
      </p:sp>
      <p:sp>
        <p:nvSpPr>
          <p:cNvPr id="5" name="Slide Number Placeholder 4">
            <a:extLst>
              <a:ext uri="{FF2B5EF4-FFF2-40B4-BE49-F238E27FC236}">
                <a16:creationId xmlns:a16="http://schemas.microsoft.com/office/drawing/2014/main" id="{114087E5-4709-465C-88EF-C43AFDD767F1}"/>
              </a:ext>
            </a:extLst>
          </p:cNvPr>
          <p:cNvSpPr>
            <a:spLocks noGrp="1"/>
          </p:cNvSpPr>
          <p:nvPr>
            <p:ph type="sldNum" sz="quarter" idx="12"/>
          </p:nvPr>
        </p:nvSpPr>
        <p:spPr/>
        <p:txBody>
          <a:bodyPr/>
          <a:lstStyle>
            <a:lvl1pPr>
              <a:defRPr>
                <a:solidFill>
                  <a:schemeClr val="bg1"/>
                </a:solidFill>
              </a:defRPr>
            </a:lvl1pPr>
          </a:lstStyle>
          <a:p>
            <a:fld id="{32B354EE-31EA-4FC2-9496-7B6202183237}" type="slidenum">
              <a:rPr lang="en-US" smtClean="0"/>
              <a:pPr/>
              <a:t>‹#›</a:t>
            </a:fld>
            <a:endParaRPr lang="en-US"/>
          </a:p>
        </p:txBody>
      </p:sp>
      <p:sp>
        <p:nvSpPr>
          <p:cNvPr id="7" name="Text Placeholder 6">
            <a:extLst>
              <a:ext uri="{FF2B5EF4-FFF2-40B4-BE49-F238E27FC236}">
                <a16:creationId xmlns:a16="http://schemas.microsoft.com/office/drawing/2014/main" id="{D7F08074-975D-439A-8214-343997E50101}"/>
              </a:ext>
            </a:extLst>
          </p:cNvPr>
          <p:cNvSpPr>
            <a:spLocks noGrp="1"/>
          </p:cNvSpPr>
          <p:nvPr>
            <p:ph type="body" sz="quarter" idx="13"/>
          </p:nvPr>
        </p:nvSpPr>
        <p:spPr>
          <a:xfrm>
            <a:off x="413104" y="1521184"/>
            <a:ext cx="3340850" cy="449473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C4B74708-2400-4449-A566-F6158A62A027}"/>
              </a:ext>
            </a:extLst>
          </p:cNvPr>
          <p:cNvSpPr>
            <a:spLocks noGrp="1"/>
          </p:cNvSpPr>
          <p:nvPr>
            <p:ph type="title"/>
          </p:nvPr>
        </p:nvSpPr>
        <p:spPr>
          <a:xfrm>
            <a:off x="410879" y="410669"/>
            <a:ext cx="3340850" cy="77603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71467868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wo Content Dark Righ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D86AC41-762B-4924-A899-F81343A12E1E}"/>
              </a:ext>
            </a:extLst>
          </p:cNvPr>
          <p:cNvSpPr/>
          <p:nvPr/>
        </p:nvSpPr>
        <p:spPr>
          <a:xfrm>
            <a:off x="6096001" y="4"/>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42"/>
          </a:p>
        </p:txBody>
      </p:sp>
      <p:sp>
        <p:nvSpPr>
          <p:cNvPr id="3" name="Content Placeholder 2"/>
          <p:cNvSpPr>
            <a:spLocks noGrp="1"/>
          </p:cNvSpPr>
          <p:nvPr>
            <p:ph sz="half" idx="1"/>
          </p:nvPr>
        </p:nvSpPr>
        <p:spPr>
          <a:xfrm>
            <a:off x="410878" y="1521184"/>
            <a:ext cx="5292112" cy="44947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86790" y="1521184"/>
            <a:ext cx="5292112" cy="449473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r>
              <a:rPr lang="en-US"/>
              <a:t>Document Name</a:t>
            </a:r>
          </a:p>
        </p:txBody>
      </p:sp>
      <p:sp>
        <p:nvSpPr>
          <p:cNvPr id="7" name="Slide Number Placeholder 6"/>
          <p:cNvSpPr>
            <a:spLocks noGrp="1"/>
          </p:cNvSpPr>
          <p:nvPr>
            <p:ph type="sldNum" sz="quarter" idx="12"/>
          </p:nvPr>
        </p:nvSpPr>
        <p:spPr/>
        <p:txBody>
          <a:bodyPr/>
          <a:lstStyle/>
          <a:p>
            <a:fld id="{32B354EE-31EA-4FC2-9496-7B6202183237}" type="slidenum">
              <a:rPr lang="en-US" smtClean="0"/>
              <a:t>‹#›</a:t>
            </a:fld>
            <a:endParaRPr lang="en-US"/>
          </a:p>
        </p:txBody>
      </p:sp>
      <p:sp>
        <p:nvSpPr>
          <p:cNvPr id="8" name="Title 7">
            <a:extLst>
              <a:ext uri="{FF2B5EF4-FFF2-40B4-BE49-F238E27FC236}">
                <a16:creationId xmlns:a16="http://schemas.microsoft.com/office/drawing/2014/main" id="{97185569-060C-4071-87A6-3F288164C3BB}"/>
              </a:ext>
            </a:extLst>
          </p:cNvPr>
          <p:cNvSpPr>
            <a:spLocks noGrp="1"/>
          </p:cNvSpPr>
          <p:nvPr>
            <p:ph type="title"/>
          </p:nvPr>
        </p:nvSpPr>
        <p:spPr>
          <a:xfrm>
            <a:off x="410879" y="410669"/>
            <a:ext cx="5292111" cy="776038"/>
          </a:xfrm>
        </p:spPr>
        <p:txBody>
          <a:bodyPr/>
          <a:lstStyle/>
          <a:p>
            <a:r>
              <a:rPr lang="en-US"/>
              <a:t>Click to edit Master title style</a:t>
            </a:r>
          </a:p>
        </p:txBody>
      </p:sp>
      <p:grpSp>
        <p:nvGrpSpPr>
          <p:cNvPr id="19" name="Group 4">
            <a:extLst>
              <a:ext uri="{FF2B5EF4-FFF2-40B4-BE49-F238E27FC236}">
                <a16:creationId xmlns:a16="http://schemas.microsoft.com/office/drawing/2014/main" id="{0601B898-2CB9-45B9-BA39-02DE943F2544}"/>
              </a:ext>
            </a:extLst>
          </p:cNvPr>
          <p:cNvGrpSpPr>
            <a:grpSpLocks noChangeAspect="1"/>
          </p:cNvGrpSpPr>
          <p:nvPr/>
        </p:nvGrpSpPr>
        <p:grpSpPr bwMode="auto">
          <a:xfrm>
            <a:off x="10432850" y="6330937"/>
            <a:ext cx="1346400" cy="188639"/>
            <a:chOff x="0" y="1622"/>
            <a:chExt cx="7680" cy="1076"/>
          </a:xfrm>
          <a:solidFill>
            <a:schemeClr val="bg1"/>
          </a:solidFill>
        </p:grpSpPr>
        <p:sp>
          <p:nvSpPr>
            <p:cNvPr id="31" name="Freeform 5">
              <a:extLst>
                <a:ext uri="{FF2B5EF4-FFF2-40B4-BE49-F238E27FC236}">
                  <a16:creationId xmlns:a16="http://schemas.microsoft.com/office/drawing/2014/main" id="{43229534-A589-4F34-81F7-9CE4070AB44D}"/>
                </a:ext>
              </a:extLst>
            </p:cNvPr>
            <p:cNvSpPr>
              <a:spLocks/>
            </p:cNvSpPr>
            <p:nvPr/>
          </p:nvSpPr>
          <p:spPr bwMode="auto">
            <a:xfrm>
              <a:off x="1489" y="1874"/>
              <a:ext cx="479" cy="565"/>
            </a:xfrm>
            <a:custGeom>
              <a:avLst/>
              <a:gdLst>
                <a:gd name="T0" fmla="*/ 766 w 766"/>
                <a:gd name="T1" fmla="*/ 745 h 903"/>
                <a:gd name="T2" fmla="*/ 447 w 766"/>
                <a:gd name="T3" fmla="*/ 903 h 903"/>
                <a:gd name="T4" fmla="*/ 0 w 766"/>
                <a:gd name="T5" fmla="*/ 452 h 903"/>
                <a:gd name="T6" fmla="*/ 447 w 766"/>
                <a:gd name="T7" fmla="*/ 0 h 903"/>
                <a:gd name="T8" fmla="*/ 745 w 766"/>
                <a:gd name="T9" fmla="*/ 136 h 903"/>
                <a:gd name="T10" fmla="*/ 668 w 766"/>
                <a:gd name="T11" fmla="*/ 193 h 903"/>
                <a:gd name="T12" fmla="*/ 447 w 766"/>
                <a:gd name="T13" fmla="*/ 80 h 903"/>
                <a:gd name="T14" fmla="*/ 94 w 766"/>
                <a:gd name="T15" fmla="*/ 452 h 903"/>
                <a:gd name="T16" fmla="*/ 447 w 766"/>
                <a:gd name="T17" fmla="*/ 823 h 903"/>
                <a:gd name="T18" fmla="*/ 694 w 766"/>
                <a:gd name="T19" fmla="*/ 694 h 903"/>
                <a:gd name="T20" fmla="*/ 766 w 766"/>
                <a:gd name="T21" fmla="*/ 745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6" h="903">
                  <a:moveTo>
                    <a:pt x="766" y="745"/>
                  </a:moveTo>
                  <a:cubicBezTo>
                    <a:pt x="708" y="834"/>
                    <a:pt x="590" y="903"/>
                    <a:pt x="447" y="903"/>
                  </a:cubicBezTo>
                  <a:cubicBezTo>
                    <a:pt x="192" y="903"/>
                    <a:pt x="0" y="713"/>
                    <a:pt x="0" y="452"/>
                  </a:cubicBezTo>
                  <a:cubicBezTo>
                    <a:pt x="0" y="191"/>
                    <a:pt x="192" y="0"/>
                    <a:pt x="447" y="0"/>
                  </a:cubicBezTo>
                  <a:cubicBezTo>
                    <a:pt x="554" y="0"/>
                    <a:pt x="670" y="40"/>
                    <a:pt x="745" y="136"/>
                  </a:cubicBezTo>
                  <a:cubicBezTo>
                    <a:pt x="668" y="193"/>
                    <a:pt x="668" y="193"/>
                    <a:pt x="668" y="193"/>
                  </a:cubicBezTo>
                  <a:cubicBezTo>
                    <a:pt x="634" y="137"/>
                    <a:pt x="539" y="80"/>
                    <a:pt x="447" y="80"/>
                  </a:cubicBezTo>
                  <a:cubicBezTo>
                    <a:pt x="226" y="80"/>
                    <a:pt x="94" y="254"/>
                    <a:pt x="94" y="452"/>
                  </a:cubicBezTo>
                  <a:cubicBezTo>
                    <a:pt x="94" y="650"/>
                    <a:pt x="226" y="823"/>
                    <a:pt x="447" y="823"/>
                  </a:cubicBezTo>
                  <a:cubicBezTo>
                    <a:pt x="537" y="823"/>
                    <a:pt x="630" y="793"/>
                    <a:pt x="694" y="694"/>
                  </a:cubicBezTo>
                  <a:lnTo>
                    <a:pt x="766" y="7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6">
              <a:extLst>
                <a:ext uri="{FF2B5EF4-FFF2-40B4-BE49-F238E27FC236}">
                  <a16:creationId xmlns:a16="http://schemas.microsoft.com/office/drawing/2014/main" id="{9DEF8685-7AD2-48A8-B69C-9763D07F4380}"/>
                </a:ext>
              </a:extLst>
            </p:cNvPr>
            <p:cNvSpPr>
              <a:spLocks noEditPoints="1"/>
            </p:cNvSpPr>
            <p:nvPr/>
          </p:nvSpPr>
          <p:spPr bwMode="auto">
            <a:xfrm>
              <a:off x="2014" y="1874"/>
              <a:ext cx="560" cy="565"/>
            </a:xfrm>
            <a:custGeom>
              <a:avLst/>
              <a:gdLst>
                <a:gd name="T0" fmla="*/ 448 w 896"/>
                <a:gd name="T1" fmla="*/ 80 h 903"/>
                <a:gd name="T2" fmla="*/ 95 w 896"/>
                <a:gd name="T3" fmla="*/ 452 h 903"/>
                <a:gd name="T4" fmla="*/ 448 w 896"/>
                <a:gd name="T5" fmla="*/ 823 h 903"/>
                <a:gd name="T6" fmla="*/ 801 w 896"/>
                <a:gd name="T7" fmla="*/ 452 h 903"/>
                <a:gd name="T8" fmla="*/ 448 w 896"/>
                <a:gd name="T9" fmla="*/ 80 h 903"/>
                <a:gd name="T10" fmla="*/ 448 w 896"/>
                <a:gd name="T11" fmla="*/ 903 h 903"/>
                <a:gd name="T12" fmla="*/ 0 w 896"/>
                <a:gd name="T13" fmla="*/ 452 h 903"/>
                <a:gd name="T14" fmla="*/ 448 w 896"/>
                <a:gd name="T15" fmla="*/ 0 h 903"/>
                <a:gd name="T16" fmla="*/ 896 w 896"/>
                <a:gd name="T17" fmla="*/ 452 h 903"/>
                <a:gd name="T18" fmla="*/ 448 w 896"/>
                <a:gd name="T19" fmla="*/ 903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6" h="903">
                  <a:moveTo>
                    <a:pt x="448" y="80"/>
                  </a:moveTo>
                  <a:cubicBezTo>
                    <a:pt x="227" y="80"/>
                    <a:pt x="95" y="254"/>
                    <a:pt x="95" y="452"/>
                  </a:cubicBezTo>
                  <a:cubicBezTo>
                    <a:pt x="95" y="649"/>
                    <a:pt x="227" y="823"/>
                    <a:pt x="448" y="823"/>
                  </a:cubicBezTo>
                  <a:cubicBezTo>
                    <a:pt x="669" y="823"/>
                    <a:pt x="801" y="649"/>
                    <a:pt x="801" y="452"/>
                  </a:cubicBezTo>
                  <a:cubicBezTo>
                    <a:pt x="801" y="254"/>
                    <a:pt x="669" y="80"/>
                    <a:pt x="448" y="80"/>
                  </a:cubicBezTo>
                  <a:moveTo>
                    <a:pt x="448" y="903"/>
                  </a:moveTo>
                  <a:cubicBezTo>
                    <a:pt x="192" y="903"/>
                    <a:pt x="0" y="712"/>
                    <a:pt x="0" y="452"/>
                  </a:cubicBezTo>
                  <a:cubicBezTo>
                    <a:pt x="0" y="191"/>
                    <a:pt x="192" y="0"/>
                    <a:pt x="448" y="0"/>
                  </a:cubicBezTo>
                  <a:cubicBezTo>
                    <a:pt x="704" y="0"/>
                    <a:pt x="896" y="191"/>
                    <a:pt x="896" y="452"/>
                  </a:cubicBezTo>
                  <a:cubicBezTo>
                    <a:pt x="896" y="712"/>
                    <a:pt x="704" y="903"/>
                    <a:pt x="448" y="90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7">
              <a:extLst>
                <a:ext uri="{FF2B5EF4-FFF2-40B4-BE49-F238E27FC236}">
                  <a16:creationId xmlns:a16="http://schemas.microsoft.com/office/drawing/2014/main" id="{9B0FF649-6ED2-4D2F-86B1-0A1FD3EF7783}"/>
                </a:ext>
              </a:extLst>
            </p:cNvPr>
            <p:cNvSpPr>
              <a:spLocks/>
            </p:cNvSpPr>
            <p:nvPr/>
          </p:nvSpPr>
          <p:spPr bwMode="auto">
            <a:xfrm>
              <a:off x="2672" y="1888"/>
              <a:ext cx="305" cy="538"/>
            </a:xfrm>
            <a:custGeom>
              <a:avLst/>
              <a:gdLst>
                <a:gd name="T0" fmla="*/ 0 w 305"/>
                <a:gd name="T1" fmla="*/ 0 h 538"/>
                <a:gd name="T2" fmla="*/ 0 w 305"/>
                <a:gd name="T3" fmla="*/ 538 h 538"/>
                <a:gd name="T4" fmla="*/ 305 w 305"/>
                <a:gd name="T5" fmla="*/ 538 h 538"/>
                <a:gd name="T6" fmla="*/ 305 w 305"/>
                <a:gd name="T7" fmla="*/ 488 h 538"/>
                <a:gd name="T8" fmla="*/ 55 w 305"/>
                <a:gd name="T9" fmla="*/ 488 h 538"/>
                <a:gd name="T10" fmla="*/ 55 w 305"/>
                <a:gd name="T11" fmla="*/ 0 h 538"/>
                <a:gd name="T12" fmla="*/ 0 w 305"/>
                <a:gd name="T13" fmla="*/ 0 h 538"/>
              </a:gdLst>
              <a:ahLst/>
              <a:cxnLst>
                <a:cxn ang="0">
                  <a:pos x="T0" y="T1"/>
                </a:cxn>
                <a:cxn ang="0">
                  <a:pos x="T2" y="T3"/>
                </a:cxn>
                <a:cxn ang="0">
                  <a:pos x="T4" y="T5"/>
                </a:cxn>
                <a:cxn ang="0">
                  <a:pos x="T6" y="T7"/>
                </a:cxn>
                <a:cxn ang="0">
                  <a:pos x="T8" y="T9"/>
                </a:cxn>
                <a:cxn ang="0">
                  <a:pos x="T10" y="T11"/>
                </a:cxn>
                <a:cxn ang="0">
                  <a:pos x="T12" y="T13"/>
                </a:cxn>
              </a:cxnLst>
              <a:rect l="0" t="0" r="r" b="b"/>
              <a:pathLst>
                <a:path w="305" h="538">
                  <a:moveTo>
                    <a:pt x="0" y="0"/>
                  </a:moveTo>
                  <a:lnTo>
                    <a:pt x="0" y="538"/>
                  </a:lnTo>
                  <a:lnTo>
                    <a:pt x="305" y="538"/>
                  </a:lnTo>
                  <a:lnTo>
                    <a:pt x="305" y="488"/>
                  </a:lnTo>
                  <a:lnTo>
                    <a:pt x="55" y="488"/>
                  </a:lnTo>
                  <a:lnTo>
                    <a:pt x="55"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8">
              <a:extLst>
                <a:ext uri="{FF2B5EF4-FFF2-40B4-BE49-F238E27FC236}">
                  <a16:creationId xmlns:a16="http://schemas.microsoft.com/office/drawing/2014/main" id="{C1642DF5-C451-4865-9165-6CE339250820}"/>
                </a:ext>
              </a:extLst>
            </p:cNvPr>
            <p:cNvSpPr>
              <a:spLocks noEditPoints="1"/>
            </p:cNvSpPr>
            <p:nvPr/>
          </p:nvSpPr>
          <p:spPr bwMode="auto">
            <a:xfrm>
              <a:off x="2997" y="1874"/>
              <a:ext cx="561" cy="565"/>
            </a:xfrm>
            <a:custGeom>
              <a:avLst/>
              <a:gdLst>
                <a:gd name="T0" fmla="*/ 448 w 896"/>
                <a:gd name="T1" fmla="*/ 80 h 903"/>
                <a:gd name="T2" fmla="*/ 95 w 896"/>
                <a:gd name="T3" fmla="*/ 452 h 903"/>
                <a:gd name="T4" fmla="*/ 448 w 896"/>
                <a:gd name="T5" fmla="*/ 823 h 903"/>
                <a:gd name="T6" fmla="*/ 801 w 896"/>
                <a:gd name="T7" fmla="*/ 452 h 903"/>
                <a:gd name="T8" fmla="*/ 448 w 896"/>
                <a:gd name="T9" fmla="*/ 80 h 903"/>
                <a:gd name="T10" fmla="*/ 448 w 896"/>
                <a:gd name="T11" fmla="*/ 903 h 903"/>
                <a:gd name="T12" fmla="*/ 0 w 896"/>
                <a:gd name="T13" fmla="*/ 452 h 903"/>
                <a:gd name="T14" fmla="*/ 448 w 896"/>
                <a:gd name="T15" fmla="*/ 0 h 903"/>
                <a:gd name="T16" fmla="*/ 896 w 896"/>
                <a:gd name="T17" fmla="*/ 452 h 903"/>
                <a:gd name="T18" fmla="*/ 448 w 896"/>
                <a:gd name="T19" fmla="*/ 903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6" h="903">
                  <a:moveTo>
                    <a:pt x="448" y="80"/>
                  </a:moveTo>
                  <a:cubicBezTo>
                    <a:pt x="227" y="80"/>
                    <a:pt x="95" y="254"/>
                    <a:pt x="95" y="452"/>
                  </a:cubicBezTo>
                  <a:cubicBezTo>
                    <a:pt x="95" y="649"/>
                    <a:pt x="227" y="823"/>
                    <a:pt x="448" y="823"/>
                  </a:cubicBezTo>
                  <a:cubicBezTo>
                    <a:pt x="669" y="823"/>
                    <a:pt x="801" y="649"/>
                    <a:pt x="801" y="452"/>
                  </a:cubicBezTo>
                  <a:cubicBezTo>
                    <a:pt x="801" y="254"/>
                    <a:pt x="669" y="80"/>
                    <a:pt x="448" y="80"/>
                  </a:cubicBezTo>
                  <a:moveTo>
                    <a:pt x="448" y="903"/>
                  </a:moveTo>
                  <a:cubicBezTo>
                    <a:pt x="192" y="903"/>
                    <a:pt x="0" y="712"/>
                    <a:pt x="0" y="452"/>
                  </a:cubicBezTo>
                  <a:cubicBezTo>
                    <a:pt x="0" y="191"/>
                    <a:pt x="192" y="0"/>
                    <a:pt x="448" y="0"/>
                  </a:cubicBezTo>
                  <a:cubicBezTo>
                    <a:pt x="704" y="0"/>
                    <a:pt x="896" y="191"/>
                    <a:pt x="896" y="452"/>
                  </a:cubicBezTo>
                  <a:cubicBezTo>
                    <a:pt x="896" y="712"/>
                    <a:pt x="704" y="903"/>
                    <a:pt x="448" y="90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9">
              <a:extLst>
                <a:ext uri="{FF2B5EF4-FFF2-40B4-BE49-F238E27FC236}">
                  <a16:creationId xmlns:a16="http://schemas.microsoft.com/office/drawing/2014/main" id="{DF463569-06AA-4F45-B219-4017423B874B}"/>
                </a:ext>
              </a:extLst>
            </p:cNvPr>
            <p:cNvSpPr>
              <a:spLocks/>
            </p:cNvSpPr>
            <p:nvPr/>
          </p:nvSpPr>
          <p:spPr bwMode="auto">
            <a:xfrm>
              <a:off x="4182" y="1888"/>
              <a:ext cx="503" cy="538"/>
            </a:xfrm>
            <a:custGeom>
              <a:avLst/>
              <a:gdLst>
                <a:gd name="T0" fmla="*/ 0 w 503"/>
                <a:gd name="T1" fmla="*/ 0 h 538"/>
                <a:gd name="T2" fmla="*/ 119 w 503"/>
                <a:gd name="T3" fmla="*/ 0 h 538"/>
                <a:gd name="T4" fmla="*/ 119 w 503"/>
                <a:gd name="T5" fmla="*/ 243 h 538"/>
                <a:gd name="T6" fmla="*/ 327 w 503"/>
                <a:gd name="T7" fmla="*/ 0 h 538"/>
                <a:gd name="T8" fmla="*/ 482 w 503"/>
                <a:gd name="T9" fmla="*/ 0 h 538"/>
                <a:gd name="T10" fmla="*/ 243 w 503"/>
                <a:gd name="T11" fmla="*/ 270 h 538"/>
                <a:gd name="T12" fmla="*/ 503 w 503"/>
                <a:gd name="T13" fmla="*/ 538 h 538"/>
                <a:gd name="T14" fmla="*/ 337 w 503"/>
                <a:gd name="T15" fmla="*/ 538 h 538"/>
                <a:gd name="T16" fmla="*/ 119 w 503"/>
                <a:gd name="T17" fmla="*/ 302 h 538"/>
                <a:gd name="T18" fmla="*/ 119 w 503"/>
                <a:gd name="T19" fmla="*/ 538 h 538"/>
                <a:gd name="T20" fmla="*/ 0 w 503"/>
                <a:gd name="T21" fmla="*/ 538 h 538"/>
                <a:gd name="T22" fmla="*/ 0 w 503"/>
                <a:gd name="T23"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3" h="538">
                  <a:moveTo>
                    <a:pt x="0" y="0"/>
                  </a:moveTo>
                  <a:lnTo>
                    <a:pt x="119" y="0"/>
                  </a:lnTo>
                  <a:lnTo>
                    <a:pt x="119" y="243"/>
                  </a:lnTo>
                  <a:lnTo>
                    <a:pt x="327" y="0"/>
                  </a:lnTo>
                  <a:lnTo>
                    <a:pt x="482" y="0"/>
                  </a:lnTo>
                  <a:lnTo>
                    <a:pt x="243" y="270"/>
                  </a:lnTo>
                  <a:lnTo>
                    <a:pt x="503" y="538"/>
                  </a:lnTo>
                  <a:lnTo>
                    <a:pt x="337" y="538"/>
                  </a:lnTo>
                  <a:lnTo>
                    <a:pt x="119" y="302"/>
                  </a:lnTo>
                  <a:lnTo>
                    <a:pt x="119" y="538"/>
                  </a:lnTo>
                  <a:lnTo>
                    <a:pt x="0" y="53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10">
              <a:extLst>
                <a:ext uri="{FF2B5EF4-FFF2-40B4-BE49-F238E27FC236}">
                  <a16:creationId xmlns:a16="http://schemas.microsoft.com/office/drawing/2014/main" id="{9DE51780-53C6-45F1-8E8B-D935D29A6887}"/>
                </a:ext>
              </a:extLst>
            </p:cNvPr>
            <p:cNvSpPr>
              <a:spLocks noChangeArrowheads="1"/>
            </p:cNvSpPr>
            <p:nvPr/>
          </p:nvSpPr>
          <p:spPr bwMode="auto">
            <a:xfrm>
              <a:off x="4743" y="1888"/>
              <a:ext cx="118" cy="5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1">
              <a:extLst>
                <a:ext uri="{FF2B5EF4-FFF2-40B4-BE49-F238E27FC236}">
                  <a16:creationId xmlns:a16="http://schemas.microsoft.com/office/drawing/2014/main" id="{87FB53A8-C8F7-43CE-A8C3-9B4F3426ED09}"/>
                </a:ext>
              </a:extLst>
            </p:cNvPr>
            <p:cNvSpPr>
              <a:spLocks/>
            </p:cNvSpPr>
            <p:nvPr/>
          </p:nvSpPr>
          <p:spPr bwMode="auto">
            <a:xfrm>
              <a:off x="4980" y="1888"/>
              <a:ext cx="509" cy="538"/>
            </a:xfrm>
            <a:custGeom>
              <a:avLst/>
              <a:gdLst>
                <a:gd name="T0" fmla="*/ 0 w 509"/>
                <a:gd name="T1" fmla="*/ 0 h 538"/>
                <a:gd name="T2" fmla="*/ 160 w 509"/>
                <a:gd name="T3" fmla="*/ 0 h 538"/>
                <a:gd name="T4" fmla="*/ 389 w 509"/>
                <a:gd name="T5" fmla="*/ 374 h 538"/>
                <a:gd name="T6" fmla="*/ 391 w 509"/>
                <a:gd name="T7" fmla="*/ 374 h 538"/>
                <a:gd name="T8" fmla="*/ 391 w 509"/>
                <a:gd name="T9" fmla="*/ 0 h 538"/>
                <a:gd name="T10" fmla="*/ 509 w 509"/>
                <a:gd name="T11" fmla="*/ 0 h 538"/>
                <a:gd name="T12" fmla="*/ 509 w 509"/>
                <a:gd name="T13" fmla="*/ 538 h 538"/>
                <a:gd name="T14" fmla="*/ 354 w 509"/>
                <a:gd name="T15" fmla="*/ 538 h 538"/>
                <a:gd name="T16" fmla="*/ 120 w 509"/>
                <a:gd name="T17" fmla="*/ 155 h 538"/>
                <a:gd name="T18" fmla="*/ 118 w 509"/>
                <a:gd name="T19" fmla="*/ 155 h 538"/>
                <a:gd name="T20" fmla="*/ 118 w 509"/>
                <a:gd name="T21" fmla="*/ 538 h 538"/>
                <a:gd name="T22" fmla="*/ 0 w 509"/>
                <a:gd name="T23" fmla="*/ 538 h 538"/>
                <a:gd name="T24" fmla="*/ 0 w 509"/>
                <a:gd name="T25"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9" h="538">
                  <a:moveTo>
                    <a:pt x="0" y="0"/>
                  </a:moveTo>
                  <a:lnTo>
                    <a:pt x="160" y="0"/>
                  </a:lnTo>
                  <a:lnTo>
                    <a:pt x="389" y="374"/>
                  </a:lnTo>
                  <a:lnTo>
                    <a:pt x="391" y="374"/>
                  </a:lnTo>
                  <a:lnTo>
                    <a:pt x="391" y="0"/>
                  </a:lnTo>
                  <a:lnTo>
                    <a:pt x="509" y="0"/>
                  </a:lnTo>
                  <a:lnTo>
                    <a:pt x="509" y="538"/>
                  </a:lnTo>
                  <a:lnTo>
                    <a:pt x="354" y="538"/>
                  </a:lnTo>
                  <a:lnTo>
                    <a:pt x="120" y="155"/>
                  </a:lnTo>
                  <a:lnTo>
                    <a:pt x="118" y="155"/>
                  </a:lnTo>
                  <a:lnTo>
                    <a:pt x="118" y="538"/>
                  </a:lnTo>
                  <a:lnTo>
                    <a:pt x="0" y="53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2">
              <a:extLst>
                <a:ext uri="{FF2B5EF4-FFF2-40B4-BE49-F238E27FC236}">
                  <a16:creationId xmlns:a16="http://schemas.microsoft.com/office/drawing/2014/main" id="{31DD79B2-FBD1-403A-A383-FAF521974C07}"/>
                </a:ext>
              </a:extLst>
            </p:cNvPr>
            <p:cNvSpPr>
              <a:spLocks/>
            </p:cNvSpPr>
            <p:nvPr/>
          </p:nvSpPr>
          <p:spPr bwMode="auto">
            <a:xfrm>
              <a:off x="5608" y="1888"/>
              <a:ext cx="378" cy="538"/>
            </a:xfrm>
            <a:custGeom>
              <a:avLst/>
              <a:gdLst>
                <a:gd name="T0" fmla="*/ 0 w 378"/>
                <a:gd name="T1" fmla="*/ 0 h 538"/>
                <a:gd name="T2" fmla="*/ 0 w 378"/>
                <a:gd name="T3" fmla="*/ 538 h 538"/>
                <a:gd name="T4" fmla="*/ 378 w 378"/>
                <a:gd name="T5" fmla="*/ 538 h 538"/>
                <a:gd name="T6" fmla="*/ 378 w 378"/>
                <a:gd name="T7" fmla="*/ 433 h 538"/>
                <a:gd name="T8" fmla="*/ 118 w 378"/>
                <a:gd name="T9" fmla="*/ 433 h 538"/>
                <a:gd name="T10" fmla="*/ 118 w 378"/>
                <a:gd name="T11" fmla="*/ 319 h 538"/>
                <a:gd name="T12" fmla="*/ 351 w 378"/>
                <a:gd name="T13" fmla="*/ 319 h 538"/>
                <a:gd name="T14" fmla="*/ 351 w 378"/>
                <a:gd name="T15" fmla="*/ 210 h 538"/>
                <a:gd name="T16" fmla="*/ 118 w 378"/>
                <a:gd name="T17" fmla="*/ 210 h 538"/>
                <a:gd name="T18" fmla="*/ 118 w 378"/>
                <a:gd name="T19" fmla="*/ 105 h 538"/>
                <a:gd name="T20" fmla="*/ 364 w 378"/>
                <a:gd name="T21" fmla="*/ 105 h 538"/>
                <a:gd name="T22" fmla="*/ 364 w 378"/>
                <a:gd name="T23" fmla="*/ 0 h 538"/>
                <a:gd name="T24" fmla="*/ 0 w 378"/>
                <a:gd name="T25"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8" h="538">
                  <a:moveTo>
                    <a:pt x="0" y="0"/>
                  </a:moveTo>
                  <a:lnTo>
                    <a:pt x="0" y="538"/>
                  </a:lnTo>
                  <a:lnTo>
                    <a:pt x="378" y="538"/>
                  </a:lnTo>
                  <a:lnTo>
                    <a:pt x="378" y="433"/>
                  </a:lnTo>
                  <a:lnTo>
                    <a:pt x="118" y="433"/>
                  </a:lnTo>
                  <a:lnTo>
                    <a:pt x="118" y="319"/>
                  </a:lnTo>
                  <a:lnTo>
                    <a:pt x="351" y="319"/>
                  </a:lnTo>
                  <a:lnTo>
                    <a:pt x="351" y="210"/>
                  </a:lnTo>
                  <a:lnTo>
                    <a:pt x="118" y="210"/>
                  </a:lnTo>
                  <a:lnTo>
                    <a:pt x="118" y="105"/>
                  </a:lnTo>
                  <a:lnTo>
                    <a:pt x="364" y="105"/>
                  </a:lnTo>
                  <a:lnTo>
                    <a:pt x="364"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3">
              <a:extLst>
                <a:ext uri="{FF2B5EF4-FFF2-40B4-BE49-F238E27FC236}">
                  <a16:creationId xmlns:a16="http://schemas.microsoft.com/office/drawing/2014/main" id="{F9AD7E08-BB9F-4E88-AB2E-8761F8BA23D0}"/>
                </a:ext>
              </a:extLst>
            </p:cNvPr>
            <p:cNvSpPr>
              <a:spLocks/>
            </p:cNvSpPr>
            <p:nvPr/>
          </p:nvSpPr>
          <p:spPr bwMode="auto">
            <a:xfrm>
              <a:off x="6052" y="1888"/>
              <a:ext cx="424" cy="538"/>
            </a:xfrm>
            <a:custGeom>
              <a:avLst/>
              <a:gdLst>
                <a:gd name="T0" fmla="*/ 0 w 424"/>
                <a:gd name="T1" fmla="*/ 0 h 538"/>
                <a:gd name="T2" fmla="*/ 0 w 424"/>
                <a:gd name="T3" fmla="*/ 105 h 538"/>
                <a:gd name="T4" fmla="*/ 152 w 424"/>
                <a:gd name="T5" fmla="*/ 105 h 538"/>
                <a:gd name="T6" fmla="*/ 152 w 424"/>
                <a:gd name="T7" fmla="*/ 538 h 538"/>
                <a:gd name="T8" fmla="*/ 271 w 424"/>
                <a:gd name="T9" fmla="*/ 538 h 538"/>
                <a:gd name="T10" fmla="*/ 271 w 424"/>
                <a:gd name="T11" fmla="*/ 105 h 538"/>
                <a:gd name="T12" fmla="*/ 424 w 424"/>
                <a:gd name="T13" fmla="*/ 105 h 538"/>
                <a:gd name="T14" fmla="*/ 424 w 424"/>
                <a:gd name="T15" fmla="*/ 0 h 538"/>
                <a:gd name="T16" fmla="*/ 0 w 424"/>
                <a:gd name="T17"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4" h="538">
                  <a:moveTo>
                    <a:pt x="0" y="0"/>
                  </a:moveTo>
                  <a:lnTo>
                    <a:pt x="0" y="105"/>
                  </a:lnTo>
                  <a:lnTo>
                    <a:pt x="152" y="105"/>
                  </a:lnTo>
                  <a:lnTo>
                    <a:pt x="152" y="538"/>
                  </a:lnTo>
                  <a:lnTo>
                    <a:pt x="271" y="538"/>
                  </a:lnTo>
                  <a:lnTo>
                    <a:pt x="271" y="105"/>
                  </a:lnTo>
                  <a:lnTo>
                    <a:pt x="424" y="105"/>
                  </a:lnTo>
                  <a:lnTo>
                    <a:pt x="424"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Rectangle 14">
              <a:extLst>
                <a:ext uri="{FF2B5EF4-FFF2-40B4-BE49-F238E27FC236}">
                  <a16:creationId xmlns:a16="http://schemas.microsoft.com/office/drawing/2014/main" id="{E4C38675-2FFC-4DAB-8E7E-4313BA840BA6}"/>
                </a:ext>
              </a:extLst>
            </p:cNvPr>
            <p:cNvSpPr>
              <a:spLocks noChangeArrowheads="1"/>
            </p:cNvSpPr>
            <p:nvPr/>
          </p:nvSpPr>
          <p:spPr bwMode="auto">
            <a:xfrm>
              <a:off x="6554" y="1888"/>
              <a:ext cx="119" cy="5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5">
              <a:extLst>
                <a:ext uri="{FF2B5EF4-FFF2-40B4-BE49-F238E27FC236}">
                  <a16:creationId xmlns:a16="http://schemas.microsoft.com/office/drawing/2014/main" id="{724819DA-168C-4FDF-904B-A8901991A97F}"/>
                </a:ext>
              </a:extLst>
            </p:cNvPr>
            <p:cNvSpPr>
              <a:spLocks noEditPoints="1"/>
            </p:cNvSpPr>
            <p:nvPr/>
          </p:nvSpPr>
          <p:spPr bwMode="auto">
            <a:xfrm>
              <a:off x="3658" y="1888"/>
              <a:ext cx="383" cy="538"/>
            </a:xfrm>
            <a:custGeom>
              <a:avLst/>
              <a:gdLst>
                <a:gd name="T0" fmla="*/ 87 w 613"/>
                <a:gd name="T1" fmla="*/ 376 h 859"/>
                <a:gd name="T2" fmla="*/ 278 w 613"/>
                <a:gd name="T3" fmla="*/ 376 h 859"/>
                <a:gd name="T4" fmla="*/ 462 w 613"/>
                <a:gd name="T5" fmla="*/ 228 h 859"/>
                <a:gd name="T6" fmla="*/ 278 w 613"/>
                <a:gd name="T7" fmla="*/ 82 h 859"/>
                <a:gd name="T8" fmla="*/ 87 w 613"/>
                <a:gd name="T9" fmla="*/ 82 h 859"/>
                <a:gd name="T10" fmla="*/ 87 w 613"/>
                <a:gd name="T11" fmla="*/ 376 h 859"/>
                <a:gd name="T12" fmla="*/ 497 w 613"/>
                <a:gd name="T13" fmla="*/ 859 h 859"/>
                <a:gd name="T14" fmla="*/ 87 w 613"/>
                <a:gd name="T15" fmla="*/ 428 h 859"/>
                <a:gd name="T16" fmla="*/ 87 w 613"/>
                <a:gd name="T17" fmla="*/ 859 h 859"/>
                <a:gd name="T18" fmla="*/ 0 w 613"/>
                <a:gd name="T19" fmla="*/ 859 h 859"/>
                <a:gd name="T20" fmla="*/ 0 w 613"/>
                <a:gd name="T21" fmla="*/ 0 h 859"/>
                <a:gd name="T22" fmla="*/ 270 w 613"/>
                <a:gd name="T23" fmla="*/ 0 h 859"/>
                <a:gd name="T24" fmla="*/ 555 w 613"/>
                <a:gd name="T25" fmla="*/ 228 h 859"/>
                <a:gd name="T26" fmla="*/ 270 w 613"/>
                <a:gd name="T27" fmla="*/ 453 h 859"/>
                <a:gd name="T28" fmla="*/ 222 w 613"/>
                <a:gd name="T29" fmla="*/ 453 h 859"/>
                <a:gd name="T30" fmla="*/ 613 w 613"/>
                <a:gd name="T31" fmla="*/ 859 h 859"/>
                <a:gd name="T32" fmla="*/ 497 w 613"/>
                <a:gd name="T33" fmla="*/ 859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13" h="859">
                  <a:moveTo>
                    <a:pt x="87" y="376"/>
                  </a:moveTo>
                  <a:cubicBezTo>
                    <a:pt x="278" y="376"/>
                    <a:pt x="278" y="376"/>
                    <a:pt x="278" y="376"/>
                  </a:cubicBezTo>
                  <a:cubicBezTo>
                    <a:pt x="396" y="376"/>
                    <a:pt x="462" y="328"/>
                    <a:pt x="462" y="228"/>
                  </a:cubicBezTo>
                  <a:cubicBezTo>
                    <a:pt x="462" y="129"/>
                    <a:pt x="396" y="82"/>
                    <a:pt x="278" y="82"/>
                  </a:cubicBezTo>
                  <a:cubicBezTo>
                    <a:pt x="87" y="82"/>
                    <a:pt x="87" y="82"/>
                    <a:pt x="87" y="82"/>
                  </a:cubicBezTo>
                  <a:lnTo>
                    <a:pt x="87" y="376"/>
                  </a:lnTo>
                  <a:close/>
                  <a:moveTo>
                    <a:pt x="497" y="859"/>
                  </a:moveTo>
                  <a:cubicBezTo>
                    <a:pt x="87" y="428"/>
                    <a:pt x="87" y="428"/>
                    <a:pt x="87" y="428"/>
                  </a:cubicBezTo>
                  <a:cubicBezTo>
                    <a:pt x="87" y="859"/>
                    <a:pt x="87" y="859"/>
                    <a:pt x="87" y="859"/>
                  </a:cubicBezTo>
                  <a:cubicBezTo>
                    <a:pt x="0" y="859"/>
                    <a:pt x="0" y="859"/>
                    <a:pt x="0" y="859"/>
                  </a:cubicBezTo>
                  <a:cubicBezTo>
                    <a:pt x="0" y="0"/>
                    <a:pt x="0" y="0"/>
                    <a:pt x="0" y="0"/>
                  </a:cubicBezTo>
                  <a:cubicBezTo>
                    <a:pt x="270" y="0"/>
                    <a:pt x="270" y="0"/>
                    <a:pt x="270" y="0"/>
                  </a:cubicBezTo>
                  <a:cubicBezTo>
                    <a:pt x="457" y="0"/>
                    <a:pt x="555" y="91"/>
                    <a:pt x="555" y="228"/>
                  </a:cubicBezTo>
                  <a:cubicBezTo>
                    <a:pt x="555" y="367"/>
                    <a:pt x="457" y="453"/>
                    <a:pt x="270" y="453"/>
                  </a:cubicBezTo>
                  <a:cubicBezTo>
                    <a:pt x="222" y="453"/>
                    <a:pt x="222" y="453"/>
                    <a:pt x="222" y="453"/>
                  </a:cubicBezTo>
                  <a:cubicBezTo>
                    <a:pt x="613" y="859"/>
                    <a:pt x="613" y="859"/>
                    <a:pt x="613" y="859"/>
                  </a:cubicBezTo>
                  <a:lnTo>
                    <a:pt x="497" y="8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6">
              <a:extLst>
                <a:ext uri="{FF2B5EF4-FFF2-40B4-BE49-F238E27FC236}">
                  <a16:creationId xmlns:a16="http://schemas.microsoft.com/office/drawing/2014/main" id="{C75CEB69-F788-4262-ABDA-476B429CC9EA}"/>
                </a:ext>
              </a:extLst>
            </p:cNvPr>
            <p:cNvSpPr>
              <a:spLocks/>
            </p:cNvSpPr>
            <p:nvPr/>
          </p:nvSpPr>
          <p:spPr bwMode="auto">
            <a:xfrm>
              <a:off x="6752" y="1881"/>
              <a:ext cx="476" cy="558"/>
            </a:xfrm>
            <a:custGeom>
              <a:avLst/>
              <a:gdLst>
                <a:gd name="T0" fmla="*/ 0 w 761"/>
                <a:gd name="T1" fmla="*/ 447 h 893"/>
                <a:gd name="T2" fmla="*/ 417 w 761"/>
                <a:gd name="T3" fmla="*/ 0 h 893"/>
                <a:gd name="T4" fmla="*/ 747 w 761"/>
                <a:gd name="T5" fmla="*/ 181 h 893"/>
                <a:gd name="T6" fmla="*/ 614 w 761"/>
                <a:gd name="T7" fmla="*/ 285 h 893"/>
                <a:gd name="T8" fmla="*/ 421 w 761"/>
                <a:gd name="T9" fmla="*/ 178 h 893"/>
                <a:gd name="T10" fmla="*/ 197 w 761"/>
                <a:gd name="T11" fmla="*/ 447 h 893"/>
                <a:gd name="T12" fmla="*/ 427 w 761"/>
                <a:gd name="T13" fmla="*/ 715 h 893"/>
                <a:gd name="T14" fmla="*/ 623 w 761"/>
                <a:gd name="T15" fmla="*/ 608 h 893"/>
                <a:gd name="T16" fmla="*/ 761 w 761"/>
                <a:gd name="T17" fmla="*/ 715 h 893"/>
                <a:gd name="T18" fmla="*/ 423 w 761"/>
                <a:gd name="T19" fmla="*/ 893 h 893"/>
                <a:gd name="T20" fmla="*/ 0 w 761"/>
                <a:gd name="T21" fmla="*/ 447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1" h="893">
                  <a:moveTo>
                    <a:pt x="0" y="447"/>
                  </a:moveTo>
                  <a:cubicBezTo>
                    <a:pt x="0" y="177"/>
                    <a:pt x="160" y="0"/>
                    <a:pt x="417" y="0"/>
                  </a:cubicBezTo>
                  <a:cubicBezTo>
                    <a:pt x="582" y="0"/>
                    <a:pt x="698" y="79"/>
                    <a:pt x="747" y="181"/>
                  </a:cubicBezTo>
                  <a:cubicBezTo>
                    <a:pt x="614" y="285"/>
                    <a:pt x="614" y="285"/>
                    <a:pt x="614" y="285"/>
                  </a:cubicBezTo>
                  <a:cubicBezTo>
                    <a:pt x="570" y="211"/>
                    <a:pt x="493" y="178"/>
                    <a:pt x="421" y="178"/>
                  </a:cubicBezTo>
                  <a:cubicBezTo>
                    <a:pt x="295" y="178"/>
                    <a:pt x="197" y="269"/>
                    <a:pt x="197" y="447"/>
                  </a:cubicBezTo>
                  <a:cubicBezTo>
                    <a:pt x="197" y="614"/>
                    <a:pt x="300" y="715"/>
                    <a:pt x="427" y="715"/>
                  </a:cubicBezTo>
                  <a:cubicBezTo>
                    <a:pt x="500" y="715"/>
                    <a:pt x="579" y="682"/>
                    <a:pt x="623" y="608"/>
                  </a:cubicBezTo>
                  <a:cubicBezTo>
                    <a:pt x="761" y="715"/>
                    <a:pt x="761" y="715"/>
                    <a:pt x="761" y="715"/>
                  </a:cubicBezTo>
                  <a:cubicBezTo>
                    <a:pt x="699" y="819"/>
                    <a:pt x="590" y="893"/>
                    <a:pt x="423" y="893"/>
                  </a:cubicBezTo>
                  <a:cubicBezTo>
                    <a:pt x="163" y="893"/>
                    <a:pt x="0" y="716"/>
                    <a:pt x="0" y="44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7">
              <a:extLst>
                <a:ext uri="{FF2B5EF4-FFF2-40B4-BE49-F238E27FC236}">
                  <a16:creationId xmlns:a16="http://schemas.microsoft.com/office/drawing/2014/main" id="{9583E25A-DC66-4F63-AF51-B586E18EB720}"/>
                </a:ext>
              </a:extLst>
            </p:cNvPr>
            <p:cNvSpPr>
              <a:spLocks/>
            </p:cNvSpPr>
            <p:nvPr/>
          </p:nvSpPr>
          <p:spPr bwMode="auto">
            <a:xfrm>
              <a:off x="7271" y="1874"/>
              <a:ext cx="409" cy="565"/>
            </a:xfrm>
            <a:custGeom>
              <a:avLst/>
              <a:gdLst>
                <a:gd name="T0" fmla="*/ 404 w 654"/>
                <a:gd name="T1" fmla="*/ 376 h 903"/>
                <a:gd name="T2" fmla="*/ 287 w 654"/>
                <a:gd name="T3" fmla="*/ 354 h 903"/>
                <a:gd name="T4" fmla="*/ 202 w 654"/>
                <a:gd name="T5" fmla="*/ 264 h 903"/>
                <a:gd name="T6" fmla="*/ 321 w 654"/>
                <a:gd name="T7" fmla="*/ 171 h 903"/>
                <a:gd name="T8" fmla="*/ 478 w 654"/>
                <a:gd name="T9" fmla="*/ 270 h 903"/>
                <a:gd name="T10" fmla="*/ 617 w 654"/>
                <a:gd name="T11" fmla="*/ 163 h 903"/>
                <a:gd name="T12" fmla="*/ 322 w 654"/>
                <a:gd name="T13" fmla="*/ 0 h 903"/>
                <a:gd name="T14" fmla="*/ 12 w 654"/>
                <a:gd name="T15" fmla="*/ 279 h 903"/>
                <a:gd name="T16" fmla="*/ 247 w 654"/>
                <a:gd name="T17" fmla="*/ 523 h 903"/>
                <a:gd name="T18" fmla="*/ 366 w 654"/>
                <a:gd name="T19" fmla="*/ 546 h 903"/>
                <a:gd name="T20" fmla="*/ 459 w 654"/>
                <a:gd name="T21" fmla="*/ 642 h 903"/>
                <a:gd name="T22" fmla="*/ 336 w 654"/>
                <a:gd name="T23" fmla="*/ 734 h 903"/>
                <a:gd name="T24" fmla="*/ 143 w 654"/>
                <a:gd name="T25" fmla="*/ 594 h 903"/>
                <a:gd name="T26" fmla="*/ 0 w 654"/>
                <a:gd name="T27" fmla="*/ 704 h 903"/>
                <a:gd name="T28" fmla="*/ 334 w 654"/>
                <a:gd name="T29" fmla="*/ 903 h 903"/>
                <a:gd name="T30" fmla="*/ 654 w 654"/>
                <a:gd name="T31" fmla="*/ 629 h 903"/>
                <a:gd name="T32" fmla="*/ 404 w 654"/>
                <a:gd name="T33" fmla="*/ 376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4" h="903">
                  <a:moveTo>
                    <a:pt x="404" y="376"/>
                  </a:moveTo>
                  <a:cubicBezTo>
                    <a:pt x="287" y="354"/>
                    <a:pt x="287" y="354"/>
                    <a:pt x="287" y="354"/>
                  </a:cubicBezTo>
                  <a:cubicBezTo>
                    <a:pt x="228" y="344"/>
                    <a:pt x="202" y="305"/>
                    <a:pt x="202" y="264"/>
                  </a:cubicBezTo>
                  <a:cubicBezTo>
                    <a:pt x="202" y="216"/>
                    <a:pt x="249" y="171"/>
                    <a:pt x="321" y="171"/>
                  </a:cubicBezTo>
                  <a:cubicBezTo>
                    <a:pt x="403" y="171"/>
                    <a:pt x="451" y="222"/>
                    <a:pt x="478" y="270"/>
                  </a:cubicBezTo>
                  <a:cubicBezTo>
                    <a:pt x="617" y="163"/>
                    <a:pt x="617" y="163"/>
                    <a:pt x="617" y="163"/>
                  </a:cubicBezTo>
                  <a:cubicBezTo>
                    <a:pt x="578" y="79"/>
                    <a:pt x="491" y="0"/>
                    <a:pt x="322" y="0"/>
                  </a:cubicBezTo>
                  <a:cubicBezTo>
                    <a:pt x="156" y="0"/>
                    <a:pt x="12" y="115"/>
                    <a:pt x="12" y="279"/>
                  </a:cubicBezTo>
                  <a:cubicBezTo>
                    <a:pt x="12" y="407"/>
                    <a:pt x="101" y="496"/>
                    <a:pt x="247" y="523"/>
                  </a:cubicBezTo>
                  <a:cubicBezTo>
                    <a:pt x="366" y="546"/>
                    <a:pt x="366" y="546"/>
                    <a:pt x="366" y="546"/>
                  </a:cubicBezTo>
                  <a:cubicBezTo>
                    <a:pt x="423" y="557"/>
                    <a:pt x="459" y="597"/>
                    <a:pt x="459" y="642"/>
                  </a:cubicBezTo>
                  <a:cubicBezTo>
                    <a:pt x="459" y="695"/>
                    <a:pt x="413" y="734"/>
                    <a:pt x="336" y="734"/>
                  </a:cubicBezTo>
                  <a:cubicBezTo>
                    <a:pt x="219" y="734"/>
                    <a:pt x="161" y="649"/>
                    <a:pt x="143" y="594"/>
                  </a:cubicBezTo>
                  <a:cubicBezTo>
                    <a:pt x="0" y="704"/>
                    <a:pt x="0" y="704"/>
                    <a:pt x="0" y="704"/>
                  </a:cubicBezTo>
                  <a:cubicBezTo>
                    <a:pt x="41" y="806"/>
                    <a:pt x="144" y="903"/>
                    <a:pt x="334" y="903"/>
                  </a:cubicBezTo>
                  <a:cubicBezTo>
                    <a:pt x="541" y="903"/>
                    <a:pt x="654" y="765"/>
                    <a:pt x="654" y="629"/>
                  </a:cubicBezTo>
                  <a:cubicBezTo>
                    <a:pt x="654" y="506"/>
                    <a:pt x="569" y="407"/>
                    <a:pt x="404" y="37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8">
              <a:extLst>
                <a:ext uri="{FF2B5EF4-FFF2-40B4-BE49-F238E27FC236}">
                  <a16:creationId xmlns:a16="http://schemas.microsoft.com/office/drawing/2014/main" id="{06369091-6A79-4886-A89E-5D39AA36E0A7}"/>
                </a:ext>
              </a:extLst>
            </p:cNvPr>
            <p:cNvSpPr>
              <a:spLocks/>
            </p:cNvSpPr>
            <p:nvPr/>
          </p:nvSpPr>
          <p:spPr bwMode="auto">
            <a:xfrm>
              <a:off x="0" y="1622"/>
              <a:ext cx="857" cy="1076"/>
            </a:xfrm>
            <a:custGeom>
              <a:avLst/>
              <a:gdLst>
                <a:gd name="T0" fmla="*/ 859 w 1370"/>
                <a:gd name="T1" fmla="*/ 1020 h 1719"/>
                <a:gd name="T2" fmla="*/ 859 w 1370"/>
                <a:gd name="T3" fmla="*/ 1336 h 1719"/>
                <a:gd name="T4" fmla="*/ 383 w 1370"/>
                <a:gd name="T5" fmla="*/ 860 h 1719"/>
                <a:gd name="T6" fmla="*/ 859 w 1370"/>
                <a:gd name="T7" fmla="*/ 384 h 1719"/>
                <a:gd name="T8" fmla="*/ 859 w 1370"/>
                <a:gd name="T9" fmla="*/ 714 h 1719"/>
                <a:gd name="T10" fmla="*/ 1370 w 1370"/>
                <a:gd name="T11" fmla="*/ 169 h 1719"/>
                <a:gd name="T12" fmla="*/ 859 w 1370"/>
                <a:gd name="T13" fmla="*/ 0 h 1719"/>
                <a:gd name="T14" fmla="*/ 0 w 1370"/>
                <a:gd name="T15" fmla="*/ 860 h 1719"/>
                <a:gd name="T16" fmla="*/ 859 w 1370"/>
                <a:gd name="T17" fmla="*/ 1719 h 1719"/>
                <a:gd name="T18" fmla="*/ 1335 w 1370"/>
                <a:gd name="T19" fmla="*/ 1575 h 1719"/>
                <a:gd name="T20" fmla="*/ 859 w 1370"/>
                <a:gd name="T21" fmla="*/ 1020 h 1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70" h="1719">
                  <a:moveTo>
                    <a:pt x="859" y="1020"/>
                  </a:moveTo>
                  <a:cubicBezTo>
                    <a:pt x="859" y="1336"/>
                    <a:pt x="859" y="1336"/>
                    <a:pt x="859" y="1336"/>
                  </a:cubicBezTo>
                  <a:cubicBezTo>
                    <a:pt x="596" y="1336"/>
                    <a:pt x="383" y="1122"/>
                    <a:pt x="383" y="860"/>
                  </a:cubicBezTo>
                  <a:cubicBezTo>
                    <a:pt x="383" y="596"/>
                    <a:pt x="596" y="384"/>
                    <a:pt x="859" y="384"/>
                  </a:cubicBezTo>
                  <a:cubicBezTo>
                    <a:pt x="859" y="714"/>
                    <a:pt x="859" y="714"/>
                    <a:pt x="859" y="714"/>
                  </a:cubicBezTo>
                  <a:cubicBezTo>
                    <a:pt x="1370" y="169"/>
                    <a:pt x="1370" y="169"/>
                    <a:pt x="1370" y="169"/>
                  </a:cubicBezTo>
                  <a:cubicBezTo>
                    <a:pt x="1227" y="63"/>
                    <a:pt x="1051" y="0"/>
                    <a:pt x="859" y="0"/>
                  </a:cubicBezTo>
                  <a:cubicBezTo>
                    <a:pt x="385" y="0"/>
                    <a:pt x="0" y="385"/>
                    <a:pt x="0" y="860"/>
                  </a:cubicBezTo>
                  <a:cubicBezTo>
                    <a:pt x="0" y="1334"/>
                    <a:pt x="385" y="1719"/>
                    <a:pt x="859" y="1719"/>
                  </a:cubicBezTo>
                  <a:cubicBezTo>
                    <a:pt x="1035" y="1719"/>
                    <a:pt x="1199" y="1666"/>
                    <a:pt x="1335" y="1575"/>
                  </a:cubicBezTo>
                  <a:lnTo>
                    <a:pt x="859" y="10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9">
              <a:extLst>
                <a:ext uri="{FF2B5EF4-FFF2-40B4-BE49-F238E27FC236}">
                  <a16:creationId xmlns:a16="http://schemas.microsoft.com/office/drawing/2014/main" id="{3C4C6ED6-7F46-4A92-99EF-1F1DC26BF70C}"/>
                </a:ext>
              </a:extLst>
            </p:cNvPr>
            <p:cNvSpPr>
              <a:spLocks/>
            </p:cNvSpPr>
            <p:nvPr/>
          </p:nvSpPr>
          <p:spPr bwMode="auto">
            <a:xfrm>
              <a:off x="583" y="1854"/>
              <a:ext cx="491" cy="612"/>
            </a:xfrm>
            <a:custGeom>
              <a:avLst/>
              <a:gdLst>
                <a:gd name="T0" fmla="*/ 634 w 786"/>
                <a:gd name="T1" fmla="*/ 0 h 979"/>
                <a:gd name="T2" fmla="*/ 0 w 786"/>
                <a:gd name="T3" fmla="*/ 490 h 979"/>
                <a:gd name="T4" fmla="*/ 634 w 786"/>
                <a:gd name="T5" fmla="*/ 979 h 979"/>
                <a:gd name="T6" fmla="*/ 786 w 786"/>
                <a:gd name="T7" fmla="*/ 490 h 979"/>
                <a:gd name="T8" fmla="*/ 634 w 786"/>
                <a:gd name="T9" fmla="*/ 0 h 979"/>
              </a:gdLst>
              <a:ahLst/>
              <a:cxnLst>
                <a:cxn ang="0">
                  <a:pos x="T0" y="T1"/>
                </a:cxn>
                <a:cxn ang="0">
                  <a:pos x="T2" y="T3"/>
                </a:cxn>
                <a:cxn ang="0">
                  <a:pos x="T4" y="T5"/>
                </a:cxn>
                <a:cxn ang="0">
                  <a:pos x="T6" y="T7"/>
                </a:cxn>
                <a:cxn ang="0">
                  <a:pos x="T8" y="T9"/>
                </a:cxn>
              </a:cxnLst>
              <a:rect l="0" t="0" r="r" b="b"/>
              <a:pathLst>
                <a:path w="786" h="979">
                  <a:moveTo>
                    <a:pt x="634" y="0"/>
                  </a:moveTo>
                  <a:cubicBezTo>
                    <a:pt x="0" y="490"/>
                    <a:pt x="0" y="490"/>
                    <a:pt x="0" y="490"/>
                  </a:cubicBezTo>
                  <a:cubicBezTo>
                    <a:pt x="634" y="979"/>
                    <a:pt x="634" y="979"/>
                    <a:pt x="634" y="979"/>
                  </a:cubicBezTo>
                  <a:cubicBezTo>
                    <a:pt x="730" y="840"/>
                    <a:pt x="786" y="671"/>
                    <a:pt x="786" y="490"/>
                  </a:cubicBezTo>
                  <a:cubicBezTo>
                    <a:pt x="786" y="308"/>
                    <a:pt x="730" y="139"/>
                    <a:pt x="6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267032220"/>
      </p:ext>
    </p:extLst>
  </p:cSld>
  <p:clrMapOvr>
    <a:masterClrMapping/>
  </p:clrMapOvr>
  <p:transition>
    <p:fade/>
  </p:transition>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wo Content Dark Lef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D86AC41-762B-4924-A899-F81343A12E1E}"/>
              </a:ext>
            </a:extLst>
          </p:cNvPr>
          <p:cNvSpPr/>
          <p:nvPr/>
        </p:nvSpPr>
        <p:spPr>
          <a:xfrm>
            <a:off x="906" y="-1"/>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42"/>
          </a:p>
        </p:txBody>
      </p:sp>
      <p:sp>
        <p:nvSpPr>
          <p:cNvPr id="4" name="Content Placeholder 3"/>
          <p:cNvSpPr>
            <a:spLocks noGrp="1"/>
          </p:cNvSpPr>
          <p:nvPr>
            <p:ph sz="half" idx="2"/>
          </p:nvPr>
        </p:nvSpPr>
        <p:spPr>
          <a:xfrm>
            <a:off x="410878" y="1521183"/>
            <a:ext cx="5292112" cy="4494732"/>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2"/>
          <p:cNvSpPr>
            <a:spLocks noGrp="1"/>
          </p:cNvSpPr>
          <p:nvPr>
            <p:ph sz="half" idx="1"/>
          </p:nvPr>
        </p:nvSpPr>
        <p:spPr>
          <a:xfrm>
            <a:off x="6480442" y="1521183"/>
            <a:ext cx="5292000" cy="44947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lvl1pPr>
              <a:defRPr>
                <a:solidFill>
                  <a:schemeClr val="bg1"/>
                </a:solidFill>
              </a:defRPr>
            </a:lvl1pPr>
          </a:lstStyle>
          <a:p>
            <a:r>
              <a:rPr lang="en-US"/>
              <a:t>Document Name</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32B354EE-31EA-4FC2-9496-7B6202183237}" type="slidenum">
              <a:rPr lang="en-US" smtClean="0"/>
              <a:pPr/>
              <a:t>‹#›</a:t>
            </a:fld>
            <a:endParaRPr lang="en-US"/>
          </a:p>
        </p:txBody>
      </p:sp>
      <p:sp>
        <p:nvSpPr>
          <p:cNvPr id="8" name="Title 7">
            <a:extLst>
              <a:ext uri="{FF2B5EF4-FFF2-40B4-BE49-F238E27FC236}">
                <a16:creationId xmlns:a16="http://schemas.microsoft.com/office/drawing/2014/main" id="{FD930A9A-C0DD-4B8F-B286-D07D532A2ED0}"/>
              </a:ext>
            </a:extLst>
          </p:cNvPr>
          <p:cNvSpPr>
            <a:spLocks noGrp="1"/>
          </p:cNvSpPr>
          <p:nvPr>
            <p:ph type="title"/>
          </p:nvPr>
        </p:nvSpPr>
        <p:spPr>
          <a:xfrm>
            <a:off x="6487250" y="411163"/>
            <a:ext cx="5292000" cy="776038"/>
          </a:xfrm>
        </p:spPr>
        <p:txBody>
          <a:bodyPr/>
          <a:lstStyle/>
          <a:p>
            <a:r>
              <a:rPr lang="en-US"/>
              <a:t>Click to edit Master title style</a:t>
            </a:r>
          </a:p>
        </p:txBody>
      </p:sp>
    </p:spTree>
    <p:extLst>
      <p:ext uri="{BB962C8B-B14F-4D97-AF65-F5344CB8AC3E}">
        <p14:creationId xmlns:p14="http://schemas.microsoft.com/office/powerpoint/2010/main" val="8041724"/>
      </p:ext>
    </p:extLst>
  </p:cSld>
  <p:clrMapOvr>
    <a:masterClrMapping/>
  </p:clrMapOvr>
  <p:transition>
    <p:fade/>
  </p:transition>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tx1"/>
        </a:solidFill>
        <a:effectLst/>
      </p:bgPr>
    </p:bg>
    <p:spTree>
      <p:nvGrpSpPr>
        <p:cNvPr id="1" name=""/>
        <p:cNvGrpSpPr/>
        <p:nvPr/>
      </p:nvGrpSpPr>
      <p:grpSpPr>
        <a:xfrm>
          <a:off x="0" y="0"/>
          <a:ext cx="0" cy="0"/>
          <a:chOff x="0" y="0"/>
          <a:chExt cx="0" cy="0"/>
        </a:xfrm>
      </p:grpSpPr>
      <p:grpSp>
        <p:nvGrpSpPr>
          <p:cNvPr id="17" name="Group 4">
            <a:extLst>
              <a:ext uri="{FF2B5EF4-FFF2-40B4-BE49-F238E27FC236}">
                <a16:creationId xmlns:a16="http://schemas.microsoft.com/office/drawing/2014/main" id="{B725D07D-06C0-459D-857E-391302C20C8B}"/>
              </a:ext>
            </a:extLst>
          </p:cNvPr>
          <p:cNvGrpSpPr>
            <a:grpSpLocks noChangeAspect="1"/>
          </p:cNvGrpSpPr>
          <p:nvPr/>
        </p:nvGrpSpPr>
        <p:grpSpPr bwMode="auto">
          <a:xfrm>
            <a:off x="3468000" y="3060800"/>
            <a:ext cx="5256000" cy="736399"/>
            <a:chOff x="0" y="1622"/>
            <a:chExt cx="7680" cy="1076"/>
          </a:xfrm>
          <a:solidFill>
            <a:schemeClr val="bg1"/>
          </a:solidFill>
        </p:grpSpPr>
        <p:sp>
          <p:nvSpPr>
            <p:cNvPr id="18" name="Freeform 5">
              <a:extLst>
                <a:ext uri="{FF2B5EF4-FFF2-40B4-BE49-F238E27FC236}">
                  <a16:creationId xmlns:a16="http://schemas.microsoft.com/office/drawing/2014/main" id="{E1BF17F4-6979-4E8A-A4E9-43502326D61E}"/>
                </a:ext>
              </a:extLst>
            </p:cNvPr>
            <p:cNvSpPr>
              <a:spLocks/>
            </p:cNvSpPr>
            <p:nvPr/>
          </p:nvSpPr>
          <p:spPr bwMode="auto">
            <a:xfrm>
              <a:off x="1489" y="1874"/>
              <a:ext cx="479" cy="565"/>
            </a:xfrm>
            <a:custGeom>
              <a:avLst/>
              <a:gdLst>
                <a:gd name="T0" fmla="*/ 766 w 766"/>
                <a:gd name="T1" fmla="*/ 745 h 903"/>
                <a:gd name="T2" fmla="*/ 447 w 766"/>
                <a:gd name="T3" fmla="*/ 903 h 903"/>
                <a:gd name="T4" fmla="*/ 0 w 766"/>
                <a:gd name="T5" fmla="*/ 452 h 903"/>
                <a:gd name="T6" fmla="*/ 447 w 766"/>
                <a:gd name="T7" fmla="*/ 0 h 903"/>
                <a:gd name="T8" fmla="*/ 745 w 766"/>
                <a:gd name="T9" fmla="*/ 136 h 903"/>
                <a:gd name="T10" fmla="*/ 668 w 766"/>
                <a:gd name="T11" fmla="*/ 193 h 903"/>
                <a:gd name="T12" fmla="*/ 447 w 766"/>
                <a:gd name="T13" fmla="*/ 80 h 903"/>
                <a:gd name="T14" fmla="*/ 94 w 766"/>
                <a:gd name="T15" fmla="*/ 452 h 903"/>
                <a:gd name="T16" fmla="*/ 447 w 766"/>
                <a:gd name="T17" fmla="*/ 823 h 903"/>
                <a:gd name="T18" fmla="*/ 694 w 766"/>
                <a:gd name="T19" fmla="*/ 694 h 903"/>
                <a:gd name="T20" fmla="*/ 766 w 766"/>
                <a:gd name="T21" fmla="*/ 745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6" h="903">
                  <a:moveTo>
                    <a:pt x="766" y="745"/>
                  </a:moveTo>
                  <a:cubicBezTo>
                    <a:pt x="708" y="834"/>
                    <a:pt x="590" y="903"/>
                    <a:pt x="447" y="903"/>
                  </a:cubicBezTo>
                  <a:cubicBezTo>
                    <a:pt x="192" y="903"/>
                    <a:pt x="0" y="713"/>
                    <a:pt x="0" y="452"/>
                  </a:cubicBezTo>
                  <a:cubicBezTo>
                    <a:pt x="0" y="191"/>
                    <a:pt x="192" y="0"/>
                    <a:pt x="447" y="0"/>
                  </a:cubicBezTo>
                  <a:cubicBezTo>
                    <a:pt x="554" y="0"/>
                    <a:pt x="670" y="40"/>
                    <a:pt x="745" y="136"/>
                  </a:cubicBezTo>
                  <a:cubicBezTo>
                    <a:pt x="668" y="193"/>
                    <a:pt x="668" y="193"/>
                    <a:pt x="668" y="193"/>
                  </a:cubicBezTo>
                  <a:cubicBezTo>
                    <a:pt x="634" y="137"/>
                    <a:pt x="539" y="80"/>
                    <a:pt x="447" y="80"/>
                  </a:cubicBezTo>
                  <a:cubicBezTo>
                    <a:pt x="226" y="80"/>
                    <a:pt x="94" y="254"/>
                    <a:pt x="94" y="452"/>
                  </a:cubicBezTo>
                  <a:cubicBezTo>
                    <a:pt x="94" y="650"/>
                    <a:pt x="226" y="823"/>
                    <a:pt x="447" y="823"/>
                  </a:cubicBezTo>
                  <a:cubicBezTo>
                    <a:pt x="537" y="823"/>
                    <a:pt x="630" y="793"/>
                    <a:pt x="694" y="694"/>
                  </a:cubicBezTo>
                  <a:lnTo>
                    <a:pt x="766" y="7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83EE2477-A1D5-47D2-A28D-D441999582C6}"/>
                </a:ext>
              </a:extLst>
            </p:cNvPr>
            <p:cNvSpPr>
              <a:spLocks noEditPoints="1"/>
            </p:cNvSpPr>
            <p:nvPr/>
          </p:nvSpPr>
          <p:spPr bwMode="auto">
            <a:xfrm>
              <a:off x="2014" y="1874"/>
              <a:ext cx="560" cy="565"/>
            </a:xfrm>
            <a:custGeom>
              <a:avLst/>
              <a:gdLst>
                <a:gd name="T0" fmla="*/ 448 w 896"/>
                <a:gd name="T1" fmla="*/ 80 h 903"/>
                <a:gd name="T2" fmla="*/ 95 w 896"/>
                <a:gd name="T3" fmla="*/ 452 h 903"/>
                <a:gd name="T4" fmla="*/ 448 w 896"/>
                <a:gd name="T5" fmla="*/ 823 h 903"/>
                <a:gd name="T6" fmla="*/ 801 w 896"/>
                <a:gd name="T7" fmla="*/ 452 h 903"/>
                <a:gd name="T8" fmla="*/ 448 w 896"/>
                <a:gd name="T9" fmla="*/ 80 h 903"/>
                <a:gd name="T10" fmla="*/ 448 w 896"/>
                <a:gd name="T11" fmla="*/ 903 h 903"/>
                <a:gd name="T12" fmla="*/ 0 w 896"/>
                <a:gd name="T13" fmla="*/ 452 h 903"/>
                <a:gd name="T14" fmla="*/ 448 w 896"/>
                <a:gd name="T15" fmla="*/ 0 h 903"/>
                <a:gd name="T16" fmla="*/ 896 w 896"/>
                <a:gd name="T17" fmla="*/ 452 h 903"/>
                <a:gd name="T18" fmla="*/ 448 w 896"/>
                <a:gd name="T19" fmla="*/ 903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6" h="903">
                  <a:moveTo>
                    <a:pt x="448" y="80"/>
                  </a:moveTo>
                  <a:cubicBezTo>
                    <a:pt x="227" y="80"/>
                    <a:pt x="95" y="254"/>
                    <a:pt x="95" y="452"/>
                  </a:cubicBezTo>
                  <a:cubicBezTo>
                    <a:pt x="95" y="649"/>
                    <a:pt x="227" y="823"/>
                    <a:pt x="448" y="823"/>
                  </a:cubicBezTo>
                  <a:cubicBezTo>
                    <a:pt x="669" y="823"/>
                    <a:pt x="801" y="649"/>
                    <a:pt x="801" y="452"/>
                  </a:cubicBezTo>
                  <a:cubicBezTo>
                    <a:pt x="801" y="254"/>
                    <a:pt x="669" y="80"/>
                    <a:pt x="448" y="80"/>
                  </a:cubicBezTo>
                  <a:moveTo>
                    <a:pt x="448" y="903"/>
                  </a:moveTo>
                  <a:cubicBezTo>
                    <a:pt x="192" y="903"/>
                    <a:pt x="0" y="712"/>
                    <a:pt x="0" y="452"/>
                  </a:cubicBezTo>
                  <a:cubicBezTo>
                    <a:pt x="0" y="191"/>
                    <a:pt x="192" y="0"/>
                    <a:pt x="448" y="0"/>
                  </a:cubicBezTo>
                  <a:cubicBezTo>
                    <a:pt x="704" y="0"/>
                    <a:pt x="896" y="191"/>
                    <a:pt x="896" y="452"/>
                  </a:cubicBezTo>
                  <a:cubicBezTo>
                    <a:pt x="896" y="712"/>
                    <a:pt x="704" y="903"/>
                    <a:pt x="448" y="90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7">
              <a:extLst>
                <a:ext uri="{FF2B5EF4-FFF2-40B4-BE49-F238E27FC236}">
                  <a16:creationId xmlns:a16="http://schemas.microsoft.com/office/drawing/2014/main" id="{993236D5-14AB-44B6-90BF-AD61694E44E0}"/>
                </a:ext>
              </a:extLst>
            </p:cNvPr>
            <p:cNvSpPr>
              <a:spLocks/>
            </p:cNvSpPr>
            <p:nvPr/>
          </p:nvSpPr>
          <p:spPr bwMode="auto">
            <a:xfrm>
              <a:off x="2672" y="1888"/>
              <a:ext cx="305" cy="538"/>
            </a:xfrm>
            <a:custGeom>
              <a:avLst/>
              <a:gdLst>
                <a:gd name="T0" fmla="*/ 0 w 305"/>
                <a:gd name="T1" fmla="*/ 0 h 538"/>
                <a:gd name="T2" fmla="*/ 0 w 305"/>
                <a:gd name="T3" fmla="*/ 538 h 538"/>
                <a:gd name="T4" fmla="*/ 305 w 305"/>
                <a:gd name="T5" fmla="*/ 538 h 538"/>
                <a:gd name="T6" fmla="*/ 305 w 305"/>
                <a:gd name="T7" fmla="*/ 488 h 538"/>
                <a:gd name="T8" fmla="*/ 55 w 305"/>
                <a:gd name="T9" fmla="*/ 488 h 538"/>
                <a:gd name="T10" fmla="*/ 55 w 305"/>
                <a:gd name="T11" fmla="*/ 0 h 538"/>
                <a:gd name="T12" fmla="*/ 0 w 305"/>
                <a:gd name="T13" fmla="*/ 0 h 538"/>
              </a:gdLst>
              <a:ahLst/>
              <a:cxnLst>
                <a:cxn ang="0">
                  <a:pos x="T0" y="T1"/>
                </a:cxn>
                <a:cxn ang="0">
                  <a:pos x="T2" y="T3"/>
                </a:cxn>
                <a:cxn ang="0">
                  <a:pos x="T4" y="T5"/>
                </a:cxn>
                <a:cxn ang="0">
                  <a:pos x="T6" y="T7"/>
                </a:cxn>
                <a:cxn ang="0">
                  <a:pos x="T8" y="T9"/>
                </a:cxn>
                <a:cxn ang="0">
                  <a:pos x="T10" y="T11"/>
                </a:cxn>
                <a:cxn ang="0">
                  <a:pos x="T12" y="T13"/>
                </a:cxn>
              </a:cxnLst>
              <a:rect l="0" t="0" r="r" b="b"/>
              <a:pathLst>
                <a:path w="305" h="538">
                  <a:moveTo>
                    <a:pt x="0" y="0"/>
                  </a:moveTo>
                  <a:lnTo>
                    <a:pt x="0" y="538"/>
                  </a:lnTo>
                  <a:lnTo>
                    <a:pt x="305" y="538"/>
                  </a:lnTo>
                  <a:lnTo>
                    <a:pt x="305" y="488"/>
                  </a:lnTo>
                  <a:lnTo>
                    <a:pt x="55" y="488"/>
                  </a:lnTo>
                  <a:lnTo>
                    <a:pt x="55"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8">
              <a:extLst>
                <a:ext uri="{FF2B5EF4-FFF2-40B4-BE49-F238E27FC236}">
                  <a16:creationId xmlns:a16="http://schemas.microsoft.com/office/drawing/2014/main" id="{D9773CA7-EBE5-4889-A39A-9545F2E6978C}"/>
                </a:ext>
              </a:extLst>
            </p:cNvPr>
            <p:cNvSpPr>
              <a:spLocks noEditPoints="1"/>
            </p:cNvSpPr>
            <p:nvPr/>
          </p:nvSpPr>
          <p:spPr bwMode="auto">
            <a:xfrm>
              <a:off x="2997" y="1874"/>
              <a:ext cx="561" cy="565"/>
            </a:xfrm>
            <a:custGeom>
              <a:avLst/>
              <a:gdLst>
                <a:gd name="T0" fmla="*/ 448 w 896"/>
                <a:gd name="T1" fmla="*/ 80 h 903"/>
                <a:gd name="T2" fmla="*/ 95 w 896"/>
                <a:gd name="T3" fmla="*/ 452 h 903"/>
                <a:gd name="T4" fmla="*/ 448 w 896"/>
                <a:gd name="T5" fmla="*/ 823 h 903"/>
                <a:gd name="T6" fmla="*/ 801 w 896"/>
                <a:gd name="T7" fmla="*/ 452 h 903"/>
                <a:gd name="T8" fmla="*/ 448 w 896"/>
                <a:gd name="T9" fmla="*/ 80 h 903"/>
                <a:gd name="T10" fmla="*/ 448 w 896"/>
                <a:gd name="T11" fmla="*/ 903 h 903"/>
                <a:gd name="T12" fmla="*/ 0 w 896"/>
                <a:gd name="T13" fmla="*/ 452 h 903"/>
                <a:gd name="T14" fmla="*/ 448 w 896"/>
                <a:gd name="T15" fmla="*/ 0 h 903"/>
                <a:gd name="T16" fmla="*/ 896 w 896"/>
                <a:gd name="T17" fmla="*/ 452 h 903"/>
                <a:gd name="T18" fmla="*/ 448 w 896"/>
                <a:gd name="T19" fmla="*/ 903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6" h="903">
                  <a:moveTo>
                    <a:pt x="448" y="80"/>
                  </a:moveTo>
                  <a:cubicBezTo>
                    <a:pt x="227" y="80"/>
                    <a:pt x="95" y="254"/>
                    <a:pt x="95" y="452"/>
                  </a:cubicBezTo>
                  <a:cubicBezTo>
                    <a:pt x="95" y="649"/>
                    <a:pt x="227" y="823"/>
                    <a:pt x="448" y="823"/>
                  </a:cubicBezTo>
                  <a:cubicBezTo>
                    <a:pt x="669" y="823"/>
                    <a:pt x="801" y="649"/>
                    <a:pt x="801" y="452"/>
                  </a:cubicBezTo>
                  <a:cubicBezTo>
                    <a:pt x="801" y="254"/>
                    <a:pt x="669" y="80"/>
                    <a:pt x="448" y="80"/>
                  </a:cubicBezTo>
                  <a:moveTo>
                    <a:pt x="448" y="903"/>
                  </a:moveTo>
                  <a:cubicBezTo>
                    <a:pt x="192" y="903"/>
                    <a:pt x="0" y="712"/>
                    <a:pt x="0" y="452"/>
                  </a:cubicBezTo>
                  <a:cubicBezTo>
                    <a:pt x="0" y="191"/>
                    <a:pt x="192" y="0"/>
                    <a:pt x="448" y="0"/>
                  </a:cubicBezTo>
                  <a:cubicBezTo>
                    <a:pt x="704" y="0"/>
                    <a:pt x="896" y="191"/>
                    <a:pt x="896" y="452"/>
                  </a:cubicBezTo>
                  <a:cubicBezTo>
                    <a:pt x="896" y="712"/>
                    <a:pt x="704" y="903"/>
                    <a:pt x="448" y="90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9">
              <a:extLst>
                <a:ext uri="{FF2B5EF4-FFF2-40B4-BE49-F238E27FC236}">
                  <a16:creationId xmlns:a16="http://schemas.microsoft.com/office/drawing/2014/main" id="{18BEB8AE-4D8A-4C90-B4CF-9BA47A0F5CC4}"/>
                </a:ext>
              </a:extLst>
            </p:cNvPr>
            <p:cNvSpPr>
              <a:spLocks/>
            </p:cNvSpPr>
            <p:nvPr/>
          </p:nvSpPr>
          <p:spPr bwMode="auto">
            <a:xfrm>
              <a:off x="4182" y="1888"/>
              <a:ext cx="503" cy="538"/>
            </a:xfrm>
            <a:custGeom>
              <a:avLst/>
              <a:gdLst>
                <a:gd name="T0" fmla="*/ 0 w 503"/>
                <a:gd name="T1" fmla="*/ 0 h 538"/>
                <a:gd name="T2" fmla="*/ 119 w 503"/>
                <a:gd name="T3" fmla="*/ 0 h 538"/>
                <a:gd name="T4" fmla="*/ 119 w 503"/>
                <a:gd name="T5" fmla="*/ 243 h 538"/>
                <a:gd name="T6" fmla="*/ 327 w 503"/>
                <a:gd name="T7" fmla="*/ 0 h 538"/>
                <a:gd name="T8" fmla="*/ 482 w 503"/>
                <a:gd name="T9" fmla="*/ 0 h 538"/>
                <a:gd name="T10" fmla="*/ 243 w 503"/>
                <a:gd name="T11" fmla="*/ 270 h 538"/>
                <a:gd name="T12" fmla="*/ 503 w 503"/>
                <a:gd name="T13" fmla="*/ 538 h 538"/>
                <a:gd name="T14" fmla="*/ 337 w 503"/>
                <a:gd name="T15" fmla="*/ 538 h 538"/>
                <a:gd name="T16" fmla="*/ 119 w 503"/>
                <a:gd name="T17" fmla="*/ 302 h 538"/>
                <a:gd name="T18" fmla="*/ 119 w 503"/>
                <a:gd name="T19" fmla="*/ 538 h 538"/>
                <a:gd name="T20" fmla="*/ 0 w 503"/>
                <a:gd name="T21" fmla="*/ 538 h 538"/>
                <a:gd name="T22" fmla="*/ 0 w 503"/>
                <a:gd name="T23"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3" h="538">
                  <a:moveTo>
                    <a:pt x="0" y="0"/>
                  </a:moveTo>
                  <a:lnTo>
                    <a:pt x="119" y="0"/>
                  </a:lnTo>
                  <a:lnTo>
                    <a:pt x="119" y="243"/>
                  </a:lnTo>
                  <a:lnTo>
                    <a:pt x="327" y="0"/>
                  </a:lnTo>
                  <a:lnTo>
                    <a:pt x="482" y="0"/>
                  </a:lnTo>
                  <a:lnTo>
                    <a:pt x="243" y="270"/>
                  </a:lnTo>
                  <a:lnTo>
                    <a:pt x="503" y="538"/>
                  </a:lnTo>
                  <a:lnTo>
                    <a:pt x="337" y="538"/>
                  </a:lnTo>
                  <a:lnTo>
                    <a:pt x="119" y="302"/>
                  </a:lnTo>
                  <a:lnTo>
                    <a:pt x="119" y="538"/>
                  </a:lnTo>
                  <a:lnTo>
                    <a:pt x="0" y="53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0">
              <a:extLst>
                <a:ext uri="{FF2B5EF4-FFF2-40B4-BE49-F238E27FC236}">
                  <a16:creationId xmlns:a16="http://schemas.microsoft.com/office/drawing/2014/main" id="{D6F3A163-D040-4324-977A-7456CD8A42D1}"/>
                </a:ext>
              </a:extLst>
            </p:cNvPr>
            <p:cNvSpPr>
              <a:spLocks noChangeArrowheads="1"/>
            </p:cNvSpPr>
            <p:nvPr/>
          </p:nvSpPr>
          <p:spPr bwMode="auto">
            <a:xfrm>
              <a:off x="4743" y="1888"/>
              <a:ext cx="118" cy="5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1">
              <a:extLst>
                <a:ext uri="{FF2B5EF4-FFF2-40B4-BE49-F238E27FC236}">
                  <a16:creationId xmlns:a16="http://schemas.microsoft.com/office/drawing/2014/main" id="{726C14BA-010A-4383-BBF7-EB7534B541AD}"/>
                </a:ext>
              </a:extLst>
            </p:cNvPr>
            <p:cNvSpPr>
              <a:spLocks/>
            </p:cNvSpPr>
            <p:nvPr/>
          </p:nvSpPr>
          <p:spPr bwMode="auto">
            <a:xfrm>
              <a:off x="4980" y="1888"/>
              <a:ext cx="509" cy="538"/>
            </a:xfrm>
            <a:custGeom>
              <a:avLst/>
              <a:gdLst>
                <a:gd name="T0" fmla="*/ 0 w 509"/>
                <a:gd name="T1" fmla="*/ 0 h 538"/>
                <a:gd name="T2" fmla="*/ 160 w 509"/>
                <a:gd name="T3" fmla="*/ 0 h 538"/>
                <a:gd name="T4" fmla="*/ 389 w 509"/>
                <a:gd name="T5" fmla="*/ 374 h 538"/>
                <a:gd name="T6" fmla="*/ 391 w 509"/>
                <a:gd name="T7" fmla="*/ 374 h 538"/>
                <a:gd name="T8" fmla="*/ 391 w 509"/>
                <a:gd name="T9" fmla="*/ 0 h 538"/>
                <a:gd name="T10" fmla="*/ 509 w 509"/>
                <a:gd name="T11" fmla="*/ 0 h 538"/>
                <a:gd name="T12" fmla="*/ 509 w 509"/>
                <a:gd name="T13" fmla="*/ 538 h 538"/>
                <a:gd name="T14" fmla="*/ 354 w 509"/>
                <a:gd name="T15" fmla="*/ 538 h 538"/>
                <a:gd name="T16" fmla="*/ 120 w 509"/>
                <a:gd name="T17" fmla="*/ 155 h 538"/>
                <a:gd name="T18" fmla="*/ 118 w 509"/>
                <a:gd name="T19" fmla="*/ 155 h 538"/>
                <a:gd name="T20" fmla="*/ 118 w 509"/>
                <a:gd name="T21" fmla="*/ 538 h 538"/>
                <a:gd name="T22" fmla="*/ 0 w 509"/>
                <a:gd name="T23" fmla="*/ 538 h 538"/>
                <a:gd name="T24" fmla="*/ 0 w 509"/>
                <a:gd name="T25"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9" h="538">
                  <a:moveTo>
                    <a:pt x="0" y="0"/>
                  </a:moveTo>
                  <a:lnTo>
                    <a:pt x="160" y="0"/>
                  </a:lnTo>
                  <a:lnTo>
                    <a:pt x="389" y="374"/>
                  </a:lnTo>
                  <a:lnTo>
                    <a:pt x="391" y="374"/>
                  </a:lnTo>
                  <a:lnTo>
                    <a:pt x="391" y="0"/>
                  </a:lnTo>
                  <a:lnTo>
                    <a:pt x="509" y="0"/>
                  </a:lnTo>
                  <a:lnTo>
                    <a:pt x="509" y="538"/>
                  </a:lnTo>
                  <a:lnTo>
                    <a:pt x="354" y="538"/>
                  </a:lnTo>
                  <a:lnTo>
                    <a:pt x="120" y="155"/>
                  </a:lnTo>
                  <a:lnTo>
                    <a:pt x="118" y="155"/>
                  </a:lnTo>
                  <a:lnTo>
                    <a:pt x="118" y="538"/>
                  </a:lnTo>
                  <a:lnTo>
                    <a:pt x="0" y="53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2">
              <a:extLst>
                <a:ext uri="{FF2B5EF4-FFF2-40B4-BE49-F238E27FC236}">
                  <a16:creationId xmlns:a16="http://schemas.microsoft.com/office/drawing/2014/main" id="{DED85E77-F8F2-4161-9BB8-0F59AD977FBB}"/>
                </a:ext>
              </a:extLst>
            </p:cNvPr>
            <p:cNvSpPr>
              <a:spLocks/>
            </p:cNvSpPr>
            <p:nvPr/>
          </p:nvSpPr>
          <p:spPr bwMode="auto">
            <a:xfrm>
              <a:off x="5608" y="1888"/>
              <a:ext cx="378" cy="538"/>
            </a:xfrm>
            <a:custGeom>
              <a:avLst/>
              <a:gdLst>
                <a:gd name="T0" fmla="*/ 0 w 378"/>
                <a:gd name="T1" fmla="*/ 0 h 538"/>
                <a:gd name="T2" fmla="*/ 0 w 378"/>
                <a:gd name="T3" fmla="*/ 538 h 538"/>
                <a:gd name="T4" fmla="*/ 378 w 378"/>
                <a:gd name="T5" fmla="*/ 538 h 538"/>
                <a:gd name="T6" fmla="*/ 378 w 378"/>
                <a:gd name="T7" fmla="*/ 433 h 538"/>
                <a:gd name="T8" fmla="*/ 118 w 378"/>
                <a:gd name="T9" fmla="*/ 433 h 538"/>
                <a:gd name="T10" fmla="*/ 118 w 378"/>
                <a:gd name="T11" fmla="*/ 319 h 538"/>
                <a:gd name="T12" fmla="*/ 351 w 378"/>
                <a:gd name="T13" fmla="*/ 319 h 538"/>
                <a:gd name="T14" fmla="*/ 351 w 378"/>
                <a:gd name="T15" fmla="*/ 210 h 538"/>
                <a:gd name="T16" fmla="*/ 118 w 378"/>
                <a:gd name="T17" fmla="*/ 210 h 538"/>
                <a:gd name="T18" fmla="*/ 118 w 378"/>
                <a:gd name="T19" fmla="*/ 105 h 538"/>
                <a:gd name="T20" fmla="*/ 364 w 378"/>
                <a:gd name="T21" fmla="*/ 105 h 538"/>
                <a:gd name="T22" fmla="*/ 364 w 378"/>
                <a:gd name="T23" fmla="*/ 0 h 538"/>
                <a:gd name="T24" fmla="*/ 0 w 378"/>
                <a:gd name="T25"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8" h="538">
                  <a:moveTo>
                    <a:pt x="0" y="0"/>
                  </a:moveTo>
                  <a:lnTo>
                    <a:pt x="0" y="538"/>
                  </a:lnTo>
                  <a:lnTo>
                    <a:pt x="378" y="538"/>
                  </a:lnTo>
                  <a:lnTo>
                    <a:pt x="378" y="433"/>
                  </a:lnTo>
                  <a:lnTo>
                    <a:pt x="118" y="433"/>
                  </a:lnTo>
                  <a:lnTo>
                    <a:pt x="118" y="319"/>
                  </a:lnTo>
                  <a:lnTo>
                    <a:pt x="351" y="319"/>
                  </a:lnTo>
                  <a:lnTo>
                    <a:pt x="351" y="210"/>
                  </a:lnTo>
                  <a:lnTo>
                    <a:pt x="118" y="210"/>
                  </a:lnTo>
                  <a:lnTo>
                    <a:pt x="118" y="105"/>
                  </a:lnTo>
                  <a:lnTo>
                    <a:pt x="364" y="105"/>
                  </a:lnTo>
                  <a:lnTo>
                    <a:pt x="364"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3">
              <a:extLst>
                <a:ext uri="{FF2B5EF4-FFF2-40B4-BE49-F238E27FC236}">
                  <a16:creationId xmlns:a16="http://schemas.microsoft.com/office/drawing/2014/main" id="{879C6382-FCA3-4083-8AFE-BA95CD2D4AEB}"/>
                </a:ext>
              </a:extLst>
            </p:cNvPr>
            <p:cNvSpPr>
              <a:spLocks/>
            </p:cNvSpPr>
            <p:nvPr/>
          </p:nvSpPr>
          <p:spPr bwMode="auto">
            <a:xfrm>
              <a:off x="6052" y="1888"/>
              <a:ext cx="424" cy="538"/>
            </a:xfrm>
            <a:custGeom>
              <a:avLst/>
              <a:gdLst>
                <a:gd name="T0" fmla="*/ 0 w 424"/>
                <a:gd name="T1" fmla="*/ 0 h 538"/>
                <a:gd name="T2" fmla="*/ 0 w 424"/>
                <a:gd name="T3" fmla="*/ 105 h 538"/>
                <a:gd name="T4" fmla="*/ 152 w 424"/>
                <a:gd name="T5" fmla="*/ 105 h 538"/>
                <a:gd name="T6" fmla="*/ 152 w 424"/>
                <a:gd name="T7" fmla="*/ 538 h 538"/>
                <a:gd name="T8" fmla="*/ 271 w 424"/>
                <a:gd name="T9" fmla="*/ 538 h 538"/>
                <a:gd name="T10" fmla="*/ 271 w 424"/>
                <a:gd name="T11" fmla="*/ 105 h 538"/>
                <a:gd name="T12" fmla="*/ 424 w 424"/>
                <a:gd name="T13" fmla="*/ 105 h 538"/>
                <a:gd name="T14" fmla="*/ 424 w 424"/>
                <a:gd name="T15" fmla="*/ 0 h 538"/>
                <a:gd name="T16" fmla="*/ 0 w 424"/>
                <a:gd name="T17"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4" h="538">
                  <a:moveTo>
                    <a:pt x="0" y="0"/>
                  </a:moveTo>
                  <a:lnTo>
                    <a:pt x="0" y="105"/>
                  </a:lnTo>
                  <a:lnTo>
                    <a:pt x="152" y="105"/>
                  </a:lnTo>
                  <a:lnTo>
                    <a:pt x="152" y="538"/>
                  </a:lnTo>
                  <a:lnTo>
                    <a:pt x="271" y="538"/>
                  </a:lnTo>
                  <a:lnTo>
                    <a:pt x="271" y="105"/>
                  </a:lnTo>
                  <a:lnTo>
                    <a:pt x="424" y="105"/>
                  </a:lnTo>
                  <a:lnTo>
                    <a:pt x="424"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Rectangle 14">
              <a:extLst>
                <a:ext uri="{FF2B5EF4-FFF2-40B4-BE49-F238E27FC236}">
                  <a16:creationId xmlns:a16="http://schemas.microsoft.com/office/drawing/2014/main" id="{45969A8B-EB28-489A-ADFF-B513470A39C4}"/>
                </a:ext>
              </a:extLst>
            </p:cNvPr>
            <p:cNvSpPr>
              <a:spLocks noChangeArrowheads="1"/>
            </p:cNvSpPr>
            <p:nvPr/>
          </p:nvSpPr>
          <p:spPr bwMode="auto">
            <a:xfrm>
              <a:off x="6554" y="1888"/>
              <a:ext cx="119" cy="5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5">
              <a:extLst>
                <a:ext uri="{FF2B5EF4-FFF2-40B4-BE49-F238E27FC236}">
                  <a16:creationId xmlns:a16="http://schemas.microsoft.com/office/drawing/2014/main" id="{1733E594-B7EE-4279-AAB3-4B762AE2AD45}"/>
                </a:ext>
              </a:extLst>
            </p:cNvPr>
            <p:cNvSpPr>
              <a:spLocks noEditPoints="1"/>
            </p:cNvSpPr>
            <p:nvPr/>
          </p:nvSpPr>
          <p:spPr bwMode="auto">
            <a:xfrm>
              <a:off x="3658" y="1888"/>
              <a:ext cx="383" cy="538"/>
            </a:xfrm>
            <a:custGeom>
              <a:avLst/>
              <a:gdLst>
                <a:gd name="T0" fmla="*/ 87 w 613"/>
                <a:gd name="T1" fmla="*/ 376 h 859"/>
                <a:gd name="T2" fmla="*/ 278 w 613"/>
                <a:gd name="T3" fmla="*/ 376 h 859"/>
                <a:gd name="T4" fmla="*/ 462 w 613"/>
                <a:gd name="T5" fmla="*/ 228 h 859"/>
                <a:gd name="T6" fmla="*/ 278 w 613"/>
                <a:gd name="T7" fmla="*/ 82 h 859"/>
                <a:gd name="T8" fmla="*/ 87 w 613"/>
                <a:gd name="T9" fmla="*/ 82 h 859"/>
                <a:gd name="T10" fmla="*/ 87 w 613"/>
                <a:gd name="T11" fmla="*/ 376 h 859"/>
                <a:gd name="T12" fmla="*/ 497 w 613"/>
                <a:gd name="T13" fmla="*/ 859 h 859"/>
                <a:gd name="T14" fmla="*/ 87 w 613"/>
                <a:gd name="T15" fmla="*/ 428 h 859"/>
                <a:gd name="T16" fmla="*/ 87 w 613"/>
                <a:gd name="T17" fmla="*/ 859 h 859"/>
                <a:gd name="T18" fmla="*/ 0 w 613"/>
                <a:gd name="T19" fmla="*/ 859 h 859"/>
                <a:gd name="T20" fmla="*/ 0 w 613"/>
                <a:gd name="T21" fmla="*/ 0 h 859"/>
                <a:gd name="T22" fmla="*/ 270 w 613"/>
                <a:gd name="T23" fmla="*/ 0 h 859"/>
                <a:gd name="T24" fmla="*/ 555 w 613"/>
                <a:gd name="T25" fmla="*/ 228 h 859"/>
                <a:gd name="T26" fmla="*/ 270 w 613"/>
                <a:gd name="T27" fmla="*/ 453 h 859"/>
                <a:gd name="T28" fmla="*/ 222 w 613"/>
                <a:gd name="T29" fmla="*/ 453 h 859"/>
                <a:gd name="T30" fmla="*/ 613 w 613"/>
                <a:gd name="T31" fmla="*/ 859 h 859"/>
                <a:gd name="T32" fmla="*/ 497 w 613"/>
                <a:gd name="T33" fmla="*/ 859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13" h="859">
                  <a:moveTo>
                    <a:pt x="87" y="376"/>
                  </a:moveTo>
                  <a:cubicBezTo>
                    <a:pt x="278" y="376"/>
                    <a:pt x="278" y="376"/>
                    <a:pt x="278" y="376"/>
                  </a:cubicBezTo>
                  <a:cubicBezTo>
                    <a:pt x="396" y="376"/>
                    <a:pt x="462" y="328"/>
                    <a:pt x="462" y="228"/>
                  </a:cubicBezTo>
                  <a:cubicBezTo>
                    <a:pt x="462" y="129"/>
                    <a:pt x="396" y="82"/>
                    <a:pt x="278" y="82"/>
                  </a:cubicBezTo>
                  <a:cubicBezTo>
                    <a:pt x="87" y="82"/>
                    <a:pt x="87" y="82"/>
                    <a:pt x="87" y="82"/>
                  </a:cubicBezTo>
                  <a:lnTo>
                    <a:pt x="87" y="376"/>
                  </a:lnTo>
                  <a:close/>
                  <a:moveTo>
                    <a:pt x="497" y="859"/>
                  </a:moveTo>
                  <a:cubicBezTo>
                    <a:pt x="87" y="428"/>
                    <a:pt x="87" y="428"/>
                    <a:pt x="87" y="428"/>
                  </a:cubicBezTo>
                  <a:cubicBezTo>
                    <a:pt x="87" y="859"/>
                    <a:pt x="87" y="859"/>
                    <a:pt x="87" y="859"/>
                  </a:cubicBezTo>
                  <a:cubicBezTo>
                    <a:pt x="0" y="859"/>
                    <a:pt x="0" y="859"/>
                    <a:pt x="0" y="859"/>
                  </a:cubicBezTo>
                  <a:cubicBezTo>
                    <a:pt x="0" y="0"/>
                    <a:pt x="0" y="0"/>
                    <a:pt x="0" y="0"/>
                  </a:cubicBezTo>
                  <a:cubicBezTo>
                    <a:pt x="270" y="0"/>
                    <a:pt x="270" y="0"/>
                    <a:pt x="270" y="0"/>
                  </a:cubicBezTo>
                  <a:cubicBezTo>
                    <a:pt x="457" y="0"/>
                    <a:pt x="555" y="91"/>
                    <a:pt x="555" y="228"/>
                  </a:cubicBezTo>
                  <a:cubicBezTo>
                    <a:pt x="555" y="367"/>
                    <a:pt x="457" y="453"/>
                    <a:pt x="270" y="453"/>
                  </a:cubicBezTo>
                  <a:cubicBezTo>
                    <a:pt x="222" y="453"/>
                    <a:pt x="222" y="453"/>
                    <a:pt x="222" y="453"/>
                  </a:cubicBezTo>
                  <a:cubicBezTo>
                    <a:pt x="613" y="859"/>
                    <a:pt x="613" y="859"/>
                    <a:pt x="613" y="859"/>
                  </a:cubicBezTo>
                  <a:lnTo>
                    <a:pt x="497" y="8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6">
              <a:extLst>
                <a:ext uri="{FF2B5EF4-FFF2-40B4-BE49-F238E27FC236}">
                  <a16:creationId xmlns:a16="http://schemas.microsoft.com/office/drawing/2014/main" id="{35346133-A6F0-4888-8448-CAF15A08EB88}"/>
                </a:ext>
              </a:extLst>
            </p:cNvPr>
            <p:cNvSpPr>
              <a:spLocks/>
            </p:cNvSpPr>
            <p:nvPr/>
          </p:nvSpPr>
          <p:spPr bwMode="auto">
            <a:xfrm>
              <a:off x="6752" y="1881"/>
              <a:ext cx="476" cy="558"/>
            </a:xfrm>
            <a:custGeom>
              <a:avLst/>
              <a:gdLst>
                <a:gd name="T0" fmla="*/ 0 w 761"/>
                <a:gd name="T1" fmla="*/ 447 h 893"/>
                <a:gd name="T2" fmla="*/ 417 w 761"/>
                <a:gd name="T3" fmla="*/ 0 h 893"/>
                <a:gd name="T4" fmla="*/ 747 w 761"/>
                <a:gd name="T5" fmla="*/ 181 h 893"/>
                <a:gd name="T6" fmla="*/ 614 w 761"/>
                <a:gd name="T7" fmla="*/ 285 h 893"/>
                <a:gd name="T8" fmla="*/ 421 w 761"/>
                <a:gd name="T9" fmla="*/ 178 h 893"/>
                <a:gd name="T10" fmla="*/ 197 w 761"/>
                <a:gd name="T11" fmla="*/ 447 h 893"/>
                <a:gd name="T12" fmla="*/ 427 w 761"/>
                <a:gd name="T13" fmla="*/ 715 h 893"/>
                <a:gd name="T14" fmla="*/ 623 w 761"/>
                <a:gd name="T15" fmla="*/ 608 h 893"/>
                <a:gd name="T16" fmla="*/ 761 w 761"/>
                <a:gd name="T17" fmla="*/ 715 h 893"/>
                <a:gd name="T18" fmla="*/ 423 w 761"/>
                <a:gd name="T19" fmla="*/ 893 h 893"/>
                <a:gd name="T20" fmla="*/ 0 w 761"/>
                <a:gd name="T21" fmla="*/ 447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1" h="893">
                  <a:moveTo>
                    <a:pt x="0" y="447"/>
                  </a:moveTo>
                  <a:cubicBezTo>
                    <a:pt x="0" y="177"/>
                    <a:pt x="160" y="0"/>
                    <a:pt x="417" y="0"/>
                  </a:cubicBezTo>
                  <a:cubicBezTo>
                    <a:pt x="582" y="0"/>
                    <a:pt x="698" y="79"/>
                    <a:pt x="747" y="181"/>
                  </a:cubicBezTo>
                  <a:cubicBezTo>
                    <a:pt x="614" y="285"/>
                    <a:pt x="614" y="285"/>
                    <a:pt x="614" y="285"/>
                  </a:cubicBezTo>
                  <a:cubicBezTo>
                    <a:pt x="570" y="211"/>
                    <a:pt x="493" y="178"/>
                    <a:pt x="421" y="178"/>
                  </a:cubicBezTo>
                  <a:cubicBezTo>
                    <a:pt x="295" y="178"/>
                    <a:pt x="197" y="269"/>
                    <a:pt x="197" y="447"/>
                  </a:cubicBezTo>
                  <a:cubicBezTo>
                    <a:pt x="197" y="614"/>
                    <a:pt x="300" y="715"/>
                    <a:pt x="427" y="715"/>
                  </a:cubicBezTo>
                  <a:cubicBezTo>
                    <a:pt x="500" y="715"/>
                    <a:pt x="579" y="682"/>
                    <a:pt x="623" y="608"/>
                  </a:cubicBezTo>
                  <a:cubicBezTo>
                    <a:pt x="761" y="715"/>
                    <a:pt x="761" y="715"/>
                    <a:pt x="761" y="715"/>
                  </a:cubicBezTo>
                  <a:cubicBezTo>
                    <a:pt x="699" y="819"/>
                    <a:pt x="590" y="893"/>
                    <a:pt x="423" y="893"/>
                  </a:cubicBezTo>
                  <a:cubicBezTo>
                    <a:pt x="163" y="893"/>
                    <a:pt x="0" y="716"/>
                    <a:pt x="0" y="44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17">
              <a:extLst>
                <a:ext uri="{FF2B5EF4-FFF2-40B4-BE49-F238E27FC236}">
                  <a16:creationId xmlns:a16="http://schemas.microsoft.com/office/drawing/2014/main" id="{36873EB7-DDD8-4C36-9734-50B8BA40ACAE}"/>
                </a:ext>
              </a:extLst>
            </p:cNvPr>
            <p:cNvSpPr>
              <a:spLocks/>
            </p:cNvSpPr>
            <p:nvPr/>
          </p:nvSpPr>
          <p:spPr bwMode="auto">
            <a:xfrm>
              <a:off x="7271" y="1874"/>
              <a:ext cx="409" cy="565"/>
            </a:xfrm>
            <a:custGeom>
              <a:avLst/>
              <a:gdLst>
                <a:gd name="T0" fmla="*/ 404 w 654"/>
                <a:gd name="T1" fmla="*/ 376 h 903"/>
                <a:gd name="T2" fmla="*/ 287 w 654"/>
                <a:gd name="T3" fmla="*/ 354 h 903"/>
                <a:gd name="T4" fmla="*/ 202 w 654"/>
                <a:gd name="T5" fmla="*/ 264 h 903"/>
                <a:gd name="T6" fmla="*/ 321 w 654"/>
                <a:gd name="T7" fmla="*/ 171 h 903"/>
                <a:gd name="T8" fmla="*/ 478 w 654"/>
                <a:gd name="T9" fmla="*/ 270 h 903"/>
                <a:gd name="T10" fmla="*/ 617 w 654"/>
                <a:gd name="T11" fmla="*/ 163 h 903"/>
                <a:gd name="T12" fmla="*/ 322 w 654"/>
                <a:gd name="T13" fmla="*/ 0 h 903"/>
                <a:gd name="T14" fmla="*/ 12 w 654"/>
                <a:gd name="T15" fmla="*/ 279 h 903"/>
                <a:gd name="T16" fmla="*/ 247 w 654"/>
                <a:gd name="T17" fmla="*/ 523 h 903"/>
                <a:gd name="T18" fmla="*/ 366 w 654"/>
                <a:gd name="T19" fmla="*/ 546 h 903"/>
                <a:gd name="T20" fmla="*/ 459 w 654"/>
                <a:gd name="T21" fmla="*/ 642 h 903"/>
                <a:gd name="T22" fmla="*/ 336 w 654"/>
                <a:gd name="T23" fmla="*/ 734 h 903"/>
                <a:gd name="T24" fmla="*/ 143 w 654"/>
                <a:gd name="T25" fmla="*/ 594 h 903"/>
                <a:gd name="T26" fmla="*/ 0 w 654"/>
                <a:gd name="T27" fmla="*/ 704 h 903"/>
                <a:gd name="T28" fmla="*/ 334 w 654"/>
                <a:gd name="T29" fmla="*/ 903 h 903"/>
                <a:gd name="T30" fmla="*/ 654 w 654"/>
                <a:gd name="T31" fmla="*/ 629 h 903"/>
                <a:gd name="T32" fmla="*/ 404 w 654"/>
                <a:gd name="T33" fmla="*/ 376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4" h="903">
                  <a:moveTo>
                    <a:pt x="404" y="376"/>
                  </a:moveTo>
                  <a:cubicBezTo>
                    <a:pt x="287" y="354"/>
                    <a:pt x="287" y="354"/>
                    <a:pt x="287" y="354"/>
                  </a:cubicBezTo>
                  <a:cubicBezTo>
                    <a:pt x="228" y="344"/>
                    <a:pt x="202" y="305"/>
                    <a:pt x="202" y="264"/>
                  </a:cubicBezTo>
                  <a:cubicBezTo>
                    <a:pt x="202" y="216"/>
                    <a:pt x="249" y="171"/>
                    <a:pt x="321" y="171"/>
                  </a:cubicBezTo>
                  <a:cubicBezTo>
                    <a:pt x="403" y="171"/>
                    <a:pt x="451" y="222"/>
                    <a:pt x="478" y="270"/>
                  </a:cubicBezTo>
                  <a:cubicBezTo>
                    <a:pt x="617" y="163"/>
                    <a:pt x="617" y="163"/>
                    <a:pt x="617" y="163"/>
                  </a:cubicBezTo>
                  <a:cubicBezTo>
                    <a:pt x="578" y="79"/>
                    <a:pt x="491" y="0"/>
                    <a:pt x="322" y="0"/>
                  </a:cubicBezTo>
                  <a:cubicBezTo>
                    <a:pt x="156" y="0"/>
                    <a:pt x="12" y="115"/>
                    <a:pt x="12" y="279"/>
                  </a:cubicBezTo>
                  <a:cubicBezTo>
                    <a:pt x="12" y="407"/>
                    <a:pt x="101" y="496"/>
                    <a:pt x="247" y="523"/>
                  </a:cubicBezTo>
                  <a:cubicBezTo>
                    <a:pt x="366" y="546"/>
                    <a:pt x="366" y="546"/>
                    <a:pt x="366" y="546"/>
                  </a:cubicBezTo>
                  <a:cubicBezTo>
                    <a:pt x="423" y="557"/>
                    <a:pt x="459" y="597"/>
                    <a:pt x="459" y="642"/>
                  </a:cubicBezTo>
                  <a:cubicBezTo>
                    <a:pt x="459" y="695"/>
                    <a:pt x="413" y="734"/>
                    <a:pt x="336" y="734"/>
                  </a:cubicBezTo>
                  <a:cubicBezTo>
                    <a:pt x="219" y="734"/>
                    <a:pt x="161" y="649"/>
                    <a:pt x="143" y="594"/>
                  </a:cubicBezTo>
                  <a:cubicBezTo>
                    <a:pt x="0" y="704"/>
                    <a:pt x="0" y="704"/>
                    <a:pt x="0" y="704"/>
                  </a:cubicBezTo>
                  <a:cubicBezTo>
                    <a:pt x="41" y="806"/>
                    <a:pt x="144" y="903"/>
                    <a:pt x="334" y="903"/>
                  </a:cubicBezTo>
                  <a:cubicBezTo>
                    <a:pt x="541" y="903"/>
                    <a:pt x="654" y="765"/>
                    <a:pt x="654" y="629"/>
                  </a:cubicBezTo>
                  <a:cubicBezTo>
                    <a:pt x="654" y="506"/>
                    <a:pt x="569" y="407"/>
                    <a:pt x="404" y="37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8">
              <a:extLst>
                <a:ext uri="{FF2B5EF4-FFF2-40B4-BE49-F238E27FC236}">
                  <a16:creationId xmlns:a16="http://schemas.microsoft.com/office/drawing/2014/main" id="{D848509E-F084-4903-ADBE-322A47D220ED}"/>
                </a:ext>
              </a:extLst>
            </p:cNvPr>
            <p:cNvSpPr>
              <a:spLocks/>
            </p:cNvSpPr>
            <p:nvPr/>
          </p:nvSpPr>
          <p:spPr bwMode="auto">
            <a:xfrm>
              <a:off x="0" y="1622"/>
              <a:ext cx="857" cy="1076"/>
            </a:xfrm>
            <a:custGeom>
              <a:avLst/>
              <a:gdLst>
                <a:gd name="T0" fmla="*/ 859 w 1370"/>
                <a:gd name="T1" fmla="*/ 1020 h 1719"/>
                <a:gd name="T2" fmla="*/ 859 w 1370"/>
                <a:gd name="T3" fmla="*/ 1336 h 1719"/>
                <a:gd name="T4" fmla="*/ 383 w 1370"/>
                <a:gd name="T5" fmla="*/ 860 h 1719"/>
                <a:gd name="T6" fmla="*/ 859 w 1370"/>
                <a:gd name="T7" fmla="*/ 384 h 1719"/>
                <a:gd name="T8" fmla="*/ 859 w 1370"/>
                <a:gd name="T9" fmla="*/ 714 h 1719"/>
                <a:gd name="T10" fmla="*/ 1370 w 1370"/>
                <a:gd name="T11" fmla="*/ 169 h 1719"/>
                <a:gd name="T12" fmla="*/ 859 w 1370"/>
                <a:gd name="T13" fmla="*/ 0 h 1719"/>
                <a:gd name="T14" fmla="*/ 0 w 1370"/>
                <a:gd name="T15" fmla="*/ 860 h 1719"/>
                <a:gd name="T16" fmla="*/ 859 w 1370"/>
                <a:gd name="T17" fmla="*/ 1719 h 1719"/>
                <a:gd name="T18" fmla="*/ 1335 w 1370"/>
                <a:gd name="T19" fmla="*/ 1575 h 1719"/>
                <a:gd name="T20" fmla="*/ 859 w 1370"/>
                <a:gd name="T21" fmla="*/ 1020 h 1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70" h="1719">
                  <a:moveTo>
                    <a:pt x="859" y="1020"/>
                  </a:moveTo>
                  <a:cubicBezTo>
                    <a:pt x="859" y="1336"/>
                    <a:pt x="859" y="1336"/>
                    <a:pt x="859" y="1336"/>
                  </a:cubicBezTo>
                  <a:cubicBezTo>
                    <a:pt x="596" y="1336"/>
                    <a:pt x="383" y="1122"/>
                    <a:pt x="383" y="860"/>
                  </a:cubicBezTo>
                  <a:cubicBezTo>
                    <a:pt x="383" y="596"/>
                    <a:pt x="596" y="384"/>
                    <a:pt x="859" y="384"/>
                  </a:cubicBezTo>
                  <a:cubicBezTo>
                    <a:pt x="859" y="714"/>
                    <a:pt x="859" y="714"/>
                    <a:pt x="859" y="714"/>
                  </a:cubicBezTo>
                  <a:cubicBezTo>
                    <a:pt x="1370" y="169"/>
                    <a:pt x="1370" y="169"/>
                    <a:pt x="1370" y="169"/>
                  </a:cubicBezTo>
                  <a:cubicBezTo>
                    <a:pt x="1227" y="63"/>
                    <a:pt x="1051" y="0"/>
                    <a:pt x="859" y="0"/>
                  </a:cubicBezTo>
                  <a:cubicBezTo>
                    <a:pt x="385" y="0"/>
                    <a:pt x="0" y="385"/>
                    <a:pt x="0" y="860"/>
                  </a:cubicBezTo>
                  <a:cubicBezTo>
                    <a:pt x="0" y="1334"/>
                    <a:pt x="385" y="1719"/>
                    <a:pt x="859" y="1719"/>
                  </a:cubicBezTo>
                  <a:cubicBezTo>
                    <a:pt x="1035" y="1719"/>
                    <a:pt x="1199" y="1666"/>
                    <a:pt x="1335" y="1575"/>
                  </a:cubicBezTo>
                  <a:lnTo>
                    <a:pt x="859" y="10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19">
              <a:extLst>
                <a:ext uri="{FF2B5EF4-FFF2-40B4-BE49-F238E27FC236}">
                  <a16:creationId xmlns:a16="http://schemas.microsoft.com/office/drawing/2014/main" id="{DAEE2787-328D-4F8F-8A89-76715F69F549}"/>
                </a:ext>
              </a:extLst>
            </p:cNvPr>
            <p:cNvSpPr>
              <a:spLocks/>
            </p:cNvSpPr>
            <p:nvPr/>
          </p:nvSpPr>
          <p:spPr bwMode="auto">
            <a:xfrm>
              <a:off x="583" y="1854"/>
              <a:ext cx="491" cy="612"/>
            </a:xfrm>
            <a:custGeom>
              <a:avLst/>
              <a:gdLst>
                <a:gd name="T0" fmla="*/ 634 w 786"/>
                <a:gd name="T1" fmla="*/ 0 h 979"/>
                <a:gd name="T2" fmla="*/ 0 w 786"/>
                <a:gd name="T3" fmla="*/ 490 h 979"/>
                <a:gd name="T4" fmla="*/ 634 w 786"/>
                <a:gd name="T5" fmla="*/ 979 h 979"/>
                <a:gd name="T6" fmla="*/ 786 w 786"/>
                <a:gd name="T7" fmla="*/ 490 h 979"/>
                <a:gd name="T8" fmla="*/ 634 w 786"/>
                <a:gd name="T9" fmla="*/ 0 h 979"/>
              </a:gdLst>
              <a:ahLst/>
              <a:cxnLst>
                <a:cxn ang="0">
                  <a:pos x="T0" y="T1"/>
                </a:cxn>
                <a:cxn ang="0">
                  <a:pos x="T2" y="T3"/>
                </a:cxn>
                <a:cxn ang="0">
                  <a:pos x="T4" y="T5"/>
                </a:cxn>
                <a:cxn ang="0">
                  <a:pos x="T6" y="T7"/>
                </a:cxn>
                <a:cxn ang="0">
                  <a:pos x="T8" y="T9"/>
                </a:cxn>
              </a:cxnLst>
              <a:rect l="0" t="0" r="r" b="b"/>
              <a:pathLst>
                <a:path w="786" h="979">
                  <a:moveTo>
                    <a:pt x="634" y="0"/>
                  </a:moveTo>
                  <a:cubicBezTo>
                    <a:pt x="0" y="490"/>
                    <a:pt x="0" y="490"/>
                    <a:pt x="0" y="490"/>
                  </a:cubicBezTo>
                  <a:cubicBezTo>
                    <a:pt x="634" y="979"/>
                    <a:pt x="634" y="979"/>
                    <a:pt x="634" y="979"/>
                  </a:cubicBezTo>
                  <a:cubicBezTo>
                    <a:pt x="730" y="840"/>
                    <a:pt x="786" y="671"/>
                    <a:pt x="786" y="490"/>
                  </a:cubicBezTo>
                  <a:cubicBezTo>
                    <a:pt x="786" y="308"/>
                    <a:pt x="730" y="139"/>
                    <a:pt x="6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4582033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ocument Name</a:t>
            </a:r>
          </a:p>
        </p:txBody>
      </p:sp>
      <p:sp>
        <p:nvSpPr>
          <p:cNvPr id="5" name="Slide Number Placeholder 4"/>
          <p:cNvSpPr>
            <a:spLocks noGrp="1"/>
          </p:cNvSpPr>
          <p:nvPr>
            <p:ph type="sldNum" sz="quarter" idx="12"/>
          </p:nvPr>
        </p:nvSpPr>
        <p:spPr/>
        <p:txBody>
          <a:bodyPr/>
          <a:lstStyle/>
          <a:p>
            <a:fld id="{32B354EE-31EA-4FC2-9496-7B6202183237}" type="slidenum">
              <a:rPr lang="en-US" smtClean="0"/>
              <a:t>‹#›</a:t>
            </a:fld>
            <a:endParaRPr lang="en-US"/>
          </a:p>
        </p:txBody>
      </p:sp>
    </p:spTree>
    <p:extLst>
      <p:ext uri="{BB962C8B-B14F-4D97-AF65-F5344CB8AC3E}">
        <p14:creationId xmlns:p14="http://schemas.microsoft.com/office/powerpoint/2010/main" val="253671626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r>
              <a:rPr lang="en-US"/>
              <a:t>Document Name</a:t>
            </a:r>
          </a:p>
        </p:txBody>
      </p:sp>
      <p:sp>
        <p:nvSpPr>
          <p:cNvPr id="4" name="Slide Number Placeholder 3"/>
          <p:cNvSpPr>
            <a:spLocks noGrp="1"/>
          </p:cNvSpPr>
          <p:nvPr>
            <p:ph type="sldNum" sz="quarter" idx="12"/>
          </p:nvPr>
        </p:nvSpPr>
        <p:spPr/>
        <p:txBody>
          <a:bodyPr/>
          <a:lstStyle/>
          <a:p>
            <a:fld id="{32B354EE-31EA-4FC2-9496-7B6202183237}" type="slidenum">
              <a:rPr lang="en-US" smtClean="0"/>
              <a:t>‹#›</a:t>
            </a:fld>
            <a:endParaRPr lang="en-US"/>
          </a:p>
        </p:txBody>
      </p:sp>
    </p:spTree>
    <p:extLst>
      <p:ext uri="{BB962C8B-B14F-4D97-AF65-F5344CB8AC3E}">
        <p14:creationId xmlns:p14="http://schemas.microsoft.com/office/powerpoint/2010/main" val="226777210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genda Slid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10880" y="1521184"/>
            <a:ext cx="6178854" cy="3817442"/>
          </a:xfrm>
        </p:spPr>
        <p:txBody>
          <a:bodyPr anchor="ctr"/>
          <a:lstStyle>
            <a:lvl1pPr marL="0" indent="0">
              <a:buNone/>
              <a:defRPr sz="3000" b="0">
                <a:solidFill>
                  <a:schemeClr val="tx2"/>
                </a:solidFill>
                <a:latin typeface="+mj-lt"/>
              </a:defRPr>
            </a:lvl1pPr>
            <a:lvl2pPr marL="521258" indent="0">
              <a:buNone/>
              <a:defRPr sz="2280">
                <a:solidFill>
                  <a:schemeClr val="tx1">
                    <a:tint val="75000"/>
                  </a:schemeClr>
                </a:solidFill>
              </a:defRPr>
            </a:lvl2pPr>
            <a:lvl3pPr marL="1042512" indent="0">
              <a:buNone/>
              <a:defRPr sz="2052">
                <a:solidFill>
                  <a:schemeClr val="tx1">
                    <a:tint val="75000"/>
                  </a:schemeClr>
                </a:solidFill>
              </a:defRPr>
            </a:lvl3pPr>
            <a:lvl4pPr marL="1563773" indent="0">
              <a:buNone/>
              <a:defRPr sz="1824">
                <a:solidFill>
                  <a:schemeClr val="tx1">
                    <a:tint val="75000"/>
                  </a:schemeClr>
                </a:solidFill>
              </a:defRPr>
            </a:lvl4pPr>
            <a:lvl5pPr marL="2085031" indent="0">
              <a:buNone/>
              <a:defRPr sz="1824">
                <a:solidFill>
                  <a:schemeClr val="tx1">
                    <a:tint val="75000"/>
                  </a:schemeClr>
                </a:solidFill>
              </a:defRPr>
            </a:lvl5pPr>
            <a:lvl6pPr marL="2606285" indent="0">
              <a:buNone/>
              <a:defRPr sz="1824">
                <a:solidFill>
                  <a:schemeClr val="tx1">
                    <a:tint val="75000"/>
                  </a:schemeClr>
                </a:solidFill>
              </a:defRPr>
            </a:lvl6pPr>
            <a:lvl7pPr marL="3127543" indent="0">
              <a:buNone/>
              <a:defRPr sz="1824">
                <a:solidFill>
                  <a:schemeClr val="tx1">
                    <a:tint val="75000"/>
                  </a:schemeClr>
                </a:solidFill>
              </a:defRPr>
            </a:lvl7pPr>
            <a:lvl8pPr marL="3648803" indent="0">
              <a:buNone/>
              <a:defRPr sz="1824">
                <a:solidFill>
                  <a:schemeClr val="tx1">
                    <a:tint val="75000"/>
                  </a:schemeClr>
                </a:solidFill>
              </a:defRPr>
            </a:lvl8pPr>
            <a:lvl9pPr marL="4170060" indent="0">
              <a:buNone/>
              <a:defRPr sz="1824">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p:txBody>
          <a:bodyPr/>
          <a:lstStyle/>
          <a:p>
            <a:endParaRPr lang="en-BE"/>
          </a:p>
        </p:txBody>
      </p:sp>
      <p:sp>
        <p:nvSpPr>
          <p:cNvPr id="6" name="Slide Number Placeholder 5"/>
          <p:cNvSpPr>
            <a:spLocks noGrp="1"/>
          </p:cNvSpPr>
          <p:nvPr>
            <p:ph type="sldNum" sz="quarter" idx="12"/>
          </p:nvPr>
        </p:nvSpPr>
        <p:spPr/>
        <p:txBody>
          <a:bodyPr/>
          <a:lstStyle/>
          <a:p>
            <a:fld id="{9F5F79E4-174E-4D15-B5B9-2923F86E0116}" type="slidenum">
              <a:rPr lang="en-BE" smtClean="0"/>
              <a:t>‹#›</a:t>
            </a:fld>
            <a:endParaRPr lang="en-BE"/>
          </a:p>
        </p:txBody>
      </p:sp>
      <p:sp>
        <p:nvSpPr>
          <p:cNvPr id="19" name="Title 18">
            <a:extLst>
              <a:ext uri="{FF2B5EF4-FFF2-40B4-BE49-F238E27FC236}">
                <a16:creationId xmlns:a16="http://schemas.microsoft.com/office/drawing/2014/main" id="{B47DF7D0-E13C-497A-8A71-C5A8B4D7F67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12725779"/>
      </p:ext>
    </p:extLst>
  </p:cSld>
  <p:clrMapOvr>
    <a:masterClrMapping/>
  </p:clrMapOvr>
  <p:transition>
    <p:fade/>
  </p:transition>
  <p:extLst>
    <p:ext uri="{DCECCB84-F9BA-43D5-87BE-67443E8EF086}">
      <p15:sldGuideLst xmlns:p15="http://schemas.microsoft.com/office/powerpoint/2012/main">
        <p15:guide id="1" pos="415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Title slide - dark blue">
    <p:bg>
      <p:bgPr>
        <a:gradFill>
          <a:gsLst>
            <a:gs pos="0">
              <a:srgbClr val="003478"/>
            </a:gs>
            <a:gs pos="100000">
              <a:srgbClr val="0089C4"/>
            </a:gs>
          </a:gsLst>
          <a:lin ang="2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5F3BA2-B27F-4D6D-85C6-0EB92E2D65FF}"/>
              </a:ext>
            </a:extLst>
          </p:cNvPr>
          <p:cNvGraphicFramePr>
            <a:graphicFrameLocks noChangeAspect="1"/>
          </p:cNvGraphicFramePr>
          <p:nvPr>
            <p:custDataLst>
              <p:tags r:id="rId1"/>
            </p:custData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5" name="Object 4" hidden="1">
                        <a:extLst>
                          <a:ext uri="{FF2B5EF4-FFF2-40B4-BE49-F238E27FC236}">
                            <a16:creationId xmlns:a16="http://schemas.microsoft.com/office/drawing/2014/main" id="{305F3BA2-B27F-4D6D-85C6-0EB92E2D65FF}"/>
                          </a:ext>
                        </a:extLst>
                      </p:cNvPr>
                      <p:cNvPicPr/>
                      <p:nvPr/>
                    </p:nvPicPr>
                    <p:blipFill>
                      <a:blip r:embed="rId4"/>
                      <a:stretch>
                        <a:fillRect/>
                      </a:stretch>
                    </p:blipFill>
                    <p:spPr>
                      <a:xfrm>
                        <a:off x="2122" y="1589"/>
                        <a:ext cx="2116" cy="1587"/>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6A4EE19E-E41D-40A4-A09A-888FA8E2FB8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0" y="0"/>
            <a:ext cx="12195879" cy="6863992"/>
          </a:xfrm>
          <a:prstGeom prst="rect">
            <a:avLst/>
          </a:prstGeom>
        </p:spPr>
      </p:pic>
      <p:sp>
        <p:nvSpPr>
          <p:cNvPr id="19" name="Text Placeholder 3">
            <a:extLst>
              <a:ext uri="{FF2B5EF4-FFF2-40B4-BE49-F238E27FC236}">
                <a16:creationId xmlns:a16="http://schemas.microsoft.com/office/drawing/2014/main" id="{C3653E61-8455-43DD-85E1-3EFD32553394}"/>
              </a:ext>
            </a:extLst>
          </p:cNvPr>
          <p:cNvSpPr>
            <a:spLocks noGrp="1"/>
          </p:cNvSpPr>
          <p:nvPr>
            <p:ph type="body" sz="quarter" idx="11" hasCustomPrompt="1"/>
          </p:nvPr>
        </p:nvSpPr>
        <p:spPr bwMode="white">
          <a:xfrm>
            <a:off x="1116584" y="4753875"/>
            <a:ext cx="5766521" cy="252285"/>
          </a:xfrm>
          <a:prstGeom prst="rect">
            <a:avLst/>
          </a:prstGeom>
        </p:spPr>
        <p:txBody>
          <a:bodyPr lIns="0" tIns="0" rIns="0" bIns="0" anchor="ctr">
            <a:noAutofit/>
          </a:bodyPr>
          <a:lstStyle>
            <a:lvl1pPr marL="0" indent="0">
              <a:spcBef>
                <a:spcPts val="0"/>
              </a:spcBef>
              <a:buFontTx/>
              <a:buNone/>
              <a:defRPr sz="1467" b="1">
                <a:solidFill>
                  <a:schemeClr val="bg1"/>
                </a:solidFill>
              </a:defRPr>
            </a:lvl1pPr>
          </a:lstStyle>
          <a:p>
            <a:pPr lvl="0"/>
            <a:r>
              <a:rPr lang="en-US" noProof="0"/>
              <a:t>_Author</a:t>
            </a:r>
          </a:p>
        </p:txBody>
      </p:sp>
      <p:sp>
        <p:nvSpPr>
          <p:cNvPr id="20" name="Text Placeholder 3">
            <a:extLst>
              <a:ext uri="{FF2B5EF4-FFF2-40B4-BE49-F238E27FC236}">
                <a16:creationId xmlns:a16="http://schemas.microsoft.com/office/drawing/2014/main" id="{4D300ACA-1DDA-445B-9241-4ACC24CFD5AE}"/>
              </a:ext>
            </a:extLst>
          </p:cNvPr>
          <p:cNvSpPr>
            <a:spLocks noGrp="1"/>
          </p:cNvSpPr>
          <p:nvPr>
            <p:ph type="body" sz="quarter" idx="12" hasCustomPrompt="1"/>
          </p:nvPr>
        </p:nvSpPr>
        <p:spPr bwMode="white">
          <a:xfrm>
            <a:off x="1116584" y="5006160"/>
            <a:ext cx="5766521" cy="252285"/>
          </a:xfrm>
          <a:prstGeom prst="rect">
            <a:avLst/>
          </a:prstGeom>
        </p:spPr>
        <p:txBody>
          <a:bodyPr lIns="0" tIns="0" rIns="0" bIns="0" anchor="ctr">
            <a:noAutofit/>
          </a:bodyPr>
          <a:lstStyle>
            <a:lvl1pPr marL="0" indent="0">
              <a:spcBef>
                <a:spcPts val="0"/>
              </a:spcBef>
              <a:buFontTx/>
              <a:buNone/>
              <a:defRPr sz="1467" b="0">
                <a:solidFill>
                  <a:schemeClr val="bg1"/>
                </a:solidFill>
              </a:defRPr>
            </a:lvl1pPr>
          </a:lstStyle>
          <a:p>
            <a:pPr lvl="0"/>
            <a:r>
              <a:rPr lang="en-US" noProof="0"/>
              <a:t>_Business</a:t>
            </a:r>
          </a:p>
        </p:txBody>
      </p:sp>
      <p:sp>
        <p:nvSpPr>
          <p:cNvPr id="21" name="Text Placeholder 3">
            <a:extLst>
              <a:ext uri="{FF2B5EF4-FFF2-40B4-BE49-F238E27FC236}">
                <a16:creationId xmlns:a16="http://schemas.microsoft.com/office/drawing/2014/main" id="{3DFCA62A-CA79-426E-B592-49ABCC31F8A8}"/>
              </a:ext>
            </a:extLst>
          </p:cNvPr>
          <p:cNvSpPr>
            <a:spLocks noGrp="1"/>
          </p:cNvSpPr>
          <p:nvPr>
            <p:ph type="body" sz="quarter" idx="15" hasCustomPrompt="1"/>
          </p:nvPr>
        </p:nvSpPr>
        <p:spPr bwMode="white">
          <a:xfrm>
            <a:off x="1116584" y="5258446"/>
            <a:ext cx="5766521" cy="252285"/>
          </a:xfrm>
          <a:prstGeom prst="rect">
            <a:avLst/>
          </a:prstGeom>
        </p:spPr>
        <p:txBody>
          <a:bodyPr lIns="0" tIns="0" rIns="0" bIns="0" anchor="ctr">
            <a:noAutofit/>
          </a:bodyPr>
          <a:lstStyle>
            <a:lvl1pPr marL="0" indent="0">
              <a:spcBef>
                <a:spcPts val="0"/>
              </a:spcBef>
              <a:buFontTx/>
              <a:buNone/>
              <a:defRPr sz="1467" b="0">
                <a:solidFill>
                  <a:schemeClr val="bg1"/>
                </a:solidFill>
              </a:defRPr>
            </a:lvl1pPr>
          </a:lstStyle>
          <a:p>
            <a:pPr lvl="0"/>
            <a:r>
              <a:rPr lang="en-US" noProof="0"/>
              <a:t>_Date</a:t>
            </a:r>
          </a:p>
        </p:txBody>
      </p:sp>
      <p:sp>
        <p:nvSpPr>
          <p:cNvPr id="22" name="Text Placeholder 3">
            <a:extLst>
              <a:ext uri="{FF2B5EF4-FFF2-40B4-BE49-F238E27FC236}">
                <a16:creationId xmlns:a16="http://schemas.microsoft.com/office/drawing/2014/main" id="{B26F3FA1-170D-4773-936E-E5E7447A5872}"/>
              </a:ext>
            </a:extLst>
          </p:cNvPr>
          <p:cNvSpPr>
            <a:spLocks noGrp="1"/>
          </p:cNvSpPr>
          <p:nvPr>
            <p:ph type="body" sz="quarter" idx="10" hasCustomPrompt="1"/>
          </p:nvPr>
        </p:nvSpPr>
        <p:spPr bwMode="white">
          <a:xfrm>
            <a:off x="1116583" y="2718323"/>
            <a:ext cx="8226211" cy="1609320"/>
          </a:xfrm>
          <a:prstGeom prst="rect">
            <a:avLst/>
          </a:prstGeom>
        </p:spPr>
        <p:txBody>
          <a:bodyPr lIns="0" tIns="0" rIns="0" bIns="0">
            <a:noAutofit/>
          </a:bodyPr>
          <a:lstStyle>
            <a:lvl1pPr marL="0" indent="0" algn="l">
              <a:lnSpc>
                <a:spcPct val="100000"/>
              </a:lnSpc>
              <a:spcBef>
                <a:spcPts val="0"/>
              </a:spcBef>
              <a:buFontTx/>
              <a:buNone/>
              <a:defRPr sz="4800">
                <a:solidFill>
                  <a:schemeClr val="bg1"/>
                </a:solidFill>
                <a:latin typeface="+mj-lt"/>
              </a:defRPr>
            </a:lvl1pPr>
            <a:lvl2pPr>
              <a:defRPr sz="6400"/>
            </a:lvl2pPr>
            <a:lvl3pPr>
              <a:defRPr sz="6400"/>
            </a:lvl3pPr>
            <a:lvl4pPr>
              <a:defRPr sz="6400"/>
            </a:lvl4pPr>
            <a:lvl5pPr>
              <a:defRPr sz="6400"/>
            </a:lvl5pPr>
          </a:lstStyle>
          <a:p>
            <a:pPr lvl="0"/>
            <a:r>
              <a:rPr lang="en-US" noProof="0"/>
              <a:t>Presentation title 36pt</a:t>
            </a:r>
          </a:p>
        </p:txBody>
      </p:sp>
    </p:spTree>
    <p:extLst>
      <p:ext uri="{BB962C8B-B14F-4D97-AF65-F5344CB8AC3E}">
        <p14:creationId xmlns:p14="http://schemas.microsoft.com/office/powerpoint/2010/main" val="97644517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Standard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p:custDataLst>
              <p:tags r:id="rId2"/>
            </p:custDataLst>
          </p:nvPr>
        </p:nvSpPr>
        <p:spPr>
          <a:xfrm>
            <a:off x="0" y="0"/>
            <a:ext cx="211667"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p>
            <a:endParaRPr lang="en-IN"/>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p>
            <a:endParaRPr lang="en-IN"/>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p>
            <a:fld id="{A5163908-529D-4A49-892F-D37C4044DFD8}" type="slidenum">
              <a:rPr lang="en-IN" smtClean="0"/>
              <a:pPr/>
              <a:t>‹#›</a:t>
            </a:fld>
            <a:endParaRPr lang="en-IN"/>
          </a:p>
        </p:txBody>
      </p:sp>
      <p:sp>
        <p:nvSpPr>
          <p:cNvPr id="10" name="Text Placeholder 9">
            <a:extLst>
              <a:ext uri="{FF2B5EF4-FFF2-40B4-BE49-F238E27FC236}">
                <a16:creationId xmlns:a16="http://schemas.microsoft.com/office/drawing/2014/main" id="{BDBA78F2-A9DE-4AB8-A4E1-761EACDB9FCC}"/>
              </a:ext>
            </a:extLst>
          </p:cNvPr>
          <p:cNvSpPr>
            <a:spLocks noGrp="1"/>
          </p:cNvSpPr>
          <p:nvPr>
            <p:ph type="body" sz="quarter" idx="14"/>
          </p:nvPr>
        </p:nvSpPr>
        <p:spPr>
          <a:xfrm>
            <a:off x="673101" y="1623484"/>
            <a:ext cx="10847919" cy="4614333"/>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94708463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Blue Standard text">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p:custDataLst>
              <p:tags r:id="rId2"/>
            </p:custDataLst>
          </p:nvPr>
        </p:nvSpPr>
        <p:spPr>
          <a:xfrm>
            <a:off x="0" y="0"/>
            <a:ext cx="211667"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endParaRPr lang="en-IN"/>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10" name="Text Placeholder 9">
            <a:extLst>
              <a:ext uri="{FF2B5EF4-FFF2-40B4-BE49-F238E27FC236}">
                <a16:creationId xmlns:a16="http://schemas.microsoft.com/office/drawing/2014/main" id="{BDBA78F2-A9DE-4AB8-A4E1-761EACDB9FCC}"/>
              </a:ext>
            </a:extLst>
          </p:cNvPr>
          <p:cNvSpPr>
            <a:spLocks noGrp="1"/>
          </p:cNvSpPr>
          <p:nvPr>
            <p:ph type="body" sz="quarter" idx="14"/>
          </p:nvPr>
        </p:nvSpPr>
        <p:spPr>
          <a:xfrm>
            <a:off x="673101" y="1623484"/>
            <a:ext cx="10847919" cy="4614333"/>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IN"/>
          </a:p>
        </p:txBody>
      </p:sp>
      <p:pic>
        <p:nvPicPr>
          <p:cNvPr id="9" name="Picture 8">
            <a:extLst>
              <a:ext uri="{FF2B5EF4-FFF2-40B4-BE49-F238E27FC236}">
                <a16:creationId xmlns:a16="http://schemas.microsoft.com/office/drawing/2014/main" id="{7E069159-ABDA-489C-A492-32B9EFA52CB1}"/>
              </a:ext>
            </a:extLst>
          </p:cNvPr>
          <p:cNvPicPr>
            <a:picLocks noChangeAspect="1"/>
          </p:cNvPicPr>
          <p:nvPr/>
        </p:nvPicPr>
        <p:blipFill>
          <a:blip r:embed="rId6" cstate="email">
            <a:alphaModFix/>
            <a:extLst>
              <a:ext uri="{28A0092B-C50C-407E-A947-70E740481C1C}">
                <a14:useLocalDpi xmlns:a14="http://schemas.microsoft.com/office/drawing/2010/main"/>
              </a:ext>
            </a:extLst>
          </a:blip>
          <a:stretch>
            <a:fillRect/>
          </a:stretch>
        </p:blipFill>
        <p:spPr>
          <a:xfrm>
            <a:off x="11041019" y="288001"/>
            <a:ext cx="480000" cy="613041"/>
          </a:xfrm>
          <a:prstGeom prst="rect">
            <a:avLst/>
          </a:prstGeom>
          <a:noFill/>
        </p:spPr>
      </p:pic>
    </p:spTree>
    <p:extLst>
      <p:ext uri="{BB962C8B-B14F-4D97-AF65-F5344CB8AC3E}">
        <p14:creationId xmlns:p14="http://schemas.microsoft.com/office/powerpoint/2010/main" val="315976412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961335A-8C71-4906-B035-4841327EAB24}"/>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F961335A-8C71-4906-B035-4841327EAB24}"/>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7BB393-155A-4310-8B8C-54BB9A9AEEAC}"/>
              </a:ext>
            </a:extLst>
          </p:cNvPr>
          <p:cNvSpPr/>
          <p:nvPr>
            <p:custDataLst>
              <p:tags r:id="rId2"/>
            </p:custDataLst>
          </p:nvPr>
        </p:nvSpPr>
        <p:spPr>
          <a:xfrm>
            <a:off x="0" y="0"/>
            <a:ext cx="211667"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BFF479DA-8DD6-4320-946F-6447CE9AABD1}"/>
              </a:ext>
            </a:extLst>
          </p:cNvPr>
          <p:cNvSpPr>
            <a:spLocks noGrp="1"/>
          </p:cNvSpPr>
          <p:nvPr>
            <p:ph type="title"/>
          </p:nvPr>
        </p:nvSpPr>
        <p:spPr/>
        <p:txBody>
          <a:bodyPr/>
          <a:lstStyle/>
          <a:p>
            <a:r>
              <a:rPr lang="en-US"/>
              <a:t>Click to edit Master title style</a:t>
            </a:r>
            <a:endParaRPr lang="en-IN"/>
          </a:p>
        </p:txBody>
      </p:sp>
      <p:sp>
        <p:nvSpPr>
          <p:cNvPr id="5" name="Date Placeholder 4">
            <a:extLst>
              <a:ext uri="{FF2B5EF4-FFF2-40B4-BE49-F238E27FC236}">
                <a16:creationId xmlns:a16="http://schemas.microsoft.com/office/drawing/2014/main" id="{F7C6C201-4266-412C-8AC9-E9BCA52E5053}"/>
              </a:ext>
            </a:extLst>
          </p:cNvPr>
          <p:cNvSpPr>
            <a:spLocks noGrp="1"/>
          </p:cNvSpPr>
          <p:nvPr>
            <p:ph type="dt" sz="half" idx="10"/>
          </p:nvPr>
        </p:nvSpPr>
        <p:spPr/>
        <p:txBody>
          <a:bodyPr/>
          <a:lstStyle/>
          <a:p>
            <a:endParaRPr lang="en-IN"/>
          </a:p>
        </p:txBody>
      </p:sp>
      <p:sp>
        <p:nvSpPr>
          <p:cNvPr id="6" name="Footer Placeholder 5">
            <a:extLst>
              <a:ext uri="{FF2B5EF4-FFF2-40B4-BE49-F238E27FC236}">
                <a16:creationId xmlns:a16="http://schemas.microsoft.com/office/drawing/2014/main" id="{8B847EA0-0639-4962-AADA-DCC10C6CED96}"/>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D24ACDF8-C435-48D3-BF23-1B763DEDD9DB}"/>
              </a:ext>
            </a:extLst>
          </p:cNvPr>
          <p:cNvSpPr>
            <a:spLocks noGrp="1"/>
          </p:cNvSpPr>
          <p:nvPr>
            <p:ph type="sldNum" sz="quarter" idx="12"/>
          </p:nvPr>
        </p:nvSpPr>
        <p:spPr/>
        <p:txBody>
          <a:bodyPr/>
          <a:lstStyle/>
          <a:p>
            <a:fld id="{A5163908-529D-4A49-892F-D37C4044DFD8}" type="slidenum">
              <a:rPr lang="en-IN" smtClean="0"/>
              <a:pPr/>
              <a:t>‹#›</a:t>
            </a:fld>
            <a:endParaRPr lang="en-IN"/>
          </a:p>
        </p:txBody>
      </p:sp>
    </p:spTree>
    <p:extLst>
      <p:ext uri="{BB962C8B-B14F-4D97-AF65-F5344CB8AC3E}">
        <p14:creationId xmlns:p14="http://schemas.microsoft.com/office/powerpoint/2010/main" val="204684376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Blue Title Only">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961335A-8C71-4906-B035-4841327EAB24}"/>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F961335A-8C71-4906-B035-4841327EAB24}"/>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7BB393-155A-4310-8B8C-54BB9A9AEEAC}"/>
              </a:ext>
            </a:extLst>
          </p:cNvPr>
          <p:cNvSpPr/>
          <p:nvPr>
            <p:custDataLst>
              <p:tags r:id="rId2"/>
            </p:custDataLst>
          </p:nvPr>
        </p:nvSpPr>
        <p:spPr>
          <a:xfrm>
            <a:off x="0" y="0"/>
            <a:ext cx="211667"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BFF479DA-8DD6-4320-946F-6447CE9AABD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IN"/>
          </a:p>
        </p:txBody>
      </p:sp>
      <p:sp>
        <p:nvSpPr>
          <p:cNvPr id="5" name="Date Placeholder 4">
            <a:extLst>
              <a:ext uri="{FF2B5EF4-FFF2-40B4-BE49-F238E27FC236}">
                <a16:creationId xmlns:a16="http://schemas.microsoft.com/office/drawing/2014/main" id="{F7C6C201-4266-412C-8AC9-E9BCA52E5053}"/>
              </a:ext>
            </a:extLst>
          </p:cNvPr>
          <p:cNvSpPr>
            <a:spLocks noGrp="1"/>
          </p:cNvSpPr>
          <p:nvPr>
            <p:ph type="dt" sz="half" idx="10"/>
          </p:nvPr>
        </p:nvSpPr>
        <p:spPr/>
        <p:txBody>
          <a:bodyPr/>
          <a:lstStyle>
            <a:lvl1pPr>
              <a:defRPr>
                <a:solidFill>
                  <a:schemeClr val="bg1"/>
                </a:solidFill>
              </a:defRPr>
            </a:lvl1pPr>
          </a:lstStyle>
          <a:p>
            <a:endParaRPr lang="en-IN"/>
          </a:p>
        </p:txBody>
      </p:sp>
      <p:sp>
        <p:nvSpPr>
          <p:cNvPr id="6" name="Footer Placeholder 5">
            <a:extLst>
              <a:ext uri="{FF2B5EF4-FFF2-40B4-BE49-F238E27FC236}">
                <a16:creationId xmlns:a16="http://schemas.microsoft.com/office/drawing/2014/main" id="{8B847EA0-0639-4962-AADA-DCC10C6CED96}"/>
              </a:ext>
            </a:extLst>
          </p:cNvPr>
          <p:cNvSpPr>
            <a:spLocks noGrp="1"/>
          </p:cNvSpPr>
          <p:nvPr>
            <p:ph type="ftr" sz="quarter" idx="11"/>
          </p:nvPr>
        </p:nvSpPr>
        <p:spPr/>
        <p:txBody>
          <a:bodyPr/>
          <a:lstStyle>
            <a:lvl1pPr>
              <a:defRPr>
                <a:solidFill>
                  <a:schemeClr val="bg1"/>
                </a:solidFill>
              </a:defRPr>
            </a:lvl1pPr>
          </a:lstStyle>
          <a:p>
            <a:endParaRPr lang="en-IN"/>
          </a:p>
        </p:txBody>
      </p:sp>
      <p:sp>
        <p:nvSpPr>
          <p:cNvPr id="7" name="Slide Number Placeholder 6">
            <a:extLst>
              <a:ext uri="{FF2B5EF4-FFF2-40B4-BE49-F238E27FC236}">
                <a16:creationId xmlns:a16="http://schemas.microsoft.com/office/drawing/2014/main" id="{D24ACDF8-C435-48D3-BF23-1B763DEDD9DB}"/>
              </a:ext>
            </a:extLst>
          </p:cNvPr>
          <p:cNvSpPr>
            <a:spLocks noGrp="1"/>
          </p:cNvSpPr>
          <p:nvPr>
            <p:ph type="sldNum" sz="quarter" idx="12"/>
          </p:nvPr>
        </p:nvSpPr>
        <p:spPr/>
        <p:txBody>
          <a:bodyPr/>
          <a:lstStyle>
            <a:lvl1pPr>
              <a:defRPr>
                <a:solidFill>
                  <a:schemeClr val="bg1"/>
                </a:solidFill>
              </a:defRPr>
            </a:lvl1pPr>
          </a:lstStyle>
          <a:p>
            <a:fld id="{A5163908-529D-4A49-892F-D37C4044DFD8}" type="slidenum">
              <a:rPr lang="en-IN" smtClean="0"/>
              <a:pPr/>
              <a:t>‹#›</a:t>
            </a:fld>
            <a:endParaRPr lang="en-IN"/>
          </a:p>
        </p:txBody>
      </p:sp>
      <p:pic>
        <p:nvPicPr>
          <p:cNvPr id="8" name="Picture 7">
            <a:extLst>
              <a:ext uri="{FF2B5EF4-FFF2-40B4-BE49-F238E27FC236}">
                <a16:creationId xmlns:a16="http://schemas.microsoft.com/office/drawing/2014/main" id="{EB71E562-413B-4F0D-A2C0-64A59DCF28CC}"/>
              </a:ext>
            </a:extLst>
          </p:cNvPr>
          <p:cNvPicPr>
            <a:picLocks noChangeAspect="1"/>
          </p:cNvPicPr>
          <p:nvPr/>
        </p:nvPicPr>
        <p:blipFill>
          <a:blip r:embed="rId6" cstate="email">
            <a:alphaModFix/>
            <a:extLst>
              <a:ext uri="{28A0092B-C50C-407E-A947-70E740481C1C}">
                <a14:useLocalDpi xmlns:a14="http://schemas.microsoft.com/office/drawing/2010/main"/>
              </a:ext>
            </a:extLst>
          </a:blip>
          <a:stretch>
            <a:fillRect/>
          </a:stretch>
        </p:blipFill>
        <p:spPr>
          <a:xfrm>
            <a:off x="11041017" y="288001"/>
            <a:ext cx="480000" cy="613041"/>
          </a:xfrm>
          <a:prstGeom prst="rect">
            <a:avLst/>
          </a:prstGeom>
          <a:noFill/>
        </p:spPr>
      </p:pic>
    </p:spTree>
    <p:extLst>
      <p:ext uri="{BB962C8B-B14F-4D97-AF65-F5344CB8AC3E}">
        <p14:creationId xmlns:p14="http://schemas.microsoft.com/office/powerpoint/2010/main" val="163854235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A04ADFE-9A66-4402-ADB9-F737C99AC817}"/>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3" name="Object 2" hidden="1">
                        <a:extLst>
                          <a:ext uri="{FF2B5EF4-FFF2-40B4-BE49-F238E27FC236}">
                            <a16:creationId xmlns:a16="http://schemas.microsoft.com/office/drawing/2014/main" id="{5A04ADFE-9A66-4402-ADB9-F737C99AC817}"/>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C9F324-D96D-43C9-9F1D-74F1A749ED0A}"/>
              </a:ext>
            </a:extLst>
          </p:cNvPr>
          <p:cNvSpPr/>
          <p:nvPr>
            <p:custDataLst>
              <p:tags r:id="rId2"/>
            </p:custDataLst>
          </p:nvPr>
        </p:nvSpPr>
        <p:spPr>
          <a:xfrm>
            <a:off x="0" y="0"/>
            <a:ext cx="211667"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a:latin typeface="Calibri Light" panose="020F0302020204030204" pitchFamily="34" charset="0"/>
              <a:ea typeface="+mj-ea"/>
              <a:cs typeface="+mj-cs"/>
              <a:sym typeface="Calibri Light" panose="020F0302020204030204" pitchFamily="34" charset="0"/>
            </a:endParaRPr>
          </a:p>
        </p:txBody>
      </p:sp>
      <p:sp>
        <p:nvSpPr>
          <p:cNvPr id="5" name="Title 4">
            <a:extLst>
              <a:ext uri="{FF2B5EF4-FFF2-40B4-BE49-F238E27FC236}">
                <a16:creationId xmlns:a16="http://schemas.microsoft.com/office/drawing/2014/main" id="{AD6FF390-C074-41B4-BFDD-16F0AF26BAA5}"/>
              </a:ext>
            </a:extLst>
          </p:cNvPr>
          <p:cNvSpPr>
            <a:spLocks noGrp="1"/>
          </p:cNvSpPr>
          <p:nvPr>
            <p:ph type="title"/>
          </p:nvPr>
        </p:nvSpPr>
        <p:spPr/>
        <p:txBody>
          <a:bodyPr/>
          <a:lstStyle/>
          <a:p>
            <a:r>
              <a:rPr lang="en-US"/>
              <a:t>Click to edit Master title style</a:t>
            </a:r>
            <a:endParaRPr lang="en-IN"/>
          </a:p>
        </p:txBody>
      </p:sp>
      <p:sp>
        <p:nvSpPr>
          <p:cNvPr id="6" name="Date Placeholder 5">
            <a:extLst>
              <a:ext uri="{FF2B5EF4-FFF2-40B4-BE49-F238E27FC236}">
                <a16:creationId xmlns:a16="http://schemas.microsoft.com/office/drawing/2014/main" id="{8262478C-A2B9-4776-BE79-6136821C6D1B}"/>
              </a:ext>
            </a:extLst>
          </p:cNvPr>
          <p:cNvSpPr>
            <a:spLocks noGrp="1"/>
          </p:cNvSpPr>
          <p:nvPr>
            <p:ph type="dt" sz="half" idx="14"/>
          </p:nvPr>
        </p:nvSpPr>
        <p:spPr/>
        <p:txBody>
          <a:bodyPr/>
          <a:lstStyle/>
          <a:p>
            <a:endParaRPr lang="en-IN"/>
          </a:p>
        </p:txBody>
      </p:sp>
      <p:sp>
        <p:nvSpPr>
          <p:cNvPr id="7" name="Footer Placeholder 6">
            <a:extLst>
              <a:ext uri="{FF2B5EF4-FFF2-40B4-BE49-F238E27FC236}">
                <a16:creationId xmlns:a16="http://schemas.microsoft.com/office/drawing/2014/main" id="{B446DDBD-3CF8-4852-AFCD-6916157B8301}"/>
              </a:ext>
            </a:extLst>
          </p:cNvPr>
          <p:cNvSpPr>
            <a:spLocks noGrp="1"/>
          </p:cNvSpPr>
          <p:nvPr>
            <p:ph type="ftr" sz="quarter" idx="15"/>
          </p:nvPr>
        </p:nvSpPr>
        <p:spPr/>
        <p:txBody>
          <a:bodyPr/>
          <a:lstStyle/>
          <a:p>
            <a:endParaRPr lang="en-IN"/>
          </a:p>
        </p:txBody>
      </p:sp>
      <p:sp>
        <p:nvSpPr>
          <p:cNvPr id="8" name="Slide Number Placeholder 7">
            <a:extLst>
              <a:ext uri="{FF2B5EF4-FFF2-40B4-BE49-F238E27FC236}">
                <a16:creationId xmlns:a16="http://schemas.microsoft.com/office/drawing/2014/main" id="{99191BF6-7645-4AA5-BBDA-A5098F6872EC}"/>
              </a:ext>
            </a:extLst>
          </p:cNvPr>
          <p:cNvSpPr>
            <a:spLocks noGrp="1"/>
          </p:cNvSpPr>
          <p:nvPr>
            <p:ph type="sldNum" sz="quarter" idx="16"/>
          </p:nvPr>
        </p:nvSpPr>
        <p:spPr/>
        <p:txBody>
          <a:bodyPr/>
          <a:lstStyle/>
          <a:p>
            <a:fld id="{A5163908-529D-4A49-892F-D37C4044DFD8}" type="slidenum">
              <a:rPr lang="en-IN" smtClean="0"/>
              <a:pPr/>
              <a:t>‹#›</a:t>
            </a:fld>
            <a:endParaRPr lang="en-IN"/>
          </a:p>
        </p:txBody>
      </p:sp>
      <p:sp>
        <p:nvSpPr>
          <p:cNvPr id="9" name="Text Placeholder 8">
            <a:extLst>
              <a:ext uri="{FF2B5EF4-FFF2-40B4-BE49-F238E27FC236}">
                <a16:creationId xmlns:a16="http://schemas.microsoft.com/office/drawing/2014/main" id="{C35C9F09-7021-4051-A9D1-030CD6FC330E}"/>
              </a:ext>
            </a:extLst>
          </p:cNvPr>
          <p:cNvSpPr>
            <a:spLocks noGrp="1"/>
          </p:cNvSpPr>
          <p:nvPr>
            <p:ph type="body" sz="quarter" idx="17"/>
          </p:nvPr>
        </p:nvSpPr>
        <p:spPr>
          <a:xfrm>
            <a:off x="673100" y="1623484"/>
            <a:ext cx="5088467" cy="4614333"/>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4809A377-7525-43E7-B08A-D3AD27D17047}"/>
              </a:ext>
            </a:extLst>
          </p:cNvPr>
          <p:cNvSpPr>
            <a:spLocks noGrp="1"/>
          </p:cNvSpPr>
          <p:nvPr>
            <p:ph type="body" sz="quarter" idx="18"/>
          </p:nvPr>
        </p:nvSpPr>
        <p:spPr>
          <a:xfrm>
            <a:off x="6432551" y="1623484"/>
            <a:ext cx="5088467" cy="4614333"/>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18795896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Blue Two Content">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A04ADFE-9A66-4402-ADB9-F737C99AC817}"/>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3" name="Object 2" hidden="1">
                        <a:extLst>
                          <a:ext uri="{FF2B5EF4-FFF2-40B4-BE49-F238E27FC236}">
                            <a16:creationId xmlns:a16="http://schemas.microsoft.com/office/drawing/2014/main" id="{5A04ADFE-9A66-4402-ADB9-F737C99AC817}"/>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C9F324-D96D-43C9-9F1D-74F1A749ED0A}"/>
              </a:ext>
            </a:extLst>
          </p:cNvPr>
          <p:cNvSpPr/>
          <p:nvPr>
            <p:custDataLst>
              <p:tags r:id="rId2"/>
            </p:custDataLst>
          </p:nvPr>
        </p:nvSpPr>
        <p:spPr>
          <a:xfrm>
            <a:off x="0" y="0"/>
            <a:ext cx="211667"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a:latin typeface="Calibri Light" panose="020F0302020204030204" pitchFamily="34" charset="0"/>
              <a:ea typeface="+mj-ea"/>
              <a:cs typeface="+mj-cs"/>
              <a:sym typeface="Calibri Light" panose="020F0302020204030204" pitchFamily="34" charset="0"/>
            </a:endParaRPr>
          </a:p>
        </p:txBody>
      </p:sp>
      <p:sp>
        <p:nvSpPr>
          <p:cNvPr id="5" name="Title 4">
            <a:extLst>
              <a:ext uri="{FF2B5EF4-FFF2-40B4-BE49-F238E27FC236}">
                <a16:creationId xmlns:a16="http://schemas.microsoft.com/office/drawing/2014/main" id="{AD6FF390-C074-41B4-BFDD-16F0AF26BAA5}"/>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IN"/>
          </a:p>
        </p:txBody>
      </p:sp>
      <p:sp>
        <p:nvSpPr>
          <p:cNvPr id="6" name="Date Placeholder 5">
            <a:extLst>
              <a:ext uri="{FF2B5EF4-FFF2-40B4-BE49-F238E27FC236}">
                <a16:creationId xmlns:a16="http://schemas.microsoft.com/office/drawing/2014/main" id="{8262478C-A2B9-4776-BE79-6136821C6D1B}"/>
              </a:ext>
            </a:extLst>
          </p:cNvPr>
          <p:cNvSpPr>
            <a:spLocks noGrp="1"/>
          </p:cNvSpPr>
          <p:nvPr>
            <p:ph type="dt" sz="half" idx="14"/>
          </p:nvPr>
        </p:nvSpPr>
        <p:spPr/>
        <p:txBody>
          <a:bodyPr/>
          <a:lstStyle>
            <a:lvl1pPr>
              <a:defRPr>
                <a:solidFill>
                  <a:schemeClr val="bg1"/>
                </a:solidFill>
              </a:defRPr>
            </a:lvl1pPr>
          </a:lstStyle>
          <a:p>
            <a:endParaRPr lang="en-IN"/>
          </a:p>
        </p:txBody>
      </p:sp>
      <p:sp>
        <p:nvSpPr>
          <p:cNvPr id="7" name="Footer Placeholder 6">
            <a:extLst>
              <a:ext uri="{FF2B5EF4-FFF2-40B4-BE49-F238E27FC236}">
                <a16:creationId xmlns:a16="http://schemas.microsoft.com/office/drawing/2014/main" id="{B446DDBD-3CF8-4852-AFCD-6916157B8301}"/>
              </a:ext>
            </a:extLst>
          </p:cNvPr>
          <p:cNvSpPr>
            <a:spLocks noGrp="1"/>
          </p:cNvSpPr>
          <p:nvPr>
            <p:ph type="ftr" sz="quarter" idx="15"/>
          </p:nvPr>
        </p:nvSpPr>
        <p:spPr/>
        <p:txBody>
          <a:bodyPr/>
          <a:lstStyle>
            <a:lvl1pPr>
              <a:defRPr>
                <a:solidFill>
                  <a:schemeClr val="bg1"/>
                </a:solidFill>
              </a:defRPr>
            </a:lvl1pPr>
          </a:lstStyle>
          <a:p>
            <a:endParaRPr lang="en-IN"/>
          </a:p>
        </p:txBody>
      </p:sp>
      <p:sp>
        <p:nvSpPr>
          <p:cNvPr id="8" name="Slide Number Placeholder 7">
            <a:extLst>
              <a:ext uri="{FF2B5EF4-FFF2-40B4-BE49-F238E27FC236}">
                <a16:creationId xmlns:a16="http://schemas.microsoft.com/office/drawing/2014/main" id="{99191BF6-7645-4AA5-BBDA-A5098F6872EC}"/>
              </a:ext>
            </a:extLst>
          </p:cNvPr>
          <p:cNvSpPr>
            <a:spLocks noGrp="1"/>
          </p:cNvSpPr>
          <p:nvPr>
            <p:ph type="sldNum" sz="quarter" idx="16"/>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9" name="Text Placeholder 8">
            <a:extLst>
              <a:ext uri="{FF2B5EF4-FFF2-40B4-BE49-F238E27FC236}">
                <a16:creationId xmlns:a16="http://schemas.microsoft.com/office/drawing/2014/main" id="{C35C9F09-7021-4051-A9D1-030CD6FC330E}"/>
              </a:ext>
            </a:extLst>
          </p:cNvPr>
          <p:cNvSpPr>
            <a:spLocks noGrp="1"/>
          </p:cNvSpPr>
          <p:nvPr>
            <p:ph type="body" sz="quarter" idx="17"/>
          </p:nvPr>
        </p:nvSpPr>
        <p:spPr>
          <a:xfrm>
            <a:off x="673100" y="1623484"/>
            <a:ext cx="5088467" cy="4614333"/>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4809A377-7525-43E7-B08A-D3AD27D17047}"/>
              </a:ext>
            </a:extLst>
          </p:cNvPr>
          <p:cNvSpPr>
            <a:spLocks noGrp="1"/>
          </p:cNvSpPr>
          <p:nvPr>
            <p:ph type="body" sz="quarter" idx="18"/>
          </p:nvPr>
        </p:nvSpPr>
        <p:spPr>
          <a:xfrm>
            <a:off x="6432551" y="1623484"/>
            <a:ext cx="5088467" cy="4614333"/>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0" name="Picture 9">
            <a:extLst>
              <a:ext uri="{FF2B5EF4-FFF2-40B4-BE49-F238E27FC236}">
                <a16:creationId xmlns:a16="http://schemas.microsoft.com/office/drawing/2014/main" id="{EE4AB85C-6D68-43DC-9254-2702C4AC327B}"/>
              </a:ext>
            </a:extLst>
          </p:cNvPr>
          <p:cNvPicPr>
            <a:picLocks noChangeAspect="1"/>
          </p:cNvPicPr>
          <p:nvPr/>
        </p:nvPicPr>
        <p:blipFill>
          <a:blip r:embed="rId6" cstate="email">
            <a:alphaModFix/>
            <a:extLst>
              <a:ext uri="{28A0092B-C50C-407E-A947-70E740481C1C}">
                <a14:useLocalDpi xmlns:a14="http://schemas.microsoft.com/office/drawing/2010/main"/>
              </a:ext>
            </a:extLst>
          </a:blip>
          <a:stretch>
            <a:fillRect/>
          </a:stretch>
        </p:blipFill>
        <p:spPr>
          <a:xfrm>
            <a:off x="11041017" y="288001"/>
            <a:ext cx="480000" cy="613041"/>
          </a:xfrm>
          <a:prstGeom prst="rect">
            <a:avLst/>
          </a:prstGeom>
          <a:noFill/>
        </p:spPr>
      </p:pic>
    </p:spTree>
    <p:extLst>
      <p:ext uri="{BB962C8B-B14F-4D97-AF65-F5344CB8AC3E}">
        <p14:creationId xmlns:p14="http://schemas.microsoft.com/office/powerpoint/2010/main" val="180093466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Vertical image -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BF4024-250B-4DF0-88FD-894C7422FA51}"/>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BF4024-250B-4DF0-88FD-894C7422FA51}"/>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D240ED2-4EC0-4518-89F1-BBB2F52D7439}"/>
              </a:ext>
            </a:extLst>
          </p:cNvPr>
          <p:cNvSpPr/>
          <p:nvPr>
            <p:custDataLst>
              <p:tags r:id="rId2"/>
            </p:custDataLst>
          </p:nvPr>
        </p:nvSpPr>
        <p:spPr>
          <a:xfrm>
            <a:off x="0" y="0"/>
            <a:ext cx="211667"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a:latin typeface="Calibri Light" panose="020F0302020204030204" pitchFamily="34" charset="0"/>
              <a:ea typeface="+mj-ea"/>
              <a:cs typeface="+mj-cs"/>
              <a:sym typeface="Calibri Light" panose="020F0302020204030204" pitchFamily="34" charset="0"/>
            </a:endParaRPr>
          </a:p>
        </p:txBody>
      </p:sp>
      <p:sp>
        <p:nvSpPr>
          <p:cNvPr id="6" name="Picture Placeholder 2"/>
          <p:cNvSpPr>
            <a:spLocks noGrp="1"/>
          </p:cNvSpPr>
          <p:nvPr>
            <p:ph type="pic" sz="quarter" idx="14"/>
          </p:nvPr>
        </p:nvSpPr>
        <p:spPr>
          <a:xfrm>
            <a:off x="0" y="0"/>
            <a:ext cx="4656667" cy="6851904"/>
          </a:xfrm>
          <a:prstGeom prst="rect">
            <a:avLst/>
          </a:prstGeom>
          <a:solidFill>
            <a:schemeClr val="bg1">
              <a:lumMod val="85000"/>
            </a:schemeClr>
          </a:solidFill>
        </p:spPr>
        <p:txBody>
          <a:bodyPr/>
          <a:lstStyle>
            <a:lvl1pPr marL="0" indent="0">
              <a:buNone/>
              <a:defRPr sz="1733">
                <a:solidFill>
                  <a:schemeClr val="tx1"/>
                </a:solidFill>
              </a:defRPr>
            </a:lvl1pPr>
          </a:lstStyle>
          <a:p>
            <a:r>
              <a:rPr lang="en-US"/>
              <a:t>Click icon to add picture</a:t>
            </a:r>
          </a:p>
        </p:txBody>
      </p:sp>
      <p:sp>
        <p:nvSpPr>
          <p:cNvPr id="2" name="Title 1">
            <a:extLst>
              <a:ext uri="{FF2B5EF4-FFF2-40B4-BE49-F238E27FC236}">
                <a16:creationId xmlns:a16="http://schemas.microsoft.com/office/drawing/2014/main" id="{8CB71538-B430-4B25-AB35-31746FF03029}"/>
              </a:ext>
            </a:extLst>
          </p:cNvPr>
          <p:cNvSpPr>
            <a:spLocks noGrp="1"/>
          </p:cNvSpPr>
          <p:nvPr>
            <p:ph type="title"/>
          </p:nvPr>
        </p:nvSpPr>
        <p:spPr>
          <a:xfrm>
            <a:off x="5327915" y="507999"/>
            <a:ext cx="5376069" cy="931335"/>
          </a:xfrm>
        </p:spPr>
        <p:txBody>
          <a:bodyPr/>
          <a:lstStyle/>
          <a:p>
            <a:r>
              <a:rPr lang="en-US"/>
              <a:t>Click to edit Master title style</a:t>
            </a:r>
            <a:endParaRPr lang="en-IN"/>
          </a:p>
        </p:txBody>
      </p:sp>
      <p:sp>
        <p:nvSpPr>
          <p:cNvPr id="5" name="Date Placeholder 4">
            <a:extLst>
              <a:ext uri="{FF2B5EF4-FFF2-40B4-BE49-F238E27FC236}">
                <a16:creationId xmlns:a16="http://schemas.microsoft.com/office/drawing/2014/main" id="{F342523A-C070-4FDB-86F7-7875D41CCDAE}"/>
              </a:ext>
            </a:extLst>
          </p:cNvPr>
          <p:cNvSpPr>
            <a:spLocks noGrp="1"/>
          </p:cNvSpPr>
          <p:nvPr>
            <p:ph type="dt" sz="half" idx="16"/>
          </p:nvPr>
        </p:nvSpPr>
        <p:spPr/>
        <p:txBody>
          <a:bodyPr/>
          <a:lstStyle/>
          <a:p>
            <a:endParaRPr lang="en-IN"/>
          </a:p>
        </p:txBody>
      </p:sp>
      <p:sp>
        <p:nvSpPr>
          <p:cNvPr id="7" name="Footer Placeholder 6">
            <a:extLst>
              <a:ext uri="{FF2B5EF4-FFF2-40B4-BE49-F238E27FC236}">
                <a16:creationId xmlns:a16="http://schemas.microsoft.com/office/drawing/2014/main" id="{910264BD-5203-49E4-BC0F-3E4178D54B1D}"/>
              </a:ext>
            </a:extLst>
          </p:cNvPr>
          <p:cNvSpPr>
            <a:spLocks noGrp="1"/>
          </p:cNvSpPr>
          <p:nvPr>
            <p:ph type="ftr" sz="quarter" idx="17"/>
          </p:nvPr>
        </p:nvSpPr>
        <p:spPr/>
        <p:txBody>
          <a:bodyPr/>
          <a:lstStyle/>
          <a:p>
            <a:endParaRPr lang="en-IN"/>
          </a:p>
        </p:txBody>
      </p:sp>
      <p:sp>
        <p:nvSpPr>
          <p:cNvPr id="8" name="Slide Number Placeholder 7">
            <a:extLst>
              <a:ext uri="{FF2B5EF4-FFF2-40B4-BE49-F238E27FC236}">
                <a16:creationId xmlns:a16="http://schemas.microsoft.com/office/drawing/2014/main" id="{3E744C28-1BF7-4E7F-A965-D914E61E58F3}"/>
              </a:ext>
            </a:extLst>
          </p:cNvPr>
          <p:cNvSpPr>
            <a:spLocks noGrp="1"/>
          </p:cNvSpPr>
          <p:nvPr>
            <p:ph type="sldNum" sz="quarter" idx="18"/>
          </p:nvPr>
        </p:nvSpPr>
        <p:spPr/>
        <p:txBody>
          <a:bodyPr/>
          <a:lstStyle/>
          <a:p>
            <a:fld id="{A5163908-529D-4A49-892F-D37C4044DFD8}" type="slidenum">
              <a:rPr lang="en-IN" smtClean="0"/>
              <a:pPr/>
              <a:t>‹#›</a:t>
            </a:fld>
            <a:endParaRPr lang="en-IN"/>
          </a:p>
        </p:txBody>
      </p:sp>
      <p:sp>
        <p:nvSpPr>
          <p:cNvPr id="12" name="Text Placeholder 11">
            <a:extLst>
              <a:ext uri="{FF2B5EF4-FFF2-40B4-BE49-F238E27FC236}">
                <a16:creationId xmlns:a16="http://schemas.microsoft.com/office/drawing/2014/main" id="{0A17CC56-2B12-4A59-950F-3DCB9600CEDE}"/>
              </a:ext>
            </a:extLst>
          </p:cNvPr>
          <p:cNvSpPr>
            <a:spLocks noGrp="1"/>
          </p:cNvSpPr>
          <p:nvPr>
            <p:ph type="body" sz="quarter" idx="19"/>
          </p:nvPr>
        </p:nvSpPr>
        <p:spPr>
          <a:xfrm>
            <a:off x="5327915" y="1623483"/>
            <a:ext cx="6193104" cy="4614335"/>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50957455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Vertical image - 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493118-70BE-49DA-9C6C-347B4D8A8BC0}"/>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5" name="Object 4" hidden="1">
                        <a:extLst>
                          <a:ext uri="{FF2B5EF4-FFF2-40B4-BE49-F238E27FC236}">
                            <a16:creationId xmlns:a16="http://schemas.microsoft.com/office/drawing/2014/main" id="{DD493118-70BE-49DA-9C6C-347B4D8A8BC0}"/>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1B156F3-CF8C-4CDD-A03E-A24D93085D28}"/>
              </a:ext>
            </a:extLst>
          </p:cNvPr>
          <p:cNvSpPr/>
          <p:nvPr>
            <p:custDataLst>
              <p:tags r:id="rId2"/>
            </p:custDataLst>
          </p:nvPr>
        </p:nvSpPr>
        <p:spPr>
          <a:xfrm>
            <a:off x="0" y="0"/>
            <a:ext cx="211667"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a:latin typeface="Calibri Light" panose="020F0302020204030204" pitchFamily="34" charset="0"/>
              <a:ea typeface="+mj-ea"/>
              <a:cs typeface="+mj-cs"/>
              <a:sym typeface="Calibri Light" panose="020F0302020204030204" pitchFamily="34" charset="0"/>
            </a:endParaRPr>
          </a:p>
        </p:txBody>
      </p:sp>
      <p:sp>
        <p:nvSpPr>
          <p:cNvPr id="6" name="Picture Placeholder 2"/>
          <p:cNvSpPr>
            <a:spLocks noGrp="1"/>
          </p:cNvSpPr>
          <p:nvPr>
            <p:ph type="pic" sz="quarter" idx="14"/>
          </p:nvPr>
        </p:nvSpPr>
        <p:spPr>
          <a:xfrm>
            <a:off x="7535333" y="0"/>
            <a:ext cx="4656667" cy="6851904"/>
          </a:xfrm>
          <a:prstGeom prst="rect">
            <a:avLst/>
          </a:prstGeom>
          <a:solidFill>
            <a:schemeClr val="bg1">
              <a:lumMod val="85000"/>
            </a:schemeClr>
          </a:solidFill>
        </p:spPr>
        <p:txBody>
          <a:bodyPr/>
          <a:lstStyle>
            <a:lvl1pPr marL="0" indent="0">
              <a:buNone/>
              <a:defRPr sz="1733">
                <a:solidFill>
                  <a:schemeClr val="tx1"/>
                </a:solidFill>
              </a:defRPr>
            </a:lvl1pPr>
          </a:lstStyle>
          <a:p>
            <a:r>
              <a:rPr lang="en-US"/>
              <a:t>Click icon to add picture</a:t>
            </a:r>
          </a:p>
        </p:txBody>
      </p:sp>
      <p:sp>
        <p:nvSpPr>
          <p:cNvPr id="3" name="Title 2">
            <a:extLst>
              <a:ext uri="{FF2B5EF4-FFF2-40B4-BE49-F238E27FC236}">
                <a16:creationId xmlns:a16="http://schemas.microsoft.com/office/drawing/2014/main" id="{7923F61C-4E8C-4FD1-B6ED-B2BBE09DECD2}"/>
              </a:ext>
            </a:extLst>
          </p:cNvPr>
          <p:cNvSpPr>
            <a:spLocks noGrp="1"/>
          </p:cNvSpPr>
          <p:nvPr>
            <p:ph type="title"/>
          </p:nvPr>
        </p:nvSpPr>
        <p:spPr>
          <a:xfrm>
            <a:off x="673102" y="507999"/>
            <a:ext cx="6047433" cy="931335"/>
          </a:xfrm>
        </p:spPr>
        <p:txBody>
          <a:bodyPr/>
          <a:lstStyle/>
          <a:p>
            <a:r>
              <a:rPr lang="en-US"/>
              <a:t>Click to edit Master title style</a:t>
            </a:r>
            <a:endParaRPr lang="en-IN"/>
          </a:p>
        </p:txBody>
      </p:sp>
      <p:sp>
        <p:nvSpPr>
          <p:cNvPr id="2" name="Date Placeholder 1">
            <a:extLst>
              <a:ext uri="{FF2B5EF4-FFF2-40B4-BE49-F238E27FC236}">
                <a16:creationId xmlns:a16="http://schemas.microsoft.com/office/drawing/2014/main" id="{9615EEC5-0A06-4B5F-809B-FA1044DD4102}"/>
              </a:ext>
            </a:extLst>
          </p:cNvPr>
          <p:cNvSpPr>
            <a:spLocks noGrp="1"/>
          </p:cNvSpPr>
          <p:nvPr>
            <p:ph type="dt" sz="half" idx="16"/>
          </p:nvPr>
        </p:nvSpPr>
        <p:spPr/>
        <p:txBody>
          <a:bodyPr/>
          <a:lstStyle/>
          <a:p>
            <a:endParaRPr lang="en-IN"/>
          </a:p>
        </p:txBody>
      </p:sp>
      <p:sp>
        <p:nvSpPr>
          <p:cNvPr id="7" name="Footer Placeholder 6">
            <a:extLst>
              <a:ext uri="{FF2B5EF4-FFF2-40B4-BE49-F238E27FC236}">
                <a16:creationId xmlns:a16="http://schemas.microsoft.com/office/drawing/2014/main" id="{131F658F-CD8F-4E6E-BDBA-CBEEDB568400}"/>
              </a:ext>
            </a:extLst>
          </p:cNvPr>
          <p:cNvSpPr>
            <a:spLocks noGrp="1"/>
          </p:cNvSpPr>
          <p:nvPr>
            <p:ph type="ftr" sz="quarter" idx="17"/>
          </p:nvPr>
        </p:nvSpPr>
        <p:spPr/>
        <p:txBody>
          <a:bodyPr/>
          <a:lstStyle/>
          <a:p>
            <a:endParaRPr lang="en-IN"/>
          </a:p>
        </p:txBody>
      </p:sp>
      <p:sp>
        <p:nvSpPr>
          <p:cNvPr id="11" name="Slide Number Placeholder 10">
            <a:extLst>
              <a:ext uri="{FF2B5EF4-FFF2-40B4-BE49-F238E27FC236}">
                <a16:creationId xmlns:a16="http://schemas.microsoft.com/office/drawing/2014/main" id="{79D84B06-2D47-45F2-9684-460ADDAA2DA0}"/>
              </a:ext>
            </a:extLst>
          </p:cNvPr>
          <p:cNvSpPr>
            <a:spLocks noGrp="1"/>
          </p:cNvSpPr>
          <p:nvPr>
            <p:ph type="sldNum" sz="quarter" idx="18"/>
          </p:nvPr>
        </p:nvSpPr>
        <p:spPr/>
        <p:txBody>
          <a:bodyPr/>
          <a:lstStyle/>
          <a:p>
            <a:fld id="{A5163908-529D-4A49-892F-D37C4044DFD8}" type="slidenum">
              <a:rPr lang="en-IN" smtClean="0"/>
              <a:pPr/>
              <a:t>‹#›</a:t>
            </a:fld>
            <a:endParaRPr lang="en-IN"/>
          </a:p>
        </p:txBody>
      </p:sp>
      <p:sp>
        <p:nvSpPr>
          <p:cNvPr id="12" name="Text Placeholder 11">
            <a:extLst>
              <a:ext uri="{FF2B5EF4-FFF2-40B4-BE49-F238E27FC236}">
                <a16:creationId xmlns:a16="http://schemas.microsoft.com/office/drawing/2014/main" id="{DA4E067B-840F-47D3-B48B-45596F55FF9C}"/>
              </a:ext>
            </a:extLst>
          </p:cNvPr>
          <p:cNvSpPr>
            <a:spLocks noGrp="1"/>
          </p:cNvSpPr>
          <p:nvPr>
            <p:ph type="body" sz="quarter" idx="19"/>
          </p:nvPr>
        </p:nvSpPr>
        <p:spPr>
          <a:xfrm>
            <a:off x="673100" y="1623484"/>
            <a:ext cx="6047435" cy="4614333"/>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A2ED915-94F6-46CD-826E-92A745D55295}"/>
              </a:ext>
            </a:extLst>
          </p:cNvPr>
          <p:cNvSpPr>
            <a:spLocks noGrp="1"/>
          </p:cNvSpPr>
          <p:nvPr>
            <p:ph type="body" sz="quarter" idx="22" hasCustomPrompt="1"/>
          </p:nvPr>
        </p:nvSpPr>
        <p:spPr>
          <a:xfrm>
            <a:off x="11041019" y="288001"/>
            <a:ext cx="480000" cy="609729"/>
          </a:xfrm>
          <a:blipFill dpi="0" rotWithShape="1">
            <a:blip r:embed="rId6" cstate="email">
              <a:alphaModFix amt="90000"/>
              <a:extLst>
                <a:ext uri="{28A0092B-C50C-407E-A947-70E740481C1C}">
                  <a14:useLocalDpi xmlns:a14="http://schemas.microsoft.com/office/drawing/2010/main"/>
                </a:ext>
              </a:extLst>
            </a:blip>
            <a:srcRect/>
            <a:stretch>
              <a:fillRect/>
            </a:stretch>
          </a:blipFill>
        </p:spPr>
        <p:txBody>
          <a:bodyPr/>
          <a:lstStyle>
            <a:lvl1pPr marL="0" indent="0">
              <a:buNone/>
              <a:defRPr/>
            </a:lvl1pPr>
          </a:lstStyle>
          <a:p>
            <a:pPr lvl="0"/>
            <a:r>
              <a:rPr lang="en-US"/>
              <a:t> </a:t>
            </a:r>
          </a:p>
        </p:txBody>
      </p:sp>
    </p:spTree>
    <p:extLst>
      <p:ext uri="{BB962C8B-B14F-4D97-AF65-F5344CB8AC3E}">
        <p14:creationId xmlns:p14="http://schemas.microsoft.com/office/powerpoint/2010/main" val="310868136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Horizontal image -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96B7A6-8E09-43BE-AD8E-4D7F6C40B1CE}"/>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E796B7A6-8E09-43BE-AD8E-4D7F6C40B1CE}"/>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80C839-211D-4D2C-84AA-B3FFFB3A69E6}"/>
              </a:ext>
            </a:extLst>
          </p:cNvPr>
          <p:cNvSpPr/>
          <p:nvPr>
            <p:custDataLst>
              <p:tags r:id="rId2"/>
            </p:custDataLst>
          </p:nvPr>
        </p:nvSpPr>
        <p:spPr>
          <a:xfrm>
            <a:off x="0" y="0"/>
            <a:ext cx="211667"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a:latin typeface="Calibri Light" panose="020F0302020204030204" pitchFamily="34" charset="0"/>
              <a:ea typeface="+mj-ea"/>
              <a:cs typeface="+mj-cs"/>
              <a:sym typeface="Calibri Light" panose="020F0302020204030204" pitchFamily="34" charset="0"/>
            </a:endParaRPr>
          </a:p>
        </p:txBody>
      </p:sp>
      <p:sp>
        <p:nvSpPr>
          <p:cNvPr id="6" name="Picture Placeholder 2"/>
          <p:cNvSpPr>
            <a:spLocks noGrp="1"/>
          </p:cNvSpPr>
          <p:nvPr>
            <p:ph type="pic" sz="quarter" idx="14"/>
          </p:nvPr>
        </p:nvSpPr>
        <p:spPr>
          <a:xfrm>
            <a:off x="3" y="1623483"/>
            <a:ext cx="7542507" cy="4614335"/>
          </a:xfrm>
          <a:prstGeom prst="rect">
            <a:avLst/>
          </a:prstGeom>
          <a:solidFill>
            <a:schemeClr val="bg1">
              <a:lumMod val="85000"/>
            </a:schemeClr>
          </a:solidFill>
        </p:spPr>
        <p:txBody>
          <a:bodyPr/>
          <a:lstStyle>
            <a:lvl1pPr marL="0" indent="0">
              <a:buNone/>
              <a:defRPr sz="1733">
                <a:solidFill>
                  <a:schemeClr val="tx1"/>
                </a:solidFill>
              </a:defRPr>
            </a:lvl1pPr>
          </a:lstStyle>
          <a:p>
            <a:r>
              <a:rPr lang="en-US"/>
              <a:t>Click icon to add picture</a:t>
            </a:r>
          </a:p>
        </p:txBody>
      </p:sp>
      <p:sp>
        <p:nvSpPr>
          <p:cNvPr id="7" name="Title 6">
            <a:extLst>
              <a:ext uri="{FF2B5EF4-FFF2-40B4-BE49-F238E27FC236}">
                <a16:creationId xmlns:a16="http://schemas.microsoft.com/office/drawing/2014/main" id="{A41FA11C-355A-42A0-8ACC-631313FC9678}"/>
              </a:ext>
            </a:extLst>
          </p:cNvPr>
          <p:cNvSpPr>
            <a:spLocks noGrp="1"/>
          </p:cNvSpPr>
          <p:nvPr>
            <p:ph type="title"/>
          </p:nvPr>
        </p:nvSpPr>
        <p:spPr/>
        <p:txBody>
          <a:bodyPr/>
          <a:lstStyle/>
          <a:p>
            <a:r>
              <a:rPr lang="en-US"/>
              <a:t>Click to edit Master title style</a:t>
            </a:r>
            <a:endParaRPr lang="en-IN"/>
          </a:p>
        </p:txBody>
      </p:sp>
      <p:sp>
        <p:nvSpPr>
          <p:cNvPr id="8" name="Date Placeholder 7">
            <a:extLst>
              <a:ext uri="{FF2B5EF4-FFF2-40B4-BE49-F238E27FC236}">
                <a16:creationId xmlns:a16="http://schemas.microsoft.com/office/drawing/2014/main" id="{A361182E-6B7A-4849-BC57-86A86014FF88}"/>
              </a:ext>
            </a:extLst>
          </p:cNvPr>
          <p:cNvSpPr>
            <a:spLocks noGrp="1"/>
          </p:cNvSpPr>
          <p:nvPr>
            <p:ph type="dt" sz="half" idx="17"/>
          </p:nvPr>
        </p:nvSpPr>
        <p:spPr/>
        <p:txBody>
          <a:bodyPr/>
          <a:lstStyle/>
          <a:p>
            <a:endParaRPr lang="en-IN"/>
          </a:p>
        </p:txBody>
      </p:sp>
      <p:sp>
        <p:nvSpPr>
          <p:cNvPr id="9" name="Footer Placeholder 8">
            <a:extLst>
              <a:ext uri="{FF2B5EF4-FFF2-40B4-BE49-F238E27FC236}">
                <a16:creationId xmlns:a16="http://schemas.microsoft.com/office/drawing/2014/main" id="{E52FD04A-862C-4934-BC73-93BBD939EFDA}"/>
              </a:ext>
            </a:extLst>
          </p:cNvPr>
          <p:cNvSpPr>
            <a:spLocks noGrp="1"/>
          </p:cNvSpPr>
          <p:nvPr>
            <p:ph type="ftr" sz="quarter" idx="18"/>
          </p:nvPr>
        </p:nvSpPr>
        <p:spPr/>
        <p:txBody>
          <a:bodyPr/>
          <a:lstStyle/>
          <a:p>
            <a:endParaRPr lang="en-IN"/>
          </a:p>
        </p:txBody>
      </p:sp>
      <p:sp>
        <p:nvSpPr>
          <p:cNvPr id="10" name="Slide Number Placeholder 9">
            <a:extLst>
              <a:ext uri="{FF2B5EF4-FFF2-40B4-BE49-F238E27FC236}">
                <a16:creationId xmlns:a16="http://schemas.microsoft.com/office/drawing/2014/main" id="{6BB82D07-B33E-49CB-AC52-C6579322403D}"/>
              </a:ext>
            </a:extLst>
          </p:cNvPr>
          <p:cNvSpPr>
            <a:spLocks noGrp="1"/>
          </p:cNvSpPr>
          <p:nvPr>
            <p:ph type="sldNum" sz="quarter" idx="19"/>
          </p:nvPr>
        </p:nvSpPr>
        <p:spPr/>
        <p:txBody>
          <a:bodyPr/>
          <a:lstStyle/>
          <a:p>
            <a:fld id="{A5163908-529D-4A49-892F-D37C4044DFD8}" type="slidenum">
              <a:rPr lang="en-IN" smtClean="0"/>
              <a:pPr/>
              <a:t>‹#›</a:t>
            </a:fld>
            <a:endParaRPr lang="en-IN"/>
          </a:p>
        </p:txBody>
      </p:sp>
      <p:sp>
        <p:nvSpPr>
          <p:cNvPr id="11" name="Text Placeholder 10">
            <a:extLst>
              <a:ext uri="{FF2B5EF4-FFF2-40B4-BE49-F238E27FC236}">
                <a16:creationId xmlns:a16="http://schemas.microsoft.com/office/drawing/2014/main" id="{04820880-CEF8-4B01-8B09-8EC1A7E2F09F}"/>
              </a:ext>
            </a:extLst>
          </p:cNvPr>
          <p:cNvSpPr>
            <a:spLocks noGrp="1"/>
          </p:cNvSpPr>
          <p:nvPr>
            <p:ph type="body" sz="quarter" idx="20"/>
          </p:nvPr>
        </p:nvSpPr>
        <p:spPr>
          <a:xfrm>
            <a:off x="7829529" y="1623483"/>
            <a:ext cx="3691488" cy="4614335"/>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0373491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tion Header">
    <p:bg>
      <p:bgPr>
        <a:solidFill>
          <a:schemeClr val="tx2"/>
        </a:solid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lvl1pPr>
              <a:defRPr>
                <a:solidFill>
                  <a:schemeClr val="bg1"/>
                </a:solidFill>
              </a:defRPr>
            </a:lvl1pPr>
          </a:lstStyle>
          <a:p>
            <a:endParaRPr lang="en-BE"/>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9F5F79E4-174E-4D15-B5B9-2923F86E0116}" type="slidenum">
              <a:rPr lang="en-BE" smtClean="0"/>
              <a:t>‹#›</a:t>
            </a:fld>
            <a:endParaRPr lang="en-BE"/>
          </a:p>
        </p:txBody>
      </p:sp>
      <p:sp>
        <p:nvSpPr>
          <p:cNvPr id="7" name="Title 6">
            <a:extLst>
              <a:ext uri="{FF2B5EF4-FFF2-40B4-BE49-F238E27FC236}">
                <a16:creationId xmlns:a16="http://schemas.microsoft.com/office/drawing/2014/main" id="{EE9D7C87-D037-4797-9A6A-B999C6F026D8}"/>
              </a:ext>
            </a:extLst>
          </p:cNvPr>
          <p:cNvSpPr>
            <a:spLocks noGrp="1"/>
          </p:cNvSpPr>
          <p:nvPr>
            <p:ph type="title"/>
          </p:nvPr>
        </p:nvSpPr>
        <p:spPr>
          <a:xfrm>
            <a:off x="410879" y="1521185"/>
            <a:ext cx="11368018" cy="3815631"/>
          </a:xfrm>
        </p:spPr>
        <p:txBody>
          <a:bodyPr anchor="ctr"/>
          <a:lstStyle>
            <a:lvl1pPr algn="ctr">
              <a:defRPr sz="6000">
                <a:solidFill>
                  <a:schemeClr val="bg1"/>
                </a:solidFill>
              </a:defRPr>
            </a:lvl1pPr>
          </a:lstStyle>
          <a:p>
            <a:r>
              <a:rPr lang="en-US"/>
              <a:t>Click to edit Master title style</a:t>
            </a:r>
          </a:p>
        </p:txBody>
      </p:sp>
    </p:spTree>
    <p:extLst>
      <p:ext uri="{BB962C8B-B14F-4D97-AF65-F5344CB8AC3E}">
        <p14:creationId xmlns:p14="http://schemas.microsoft.com/office/powerpoint/2010/main" val="1603332777"/>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Horizontal image - 2">
    <p:spTree>
      <p:nvGrpSpPr>
        <p:cNvPr id="1" name=""/>
        <p:cNvGrpSpPr/>
        <p:nvPr/>
      </p:nvGrpSpPr>
      <p:grpSpPr>
        <a:xfrm>
          <a:off x="0" y="0"/>
          <a:ext cx="0" cy="0"/>
          <a:chOff x="0" y="0"/>
          <a:chExt cx="0" cy="0"/>
        </a:xfrm>
      </p:grpSpPr>
      <p:sp>
        <p:nvSpPr>
          <p:cNvPr id="6" name="Picture Placeholder 2"/>
          <p:cNvSpPr>
            <a:spLocks noGrp="1"/>
          </p:cNvSpPr>
          <p:nvPr>
            <p:ph type="pic" sz="quarter" idx="14"/>
          </p:nvPr>
        </p:nvSpPr>
        <p:spPr>
          <a:xfrm>
            <a:off x="4670157" y="1623484"/>
            <a:ext cx="7521844" cy="4614333"/>
          </a:xfrm>
          <a:prstGeom prst="rect">
            <a:avLst/>
          </a:prstGeom>
          <a:solidFill>
            <a:schemeClr val="bg1">
              <a:lumMod val="85000"/>
            </a:schemeClr>
          </a:solidFill>
        </p:spPr>
        <p:txBody>
          <a:bodyPr/>
          <a:lstStyle>
            <a:lvl1pPr marL="0" indent="0">
              <a:buNone/>
              <a:defRPr sz="1733">
                <a:solidFill>
                  <a:schemeClr val="tx1"/>
                </a:solidFill>
              </a:defRPr>
            </a:lvl1pPr>
          </a:lstStyle>
          <a:p>
            <a:r>
              <a:rPr lang="en-US"/>
              <a:t>Click icon to add picture</a:t>
            </a:r>
          </a:p>
        </p:txBody>
      </p:sp>
      <p:sp>
        <p:nvSpPr>
          <p:cNvPr id="3" name="Title 2">
            <a:extLst>
              <a:ext uri="{FF2B5EF4-FFF2-40B4-BE49-F238E27FC236}">
                <a16:creationId xmlns:a16="http://schemas.microsoft.com/office/drawing/2014/main" id="{E4250E1E-97E8-4411-B532-AD7CE1F30888}"/>
              </a:ext>
            </a:extLst>
          </p:cNvPr>
          <p:cNvSpPr>
            <a:spLocks noGrp="1"/>
          </p:cNvSpPr>
          <p:nvPr>
            <p:ph type="title"/>
          </p:nvPr>
        </p:nvSpPr>
        <p:spPr/>
        <p:txBody>
          <a:bodyPr/>
          <a:lstStyle/>
          <a:p>
            <a:r>
              <a:rPr lang="en-US"/>
              <a:t>Click to edit Master title style</a:t>
            </a:r>
            <a:endParaRPr lang="en-IN"/>
          </a:p>
        </p:txBody>
      </p:sp>
      <p:sp>
        <p:nvSpPr>
          <p:cNvPr id="5" name="Date Placeholder 4">
            <a:extLst>
              <a:ext uri="{FF2B5EF4-FFF2-40B4-BE49-F238E27FC236}">
                <a16:creationId xmlns:a16="http://schemas.microsoft.com/office/drawing/2014/main" id="{27AA891F-E92C-403A-BFCC-535E846FAADC}"/>
              </a:ext>
            </a:extLst>
          </p:cNvPr>
          <p:cNvSpPr>
            <a:spLocks noGrp="1"/>
          </p:cNvSpPr>
          <p:nvPr>
            <p:ph type="dt" sz="half" idx="16"/>
          </p:nvPr>
        </p:nvSpPr>
        <p:spPr/>
        <p:txBody>
          <a:bodyPr/>
          <a:lstStyle/>
          <a:p>
            <a:endParaRPr lang="en-IN"/>
          </a:p>
        </p:txBody>
      </p:sp>
      <p:sp>
        <p:nvSpPr>
          <p:cNvPr id="7" name="Footer Placeholder 6">
            <a:extLst>
              <a:ext uri="{FF2B5EF4-FFF2-40B4-BE49-F238E27FC236}">
                <a16:creationId xmlns:a16="http://schemas.microsoft.com/office/drawing/2014/main" id="{E82573C8-E590-4CEE-84C0-E3B118D75FAE}"/>
              </a:ext>
            </a:extLst>
          </p:cNvPr>
          <p:cNvSpPr>
            <a:spLocks noGrp="1"/>
          </p:cNvSpPr>
          <p:nvPr>
            <p:ph type="ftr" sz="quarter" idx="17"/>
          </p:nvPr>
        </p:nvSpPr>
        <p:spPr/>
        <p:txBody>
          <a:bodyPr/>
          <a:lstStyle/>
          <a:p>
            <a:endParaRPr lang="en-IN"/>
          </a:p>
        </p:txBody>
      </p:sp>
      <p:sp>
        <p:nvSpPr>
          <p:cNvPr id="8" name="Slide Number Placeholder 7">
            <a:extLst>
              <a:ext uri="{FF2B5EF4-FFF2-40B4-BE49-F238E27FC236}">
                <a16:creationId xmlns:a16="http://schemas.microsoft.com/office/drawing/2014/main" id="{3D0A0AFB-ED51-4458-A2A2-DDC32D4086EA}"/>
              </a:ext>
            </a:extLst>
          </p:cNvPr>
          <p:cNvSpPr>
            <a:spLocks noGrp="1"/>
          </p:cNvSpPr>
          <p:nvPr>
            <p:ph type="sldNum" sz="quarter" idx="18"/>
          </p:nvPr>
        </p:nvSpPr>
        <p:spPr/>
        <p:txBody>
          <a:bodyPr/>
          <a:lstStyle/>
          <a:p>
            <a:fld id="{A5163908-529D-4A49-892F-D37C4044DFD8}" type="slidenum">
              <a:rPr lang="en-IN" smtClean="0"/>
              <a:pPr/>
              <a:t>‹#›</a:t>
            </a:fld>
            <a:endParaRPr lang="en-IN"/>
          </a:p>
        </p:txBody>
      </p:sp>
      <p:sp>
        <p:nvSpPr>
          <p:cNvPr id="9" name="Text Placeholder 8">
            <a:extLst>
              <a:ext uri="{FF2B5EF4-FFF2-40B4-BE49-F238E27FC236}">
                <a16:creationId xmlns:a16="http://schemas.microsoft.com/office/drawing/2014/main" id="{CD241E64-67CD-4CA0-81D4-1083916DD1B8}"/>
              </a:ext>
            </a:extLst>
          </p:cNvPr>
          <p:cNvSpPr>
            <a:spLocks noGrp="1"/>
          </p:cNvSpPr>
          <p:nvPr>
            <p:ph type="body" sz="quarter" idx="19"/>
          </p:nvPr>
        </p:nvSpPr>
        <p:spPr>
          <a:xfrm>
            <a:off x="673100" y="1623483"/>
            <a:ext cx="3676757" cy="4614335"/>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69920459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2-column images">
    <p:spTree>
      <p:nvGrpSpPr>
        <p:cNvPr id="1" name=""/>
        <p:cNvGrpSpPr/>
        <p:nvPr/>
      </p:nvGrpSpPr>
      <p:grpSpPr>
        <a:xfrm>
          <a:off x="0" y="0"/>
          <a:ext cx="0" cy="0"/>
          <a:chOff x="0" y="0"/>
          <a:chExt cx="0" cy="0"/>
        </a:xfrm>
      </p:grpSpPr>
      <p:sp>
        <p:nvSpPr>
          <p:cNvPr id="8" name="Picture Placeholder 3"/>
          <p:cNvSpPr>
            <a:spLocks noGrp="1"/>
          </p:cNvSpPr>
          <p:nvPr>
            <p:ph type="pic" sz="quarter" idx="15"/>
          </p:nvPr>
        </p:nvSpPr>
        <p:spPr>
          <a:xfrm>
            <a:off x="673100" y="1623485"/>
            <a:ext cx="5088467" cy="3128516"/>
          </a:xfrm>
          <a:prstGeom prst="rect">
            <a:avLst/>
          </a:prstGeom>
          <a:solidFill>
            <a:schemeClr val="bg1">
              <a:lumMod val="85000"/>
            </a:schemeClr>
          </a:solidFill>
        </p:spPr>
        <p:txBody>
          <a:bodyPr/>
          <a:lstStyle>
            <a:lvl1pPr marL="0" indent="0">
              <a:buNone/>
              <a:defRPr sz="1733"/>
            </a:lvl1pPr>
          </a:lstStyle>
          <a:p>
            <a:r>
              <a:rPr lang="en-US"/>
              <a:t>Click icon to add picture</a:t>
            </a:r>
          </a:p>
        </p:txBody>
      </p:sp>
      <p:sp>
        <p:nvSpPr>
          <p:cNvPr id="14" name="Picture Placeholder 3"/>
          <p:cNvSpPr>
            <a:spLocks noGrp="1"/>
          </p:cNvSpPr>
          <p:nvPr>
            <p:ph type="pic" sz="quarter" idx="16"/>
          </p:nvPr>
        </p:nvSpPr>
        <p:spPr>
          <a:xfrm>
            <a:off x="6432551" y="1623485"/>
            <a:ext cx="5088467" cy="3128516"/>
          </a:xfrm>
          <a:prstGeom prst="rect">
            <a:avLst/>
          </a:prstGeom>
          <a:solidFill>
            <a:schemeClr val="bg1">
              <a:lumMod val="85000"/>
            </a:schemeClr>
          </a:solidFill>
        </p:spPr>
        <p:txBody>
          <a:bodyPr/>
          <a:lstStyle>
            <a:lvl1pPr marL="0" indent="0">
              <a:buNone/>
              <a:defRPr sz="1733"/>
            </a:lvl1pPr>
          </a:lstStyle>
          <a:p>
            <a:r>
              <a:rPr lang="en-US"/>
              <a:t>Click icon to add picture</a:t>
            </a:r>
          </a:p>
        </p:txBody>
      </p:sp>
      <p:sp>
        <p:nvSpPr>
          <p:cNvPr id="3" name="Title 2">
            <a:extLst>
              <a:ext uri="{FF2B5EF4-FFF2-40B4-BE49-F238E27FC236}">
                <a16:creationId xmlns:a16="http://schemas.microsoft.com/office/drawing/2014/main" id="{BDAB248D-57C3-42BE-B1A8-E7FC1A3875E4}"/>
              </a:ext>
            </a:extLst>
          </p:cNvPr>
          <p:cNvSpPr>
            <a:spLocks noGrp="1"/>
          </p:cNvSpPr>
          <p:nvPr>
            <p:ph type="title"/>
          </p:nvPr>
        </p:nvSpPr>
        <p:spPr/>
        <p:txBody>
          <a:bodyPr/>
          <a:lstStyle/>
          <a:p>
            <a:r>
              <a:rPr lang="en-US"/>
              <a:t>Click to edit Master title style</a:t>
            </a:r>
            <a:endParaRPr lang="en-IN"/>
          </a:p>
        </p:txBody>
      </p:sp>
      <p:sp>
        <p:nvSpPr>
          <p:cNvPr id="4" name="Date Placeholder 3">
            <a:extLst>
              <a:ext uri="{FF2B5EF4-FFF2-40B4-BE49-F238E27FC236}">
                <a16:creationId xmlns:a16="http://schemas.microsoft.com/office/drawing/2014/main" id="{E67D1C86-B158-41D0-A938-63F01F335763}"/>
              </a:ext>
            </a:extLst>
          </p:cNvPr>
          <p:cNvSpPr>
            <a:spLocks noGrp="1"/>
          </p:cNvSpPr>
          <p:nvPr>
            <p:ph type="dt" sz="half" idx="19"/>
          </p:nvPr>
        </p:nvSpPr>
        <p:spPr/>
        <p:txBody>
          <a:bodyPr/>
          <a:lstStyle/>
          <a:p>
            <a:endParaRPr lang="en-IN"/>
          </a:p>
        </p:txBody>
      </p:sp>
      <p:sp>
        <p:nvSpPr>
          <p:cNvPr id="6" name="Footer Placeholder 5">
            <a:extLst>
              <a:ext uri="{FF2B5EF4-FFF2-40B4-BE49-F238E27FC236}">
                <a16:creationId xmlns:a16="http://schemas.microsoft.com/office/drawing/2014/main" id="{3026D6C4-8F10-4092-B714-9020C41BB820}"/>
              </a:ext>
            </a:extLst>
          </p:cNvPr>
          <p:cNvSpPr>
            <a:spLocks noGrp="1"/>
          </p:cNvSpPr>
          <p:nvPr>
            <p:ph type="ftr" sz="quarter" idx="20"/>
          </p:nvPr>
        </p:nvSpPr>
        <p:spPr/>
        <p:txBody>
          <a:bodyPr/>
          <a:lstStyle/>
          <a:p>
            <a:endParaRPr lang="en-IN"/>
          </a:p>
        </p:txBody>
      </p:sp>
      <p:sp>
        <p:nvSpPr>
          <p:cNvPr id="7" name="Slide Number Placeholder 6">
            <a:extLst>
              <a:ext uri="{FF2B5EF4-FFF2-40B4-BE49-F238E27FC236}">
                <a16:creationId xmlns:a16="http://schemas.microsoft.com/office/drawing/2014/main" id="{4FADD015-4119-4EA1-B431-858F91EA5FD3}"/>
              </a:ext>
            </a:extLst>
          </p:cNvPr>
          <p:cNvSpPr>
            <a:spLocks noGrp="1"/>
          </p:cNvSpPr>
          <p:nvPr>
            <p:ph type="sldNum" sz="quarter" idx="21"/>
          </p:nvPr>
        </p:nvSpPr>
        <p:spPr/>
        <p:txBody>
          <a:bodyPr/>
          <a:lstStyle/>
          <a:p>
            <a:fld id="{A5163908-529D-4A49-892F-D37C4044DFD8}" type="slidenum">
              <a:rPr lang="en-IN" smtClean="0"/>
              <a:pPr/>
              <a:t>‹#›</a:t>
            </a:fld>
            <a:endParaRPr lang="en-IN"/>
          </a:p>
        </p:txBody>
      </p:sp>
      <p:sp>
        <p:nvSpPr>
          <p:cNvPr id="9" name="Text Placeholder 8">
            <a:extLst>
              <a:ext uri="{FF2B5EF4-FFF2-40B4-BE49-F238E27FC236}">
                <a16:creationId xmlns:a16="http://schemas.microsoft.com/office/drawing/2014/main" id="{68BDAA8A-021C-4EC1-B26E-48889996AA3D}"/>
              </a:ext>
            </a:extLst>
          </p:cNvPr>
          <p:cNvSpPr>
            <a:spLocks noGrp="1"/>
          </p:cNvSpPr>
          <p:nvPr>
            <p:ph type="body" sz="quarter" idx="22"/>
          </p:nvPr>
        </p:nvSpPr>
        <p:spPr>
          <a:xfrm>
            <a:off x="673100" y="5004003"/>
            <a:ext cx="5088467" cy="1233816"/>
          </a:xfrm>
        </p:spPr>
        <p:txBody>
          <a:bodyPr/>
          <a:lstStyle/>
          <a:p>
            <a:pPr lvl="0"/>
            <a:r>
              <a:rPr lang="en-US"/>
              <a:t>Click to edit Master text styles</a:t>
            </a:r>
          </a:p>
          <a:p>
            <a:pPr lvl="1"/>
            <a:r>
              <a:rPr lang="en-US"/>
              <a:t>Second level</a:t>
            </a:r>
          </a:p>
          <a:p>
            <a:pPr lvl="2"/>
            <a:r>
              <a:rPr lang="en-US"/>
              <a:t>Third level</a:t>
            </a:r>
          </a:p>
        </p:txBody>
      </p:sp>
      <p:sp>
        <p:nvSpPr>
          <p:cNvPr id="11" name="Text Placeholder 10">
            <a:extLst>
              <a:ext uri="{FF2B5EF4-FFF2-40B4-BE49-F238E27FC236}">
                <a16:creationId xmlns:a16="http://schemas.microsoft.com/office/drawing/2014/main" id="{098F5822-A908-4933-8FD3-A83B190BF6E2}"/>
              </a:ext>
            </a:extLst>
          </p:cNvPr>
          <p:cNvSpPr>
            <a:spLocks noGrp="1"/>
          </p:cNvSpPr>
          <p:nvPr>
            <p:ph type="body" sz="quarter" idx="23"/>
          </p:nvPr>
        </p:nvSpPr>
        <p:spPr>
          <a:xfrm>
            <a:off x="6432551" y="5004003"/>
            <a:ext cx="5088467" cy="1233816"/>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0279854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Im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F063C06-AE5B-4F6F-9C37-FBE1184F3CB5}"/>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6" name="Object 5" hidden="1">
                        <a:extLst>
                          <a:ext uri="{FF2B5EF4-FFF2-40B4-BE49-F238E27FC236}">
                            <a16:creationId xmlns:a16="http://schemas.microsoft.com/office/drawing/2014/main" id="{3F063C06-AE5B-4F6F-9C37-FBE1184F3CB5}"/>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DD051A0-039D-42D9-A58B-EA14A08412FD}"/>
              </a:ext>
            </a:extLst>
          </p:cNvPr>
          <p:cNvSpPr/>
          <p:nvPr>
            <p:custDataLst>
              <p:tags r:id="rId2"/>
            </p:custDataLst>
          </p:nvPr>
        </p:nvSpPr>
        <p:spPr>
          <a:xfrm>
            <a:off x="0" y="0"/>
            <a:ext cx="211667"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a:latin typeface="Calibri Light" panose="020F0302020204030204" pitchFamily="34" charset="0"/>
              <a:ea typeface="+mj-ea"/>
              <a:cs typeface="+mj-cs"/>
              <a:sym typeface="Calibri Light" panose="020F0302020204030204" pitchFamily="34" charset="0"/>
            </a:endParaRPr>
          </a:p>
        </p:txBody>
      </p:sp>
      <p:sp>
        <p:nvSpPr>
          <p:cNvPr id="4" name="Picture Placeholder 3"/>
          <p:cNvSpPr>
            <a:spLocks noGrp="1"/>
          </p:cNvSpPr>
          <p:nvPr>
            <p:ph type="pic" sz="quarter" idx="14"/>
          </p:nvPr>
        </p:nvSpPr>
        <p:spPr>
          <a:xfrm>
            <a:off x="673101" y="1623484"/>
            <a:ext cx="10847919" cy="4614333"/>
          </a:xfrm>
          <a:prstGeom prst="rect">
            <a:avLst/>
          </a:prstGeom>
          <a:solidFill>
            <a:schemeClr val="bg1">
              <a:lumMod val="85000"/>
            </a:schemeClr>
          </a:solidFill>
        </p:spPr>
        <p:txBody>
          <a:bodyPr lIns="0" tIns="0" rIns="0" bIns="0"/>
          <a:lstStyle>
            <a:lvl1pPr marL="0" indent="0">
              <a:buNone/>
              <a:defRPr sz="1867"/>
            </a:lvl1pPr>
          </a:lstStyle>
          <a:p>
            <a:r>
              <a:rPr lang="en-US"/>
              <a:t>Click icon to add picture</a:t>
            </a:r>
          </a:p>
        </p:txBody>
      </p:sp>
      <p:sp>
        <p:nvSpPr>
          <p:cNvPr id="5" name="Title 4">
            <a:extLst>
              <a:ext uri="{FF2B5EF4-FFF2-40B4-BE49-F238E27FC236}">
                <a16:creationId xmlns:a16="http://schemas.microsoft.com/office/drawing/2014/main" id="{CE0F8291-C16C-4418-9B6D-28D21CA7A5A0}"/>
              </a:ext>
            </a:extLst>
          </p:cNvPr>
          <p:cNvSpPr>
            <a:spLocks noGrp="1"/>
          </p:cNvSpPr>
          <p:nvPr>
            <p:ph type="title"/>
          </p:nvPr>
        </p:nvSpPr>
        <p:spPr/>
        <p:txBody>
          <a:bodyPr/>
          <a:lstStyle/>
          <a:p>
            <a:r>
              <a:rPr lang="en-US"/>
              <a:t>Click to edit Master title style</a:t>
            </a:r>
            <a:endParaRPr lang="en-IN"/>
          </a:p>
        </p:txBody>
      </p:sp>
      <p:sp>
        <p:nvSpPr>
          <p:cNvPr id="7" name="Date Placeholder 6">
            <a:extLst>
              <a:ext uri="{FF2B5EF4-FFF2-40B4-BE49-F238E27FC236}">
                <a16:creationId xmlns:a16="http://schemas.microsoft.com/office/drawing/2014/main" id="{F8BB389B-3B07-4E50-B6D9-4F152C767077}"/>
              </a:ext>
            </a:extLst>
          </p:cNvPr>
          <p:cNvSpPr>
            <a:spLocks noGrp="1"/>
          </p:cNvSpPr>
          <p:nvPr>
            <p:ph type="dt" sz="half" idx="15"/>
          </p:nvPr>
        </p:nvSpPr>
        <p:spPr/>
        <p:txBody>
          <a:bodyPr/>
          <a:lstStyle/>
          <a:p>
            <a:endParaRPr lang="en-IN"/>
          </a:p>
        </p:txBody>
      </p:sp>
      <p:sp>
        <p:nvSpPr>
          <p:cNvPr id="8" name="Footer Placeholder 7">
            <a:extLst>
              <a:ext uri="{FF2B5EF4-FFF2-40B4-BE49-F238E27FC236}">
                <a16:creationId xmlns:a16="http://schemas.microsoft.com/office/drawing/2014/main" id="{086D7D42-1612-4F34-9E0C-4BB0F061DDF3}"/>
              </a:ext>
            </a:extLst>
          </p:cNvPr>
          <p:cNvSpPr>
            <a:spLocks noGrp="1"/>
          </p:cNvSpPr>
          <p:nvPr>
            <p:ph type="ftr" sz="quarter" idx="16"/>
          </p:nvPr>
        </p:nvSpPr>
        <p:spPr/>
        <p:txBody>
          <a:bodyPr/>
          <a:lstStyle/>
          <a:p>
            <a:endParaRPr lang="en-IN"/>
          </a:p>
        </p:txBody>
      </p:sp>
      <p:sp>
        <p:nvSpPr>
          <p:cNvPr id="9" name="Slide Number Placeholder 8">
            <a:extLst>
              <a:ext uri="{FF2B5EF4-FFF2-40B4-BE49-F238E27FC236}">
                <a16:creationId xmlns:a16="http://schemas.microsoft.com/office/drawing/2014/main" id="{8F40F500-5589-4B84-923C-8EFC4E3CAEDD}"/>
              </a:ext>
            </a:extLst>
          </p:cNvPr>
          <p:cNvSpPr>
            <a:spLocks noGrp="1"/>
          </p:cNvSpPr>
          <p:nvPr>
            <p:ph type="sldNum" sz="quarter" idx="17"/>
          </p:nvPr>
        </p:nvSpPr>
        <p:spPr/>
        <p:txBody>
          <a:bodyPr/>
          <a:lstStyle/>
          <a:p>
            <a:fld id="{A5163908-529D-4A49-892F-D37C4044DFD8}" type="slidenum">
              <a:rPr lang="en-IN" smtClean="0"/>
              <a:pPr/>
              <a:t>‹#›</a:t>
            </a:fld>
            <a:endParaRPr lang="en-IN"/>
          </a:p>
        </p:txBody>
      </p:sp>
    </p:spTree>
    <p:extLst>
      <p:ext uri="{BB962C8B-B14F-4D97-AF65-F5344CB8AC3E}">
        <p14:creationId xmlns:p14="http://schemas.microsoft.com/office/powerpoint/2010/main" val="25937782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Footer Only">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65797D4-FD91-4A72-BFB7-8798A1097FE6}"/>
              </a:ext>
            </a:extLst>
          </p:cNvPr>
          <p:cNvSpPr>
            <a:spLocks noGrp="1"/>
          </p:cNvSpPr>
          <p:nvPr>
            <p:ph type="dt" sz="half" idx="10"/>
          </p:nvPr>
        </p:nvSpPr>
        <p:spPr/>
        <p:txBody>
          <a:bodyPr/>
          <a:lstStyle/>
          <a:p>
            <a:endParaRPr lang="en-IN"/>
          </a:p>
        </p:txBody>
      </p:sp>
      <p:sp>
        <p:nvSpPr>
          <p:cNvPr id="3" name="Footer Placeholder 2">
            <a:extLst>
              <a:ext uri="{FF2B5EF4-FFF2-40B4-BE49-F238E27FC236}">
                <a16:creationId xmlns:a16="http://schemas.microsoft.com/office/drawing/2014/main" id="{AEB80F89-4AE5-4088-80FE-245322572BB3}"/>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368167E6-9B12-4AF6-B568-50379A338E9F}"/>
              </a:ext>
            </a:extLst>
          </p:cNvPr>
          <p:cNvSpPr>
            <a:spLocks noGrp="1"/>
          </p:cNvSpPr>
          <p:nvPr>
            <p:ph type="sldNum" sz="quarter" idx="12"/>
          </p:nvPr>
        </p:nvSpPr>
        <p:spPr/>
        <p:txBody>
          <a:bodyPr/>
          <a:lstStyle/>
          <a:p>
            <a:fld id="{A5163908-529D-4A49-892F-D37C4044DFD8}" type="slidenum">
              <a:rPr lang="en-IN" smtClean="0"/>
              <a:pPr/>
              <a:t>‹#›</a:t>
            </a:fld>
            <a:endParaRPr lang="en-IN"/>
          </a:p>
        </p:txBody>
      </p:sp>
    </p:spTree>
    <p:extLst>
      <p:ext uri="{BB962C8B-B14F-4D97-AF65-F5344CB8AC3E}">
        <p14:creationId xmlns:p14="http://schemas.microsoft.com/office/powerpoint/2010/main" val="413443936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Full bleed im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389AD4B-CD2A-4E02-85A1-532A4A2512EA}"/>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2" name="Object 1" hidden="1">
                        <a:extLst>
                          <a:ext uri="{FF2B5EF4-FFF2-40B4-BE49-F238E27FC236}">
                            <a16:creationId xmlns:a16="http://schemas.microsoft.com/office/drawing/2014/main" id="{3389AD4B-CD2A-4E02-85A1-532A4A2512EA}"/>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4" name="Picture Placeholder 3">
            <a:extLst>
              <a:ext uri="{FF2B5EF4-FFF2-40B4-BE49-F238E27FC236}">
                <a16:creationId xmlns:a16="http://schemas.microsoft.com/office/drawing/2014/main" id="{E97ACB5B-4858-4068-9665-FC3C21C10656}"/>
              </a:ext>
            </a:extLst>
          </p:cNvPr>
          <p:cNvSpPr>
            <a:spLocks noGrp="1"/>
          </p:cNvSpPr>
          <p:nvPr>
            <p:ph type="pic" sz="quarter" idx="22" hasCustomPrompt="1"/>
          </p:nvPr>
        </p:nvSpPr>
        <p:spPr>
          <a:xfrm>
            <a:off x="0" y="0"/>
            <a:ext cx="12192000" cy="6858000"/>
          </a:xfrm>
          <a:solidFill>
            <a:schemeClr val="bg1">
              <a:lumMod val="85000"/>
            </a:schemeClr>
          </a:solidFill>
        </p:spPr>
        <p:txBody>
          <a:bodyPr/>
          <a:lstStyle>
            <a:lvl1pPr marL="0" indent="0">
              <a:buNone/>
              <a:defRPr/>
            </a:lvl1pPr>
          </a:lstStyle>
          <a:p>
            <a:r>
              <a:rPr lang="en-US"/>
              <a:t>Click icon to insert photo (16:9)</a:t>
            </a:r>
          </a:p>
        </p:txBody>
      </p:sp>
      <p:sp>
        <p:nvSpPr>
          <p:cNvPr id="5" name="Text Placeholder 9">
            <a:extLst>
              <a:ext uri="{FF2B5EF4-FFF2-40B4-BE49-F238E27FC236}">
                <a16:creationId xmlns:a16="http://schemas.microsoft.com/office/drawing/2014/main" id="{1F548E2F-0354-46E1-A24B-261AE848986D}"/>
              </a:ext>
            </a:extLst>
          </p:cNvPr>
          <p:cNvSpPr>
            <a:spLocks noGrp="1"/>
          </p:cNvSpPr>
          <p:nvPr>
            <p:ph type="body" sz="quarter" idx="23" hasCustomPrompt="1"/>
          </p:nvPr>
        </p:nvSpPr>
        <p:spPr>
          <a:xfrm>
            <a:off x="11041019" y="288001"/>
            <a:ext cx="480000" cy="609729"/>
          </a:xfrm>
          <a:blipFill dpi="0" rotWithShape="1">
            <a:blip r:embed="rId5" cstate="email">
              <a:alphaModFix amt="90000"/>
              <a:extLst>
                <a:ext uri="{28A0092B-C50C-407E-A947-70E740481C1C}">
                  <a14:useLocalDpi xmlns:a14="http://schemas.microsoft.com/office/drawing/2010/main"/>
                </a:ext>
              </a:extLst>
            </a:blip>
            <a:srcRect/>
            <a:stretch>
              <a:fillRect/>
            </a:stretch>
          </a:blipFill>
        </p:spPr>
        <p:txBody>
          <a:bodyPr/>
          <a:lstStyle>
            <a:lvl1pPr marL="0" indent="0">
              <a:buNone/>
              <a:defRPr/>
            </a:lvl1pPr>
          </a:lstStyle>
          <a:p>
            <a:pPr lvl="0"/>
            <a:r>
              <a:rPr lang="en-US"/>
              <a:t> </a:t>
            </a:r>
          </a:p>
        </p:txBody>
      </p:sp>
    </p:spTree>
    <p:extLst>
      <p:ext uri="{BB962C8B-B14F-4D97-AF65-F5344CB8AC3E}">
        <p14:creationId xmlns:p14="http://schemas.microsoft.com/office/powerpoint/2010/main" val="199290068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Full bleed video">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389AD4B-CD2A-4E02-85A1-532A4A2512EA}"/>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2" name="Object 1" hidden="1">
                        <a:extLst>
                          <a:ext uri="{FF2B5EF4-FFF2-40B4-BE49-F238E27FC236}">
                            <a16:creationId xmlns:a16="http://schemas.microsoft.com/office/drawing/2014/main" id="{3389AD4B-CD2A-4E02-85A1-532A4A2512EA}"/>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4" name="Media Placeholder 3">
            <a:extLst>
              <a:ext uri="{FF2B5EF4-FFF2-40B4-BE49-F238E27FC236}">
                <a16:creationId xmlns:a16="http://schemas.microsoft.com/office/drawing/2014/main" id="{462C7498-3AB5-4406-913C-71CCEC8866D0}"/>
              </a:ext>
            </a:extLst>
          </p:cNvPr>
          <p:cNvSpPr>
            <a:spLocks noGrp="1"/>
          </p:cNvSpPr>
          <p:nvPr>
            <p:ph type="media" sz="quarter" idx="22" hasCustomPrompt="1"/>
          </p:nvPr>
        </p:nvSpPr>
        <p:spPr>
          <a:xfrm>
            <a:off x="0" y="0"/>
            <a:ext cx="12192000" cy="6858000"/>
          </a:xfrm>
          <a:solidFill>
            <a:schemeClr val="bg1">
              <a:lumMod val="85000"/>
            </a:schemeClr>
          </a:solidFill>
        </p:spPr>
        <p:txBody>
          <a:bodyPr/>
          <a:lstStyle>
            <a:lvl1pPr marL="0" indent="0">
              <a:buNone/>
              <a:defRPr/>
            </a:lvl1pPr>
          </a:lstStyle>
          <a:p>
            <a:r>
              <a:rPr lang="en-US"/>
              <a:t>Click icon to insert video (16:9)</a:t>
            </a:r>
          </a:p>
        </p:txBody>
      </p:sp>
    </p:spTree>
    <p:extLst>
      <p:ext uri="{BB962C8B-B14F-4D97-AF65-F5344CB8AC3E}">
        <p14:creationId xmlns:p14="http://schemas.microsoft.com/office/powerpoint/2010/main" val="39000825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ivider white">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1104897" y="2052000"/>
            <a:ext cx="8637751" cy="1620000"/>
          </a:xfrm>
          <a:prstGeom prst="rect">
            <a:avLst/>
          </a:prstGeom>
        </p:spPr>
        <p:txBody>
          <a:bodyPr lIns="0" tIns="0" rIns="0" bIns="0"/>
          <a:lstStyle>
            <a:lvl1pPr marL="0" indent="0" algn="l">
              <a:lnSpc>
                <a:spcPct val="100000"/>
              </a:lnSpc>
              <a:spcBef>
                <a:spcPts val="0"/>
              </a:spcBef>
              <a:buFontTx/>
              <a:buNone/>
              <a:defRPr sz="4800">
                <a:solidFill>
                  <a:schemeClr val="tx1"/>
                </a:solidFill>
                <a:latin typeface="+mj-lt"/>
              </a:defRPr>
            </a:lvl1pPr>
            <a:lvl2pPr>
              <a:defRPr sz="6400"/>
            </a:lvl2pPr>
            <a:lvl3pPr>
              <a:defRPr sz="6400"/>
            </a:lvl3pPr>
            <a:lvl4pPr>
              <a:defRPr sz="6400"/>
            </a:lvl4pPr>
            <a:lvl5pPr>
              <a:defRPr sz="6400"/>
            </a:lvl5pPr>
          </a:lstStyle>
          <a:p>
            <a:pPr lvl="0"/>
            <a:r>
              <a:rPr lang="en-US" noProof="0"/>
              <a:t>Click to add title</a:t>
            </a:r>
          </a:p>
        </p:txBody>
      </p:sp>
    </p:spTree>
    <p:extLst>
      <p:ext uri="{BB962C8B-B14F-4D97-AF65-F5344CB8AC3E}">
        <p14:creationId xmlns:p14="http://schemas.microsoft.com/office/powerpoint/2010/main" val="104343208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Full bleed divider dark blue">
    <p:bg>
      <p:bgPr>
        <a:gradFill>
          <a:gsLst>
            <a:gs pos="0">
              <a:srgbClr val="003478"/>
            </a:gs>
            <a:gs pos="100000">
              <a:srgbClr val="0089C4"/>
            </a:gs>
          </a:gsLst>
          <a:lin ang="2100000" scaled="1"/>
        </a:gra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1104897" y="2052000"/>
            <a:ext cx="8637751" cy="1620000"/>
          </a:xfrm>
          <a:prstGeom prst="rect">
            <a:avLst/>
          </a:prstGeom>
        </p:spPr>
        <p:txBody>
          <a:bodyPr lIns="0" tIns="0" rIns="0" bIns="0"/>
          <a:lstStyle>
            <a:lvl1pPr marL="0" indent="0" algn="l">
              <a:lnSpc>
                <a:spcPct val="100000"/>
              </a:lnSpc>
              <a:spcBef>
                <a:spcPts val="0"/>
              </a:spcBef>
              <a:buClr>
                <a:schemeClr val="bg1"/>
              </a:buClr>
              <a:buFont typeface="Arial" panose="020B0604020202020204" pitchFamily="34" charset="0"/>
              <a:buNone/>
              <a:defRPr sz="4800">
                <a:solidFill>
                  <a:schemeClr val="bg1"/>
                </a:solidFill>
                <a:latin typeface="+mj-lt"/>
              </a:defRPr>
            </a:lvl1pPr>
            <a:lvl2pPr>
              <a:defRPr sz="6400"/>
            </a:lvl2pPr>
            <a:lvl3pPr>
              <a:defRPr sz="6400"/>
            </a:lvl3pPr>
            <a:lvl4pPr>
              <a:defRPr sz="6400"/>
            </a:lvl4pPr>
            <a:lvl5pPr>
              <a:defRPr sz="6400"/>
            </a:lvl5pPr>
          </a:lstStyle>
          <a:p>
            <a:pPr lvl="0"/>
            <a:r>
              <a:rPr lang="en-US" noProof="0"/>
              <a:t>Click to add title</a:t>
            </a:r>
          </a:p>
        </p:txBody>
      </p:sp>
      <p:pic>
        <p:nvPicPr>
          <p:cNvPr id="6" name="Picture 5">
            <a:extLst>
              <a:ext uri="{FF2B5EF4-FFF2-40B4-BE49-F238E27FC236}">
                <a16:creationId xmlns:a16="http://schemas.microsoft.com/office/drawing/2014/main" id="{A380518A-9ACF-8844-AFD1-AB184AC65BDC}"/>
              </a:ext>
            </a:extLst>
          </p:cNvPr>
          <p:cNvPicPr>
            <a:picLocks noChangeAspect="1"/>
          </p:cNvPicPr>
          <p:nvPr/>
        </p:nvPicPr>
        <p:blipFill>
          <a:blip r:embed="rId2" cstate="email">
            <a:alphaModFix/>
            <a:extLst>
              <a:ext uri="{28A0092B-C50C-407E-A947-70E740481C1C}">
                <a14:useLocalDpi xmlns:a14="http://schemas.microsoft.com/office/drawing/2010/main"/>
              </a:ext>
            </a:extLst>
          </a:blip>
          <a:stretch>
            <a:fillRect/>
          </a:stretch>
        </p:blipFill>
        <p:spPr>
          <a:xfrm>
            <a:off x="11041017" y="288001"/>
            <a:ext cx="480000" cy="613041"/>
          </a:xfrm>
          <a:prstGeom prst="rect">
            <a:avLst/>
          </a:prstGeom>
          <a:noFill/>
        </p:spPr>
      </p:pic>
    </p:spTree>
    <p:extLst>
      <p:ext uri="{BB962C8B-B14F-4D97-AF65-F5344CB8AC3E}">
        <p14:creationId xmlns:p14="http://schemas.microsoft.com/office/powerpoint/2010/main" val="352319655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Full bleed photo overlay lef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1F58990-F6FE-47C5-BC21-2A45263505CD}"/>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2" name="Object 1" hidden="1">
                        <a:extLst>
                          <a:ext uri="{FF2B5EF4-FFF2-40B4-BE49-F238E27FC236}">
                            <a16:creationId xmlns:a16="http://schemas.microsoft.com/office/drawing/2014/main" id="{B1F58990-F6FE-47C5-BC21-2A45263505CD}"/>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4" name="Picture Placeholder 3"/>
          <p:cNvSpPr>
            <a:spLocks noGrp="1"/>
          </p:cNvSpPr>
          <p:nvPr>
            <p:ph type="pic" sz="quarter" idx="14"/>
          </p:nvPr>
        </p:nvSpPr>
        <p:spPr>
          <a:xfrm>
            <a:off x="0" y="0"/>
            <a:ext cx="12192000" cy="6858000"/>
          </a:xfrm>
          <a:prstGeom prst="rect">
            <a:avLst/>
          </a:prstGeom>
          <a:solidFill>
            <a:schemeClr val="bg1">
              <a:lumMod val="85000"/>
            </a:schemeClr>
          </a:solidFill>
        </p:spPr>
        <p:txBody>
          <a:bodyPr/>
          <a:lstStyle>
            <a:lvl1pPr marL="0" indent="0">
              <a:buNone/>
              <a:defRPr sz="1333"/>
            </a:lvl1pPr>
          </a:lstStyle>
          <a:p>
            <a:r>
              <a:rPr lang="en-US" noProof="0"/>
              <a:t>Click icon to add picture</a:t>
            </a:r>
          </a:p>
        </p:txBody>
      </p:sp>
      <p:sp>
        <p:nvSpPr>
          <p:cNvPr id="13" name="Text Placeholder 12"/>
          <p:cNvSpPr>
            <a:spLocks noGrp="1"/>
          </p:cNvSpPr>
          <p:nvPr>
            <p:ph type="body" sz="quarter" idx="15" hasCustomPrompt="1"/>
          </p:nvPr>
        </p:nvSpPr>
        <p:spPr bwMode="gray">
          <a:xfrm>
            <a:off x="0" y="0"/>
            <a:ext cx="4656667" cy="6858000"/>
          </a:xfrm>
          <a:prstGeom prst="rect">
            <a:avLst/>
          </a:prstGeom>
          <a:solidFill>
            <a:srgbClr val="004D79">
              <a:alpha val="89804"/>
            </a:srgbClr>
          </a:solidFill>
        </p:spPr>
        <p:txBody>
          <a:bodyPr vert="horz"/>
          <a:lstStyle>
            <a:lvl1pPr marL="0" indent="0">
              <a:buFontTx/>
              <a:buNone/>
              <a:defRPr>
                <a:ln>
                  <a:noFill/>
                </a:ln>
              </a:defRPr>
            </a:lvl1pPr>
          </a:lstStyle>
          <a:p>
            <a:pPr lvl="0"/>
            <a:r>
              <a:rPr lang="en-US"/>
              <a:t> </a:t>
            </a:r>
          </a:p>
        </p:txBody>
      </p:sp>
      <p:sp>
        <p:nvSpPr>
          <p:cNvPr id="3" name="Text Placeholder 2"/>
          <p:cNvSpPr>
            <a:spLocks noGrp="1"/>
          </p:cNvSpPr>
          <p:nvPr>
            <p:ph type="body" sz="quarter" idx="10" hasCustomPrompt="1"/>
          </p:nvPr>
        </p:nvSpPr>
        <p:spPr bwMode="white">
          <a:xfrm>
            <a:off x="423334" y="1625597"/>
            <a:ext cx="3801533" cy="4250616"/>
          </a:xfrm>
          <a:prstGeom prst="rect">
            <a:avLst/>
          </a:prstGeom>
        </p:spPr>
        <p:txBody>
          <a:bodyPr lIns="0" tIns="0" rIns="0" bIns="0"/>
          <a:lstStyle>
            <a:lvl1pPr marL="0" indent="0" algn="l">
              <a:lnSpc>
                <a:spcPct val="100000"/>
              </a:lnSpc>
              <a:spcBef>
                <a:spcPts val="0"/>
              </a:spcBef>
              <a:buClr>
                <a:schemeClr val="bg1"/>
              </a:buClr>
              <a:buFont typeface="Arial" panose="020B0604020202020204" pitchFamily="34" charset="0"/>
              <a:buNone/>
              <a:defRPr sz="4800" baseline="0">
                <a:solidFill>
                  <a:schemeClr val="bg1"/>
                </a:solidFill>
                <a:latin typeface="+mj-lt"/>
              </a:defRPr>
            </a:lvl1pPr>
          </a:lstStyle>
          <a:p>
            <a:pPr lvl="0"/>
            <a:r>
              <a:rPr lang="en-US" noProof="0"/>
              <a:t>Click to add text</a:t>
            </a:r>
          </a:p>
          <a:p>
            <a:pPr lvl="0"/>
            <a:endParaRPr lang="en-US" noProof="0"/>
          </a:p>
          <a:p>
            <a:pPr lvl="0"/>
            <a:endParaRPr lang="en-US" noProof="0"/>
          </a:p>
          <a:p>
            <a:pPr lvl="0"/>
            <a:endParaRPr lang="en-US" noProof="0"/>
          </a:p>
        </p:txBody>
      </p:sp>
      <p:sp>
        <p:nvSpPr>
          <p:cNvPr id="7" name="Text Placeholder 9">
            <a:extLst>
              <a:ext uri="{FF2B5EF4-FFF2-40B4-BE49-F238E27FC236}">
                <a16:creationId xmlns:a16="http://schemas.microsoft.com/office/drawing/2014/main" id="{AB25F741-4DE1-41E1-8A68-93B346DCAEF5}"/>
              </a:ext>
            </a:extLst>
          </p:cNvPr>
          <p:cNvSpPr>
            <a:spLocks noGrp="1"/>
          </p:cNvSpPr>
          <p:nvPr>
            <p:ph type="body" sz="quarter" idx="22" hasCustomPrompt="1"/>
          </p:nvPr>
        </p:nvSpPr>
        <p:spPr>
          <a:xfrm>
            <a:off x="11041019" y="288001"/>
            <a:ext cx="480000" cy="609729"/>
          </a:xfrm>
          <a:blipFill dpi="0" rotWithShape="1">
            <a:blip r:embed="rId5" cstate="email">
              <a:alphaModFix amt="90000"/>
              <a:extLst>
                <a:ext uri="{28A0092B-C50C-407E-A947-70E740481C1C}">
                  <a14:useLocalDpi xmlns:a14="http://schemas.microsoft.com/office/drawing/2010/main"/>
                </a:ext>
              </a:extLst>
            </a:blip>
            <a:srcRect/>
            <a:stretch>
              <a:fillRect/>
            </a:stretch>
          </a:blipFill>
        </p:spPr>
        <p:txBody>
          <a:bodyPr/>
          <a:lstStyle>
            <a:lvl1pPr marL="0" indent="0">
              <a:buNone/>
              <a:defRPr/>
            </a:lvl1pPr>
          </a:lstStyle>
          <a:p>
            <a:pPr lvl="0"/>
            <a:r>
              <a:rPr lang="en-US"/>
              <a:t> </a:t>
            </a:r>
          </a:p>
        </p:txBody>
      </p:sp>
    </p:spTree>
    <p:extLst>
      <p:ext uri="{BB962C8B-B14F-4D97-AF65-F5344CB8AC3E}">
        <p14:creationId xmlns:p14="http://schemas.microsoft.com/office/powerpoint/2010/main" val="159646193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Full bleed photo overlay righ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2622BA5-BC34-4A58-9264-E2D05A0F24AA}"/>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2" name="Object 1" hidden="1">
                        <a:extLst>
                          <a:ext uri="{FF2B5EF4-FFF2-40B4-BE49-F238E27FC236}">
                            <a16:creationId xmlns:a16="http://schemas.microsoft.com/office/drawing/2014/main" id="{92622BA5-BC34-4A58-9264-E2D05A0F24AA}"/>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4" name="Picture Placeholder 3"/>
          <p:cNvSpPr>
            <a:spLocks noGrp="1"/>
          </p:cNvSpPr>
          <p:nvPr>
            <p:ph type="pic" sz="quarter" idx="14"/>
          </p:nvPr>
        </p:nvSpPr>
        <p:spPr>
          <a:xfrm>
            <a:off x="0" y="0"/>
            <a:ext cx="12192000" cy="6858000"/>
          </a:xfrm>
          <a:prstGeom prst="rect">
            <a:avLst/>
          </a:prstGeom>
          <a:solidFill>
            <a:schemeClr val="bg1">
              <a:lumMod val="85000"/>
            </a:schemeClr>
          </a:solidFill>
        </p:spPr>
        <p:txBody>
          <a:bodyPr/>
          <a:lstStyle>
            <a:lvl1pPr marL="0" indent="0">
              <a:buNone/>
              <a:defRPr sz="1333"/>
            </a:lvl1pPr>
          </a:lstStyle>
          <a:p>
            <a:r>
              <a:rPr lang="en-US" noProof="0"/>
              <a:t>Click icon to add picture</a:t>
            </a:r>
          </a:p>
        </p:txBody>
      </p:sp>
      <p:sp>
        <p:nvSpPr>
          <p:cNvPr id="10" name="Text Placeholder 12"/>
          <p:cNvSpPr>
            <a:spLocks noGrp="1"/>
          </p:cNvSpPr>
          <p:nvPr>
            <p:ph type="body" sz="quarter" idx="15" hasCustomPrompt="1"/>
          </p:nvPr>
        </p:nvSpPr>
        <p:spPr bwMode="gray">
          <a:xfrm>
            <a:off x="7535335" y="0"/>
            <a:ext cx="4656667" cy="6858000"/>
          </a:xfrm>
          <a:prstGeom prst="rect">
            <a:avLst/>
          </a:prstGeom>
          <a:solidFill>
            <a:schemeClr val="accent1">
              <a:lumMod val="75000"/>
              <a:alpha val="90000"/>
            </a:schemeClr>
          </a:solidFill>
        </p:spPr>
        <p:txBody>
          <a:bodyPr vert="horz"/>
          <a:lstStyle>
            <a:lvl1pPr marL="0" indent="0">
              <a:buFontTx/>
              <a:buNone/>
              <a:defRPr>
                <a:ln>
                  <a:noFill/>
                </a:ln>
              </a:defRPr>
            </a:lvl1pPr>
          </a:lstStyle>
          <a:p>
            <a:pPr lvl="0"/>
            <a:r>
              <a:rPr lang="en-US"/>
              <a:t> </a:t>
            </a:r>
          </a:p>
        </p:txBody>
      </p:sp>
      <p:sp>
        <p:nvSpPr>
          <p:cNvPr id="3" name="Text Placeholder 2"/>
          <p:cNvSpPr>
            <a:spLocks noGrp="1"/>
          </p:cNvSpPr>
          <p:nvPr>
            <p:ph type="body" sz="quarter" idx="10" hasCustomPrompt="1"/>
          </p:nvPr>
        </p:nvSpPr>
        <p:spPr bwMode="white">
          <a:xfrm>
            <a:off x="7952002" y="1625600"/>
            <a:ext cx="3820897" cy="4251325"/>
          </a:xfrm>
          <a:prstGeom prst="rect">
            <a:avLst/>
          </a:prstGeom>
        </p:spPr>
        <p:txBody>
          <a:bodyPr lIns="0" tIns="0" rIns="0" bIns="0"/>
          <a:lstStyle>
            <a:lvl1pPr marL="0" indent="0" algn="l">
              <a:lnSpc>
                <a:spcPct val="100000"/>
              </a:lnSpc>
              <a:spcBef>
                <a:spcPts val="0"/>
              </a:spcBef>
              <a:buClr>
                <a:schemeClr val="bg1"/>
              </a:buClr>
              <a:buFont typeface="Arial" panose="020B0604020202020204" pitchFamily="34" charset="0"/>
              <a:buNone/>
              <a:defRPr sz="4800" baseline="0">
                <a:solidFill>
                  <a:schemeClr val="bg1"/>
                </a:solidFill>
                <a:latin typeface="+mj-lt"/>
              </a:defRPr>
            </a:lvl1pPr>
          </a:lstStyle>
          <a:p>
            <a:pPr lvl="0"/>
            <a:r>
              <a:rPr lang="en-US" noProof="0"/>
              <a:t>Click to add text</a:t>
            </a:r>
          </a:p>
          <a:p>
            <a:pPr lvl="0"/>
            <a:endParaRPr lang="en-US" noProof="0"/>
          </a:p>
        </p:txBody>
      </p:sp>
      <p:sp>
        <p:nvSpPr>
          <p:cNvPr id="8" name="Text Placeholder 9">
            <a:extLst>
              <a:ext uri="{FF2B5EF4-FFF2-40B4-BE49-F238E27FC236}">
                <a16:creationId xmlns:a16="http://schemas.microsoft.com/office/drawing/2014/main" id="{24DD6326-33BA-4174-807D-738A31A70017}"/>
              </a:ext>
            </a:extLst>
          </p:cNvPr>
          <p:cNvSpPr>
            <a:spLocks noGrp="1"/>
          </p:cNvSpPr>
          <p:nvPr>
            <p:ph type="body" sz="quarter" idx="22" hasCustomPrompt="1"/>
          </p:nvPr>
        </p:nvSpPr>
        <p:spPr>
          <a:xfrm>
            <a:off x="11041019" y="288001"/>
            <a:ext cx="480000" cy="609729"/>
          </a:xfrm>
          <a:blipFill>
            <a:blip r:embed="rId5" cstate="email">
              <a:extLst>
                <a:ext uri="{28A0092B-C50C-407E-A947-70E740481C1C}">
                  <a14:useLocalDpi xmlns:a14="http://schemas.microsoft.com/office/drawing/2010/main"/>
                </a:ext>
              </a:extLst>
            </a:blip>
            <a:stretch>
              <a:fillRect/>
            </a:stretch>
          </a:blipFill>
        </p:spPr>
        <p:txBody>
          <a:bodyPr/>
          <a:lstStyle>
            <a:lvl1pPr marL="0" indent="0">
              <a:buNone/>
              <a:defRPr/>
            </a:lvl1pPr>
          </a:lstStyle>
          <a:p>
            <a:pPr lvl="0"/>
            <a:r>
              <a:rPr lang="en-US"/>
              <a:t> </a:t>
            </a:r>
          </a:p>
        </p:txBody>
      </p:sp>
    </p:spTree>
    <p:extLst>
      <p:ext uri="{BB962C8B-B14F-4D97-AF65-F5344CB8AC3E}">
        <p14:creationId xmlns:p14="http://schemas.microsoft.com/office/powerpoint/2010/main" val="9981250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ection Header Light Grey">
    <p:bg>
      <p:bgPr>
        <a:solidFill>
          <a:schemeClr val="accent2"/>
        </a:solid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lvl1pPr>
              <a:defRPr>
                <a:solidFill>
                  <a:schemeClr val="tx2"/>
                </a:solidFill>
              </a:defRPr>
            </a:lvl1pPr>
          </a:lstStyle>
          <a:p>
            <a:endParaRPr lang="en-BE"/>
          </a:p>
        </p:txBody>
      </p:sp>
      <p:sp>
        <p:nvSpPr>
          <p:cNvPr id="6" name="Slide Number Placeholder 5"/>
          <p:cNvSpPr>
            <a:spLocks noGrp="1"/>
          </p:cNvSpPr>
          <p:nvPr>
            <p:ph type="sldNum" sz="quarter" idx="12"/>
          </p:nvPr>
        </p:nvSpPr>
        <p:spPr/>
        <p:txBody>
          <a:bodyPr/>
          <a:lstStyle>
            <a:lvl1pPr>
              <a:defRPr>
                <a:solidFill>
                  <a:schemeClr val="tx2"/>
                </a:solidFill>
              </a:defRPr>
            </a:lvl1pPr>
          </a:lstStyle>
          <a:p>
            <a:fld id="{9F5F79E4-174E-4D15-B5B9-2923F86E0116}" type="slidenum">
              <a:rPr lang="en-BE" smtClean="0"/>
              <a:t>‹#›</a:t>
            </a:fld>
            <a:endParaRPr lang="en-BE"/>
          </a:p>
        </p:txBody>
      </p:sp>
      <p:sp>
        <p:nvSpPr>
          <p:cNvPr id="7" name="Title 6">
            <a:extLst>
              <a:ext uri="{FF2B5EF4-FFF2-40B4-BE49-F238E27FC236}">
                <a16:creationId xmlns:a16="http://schemas.microsoft.com/office/drawing/2014/main" id="{EE9D7C87-D037-4797-9A6A-B999C6F026D8}"/>
              </a:ext>
            </a:extLst>
          </p:cNvPr>
          <p:cNvSpPr>
            <a:spLocks noGrp="1"/>
          </p:cNvSpPr>
          <p:nvPr>
            <p:ph type="title"/>
          </p:nvPr>
        </p:nvSpPr>
        <p:spPr>
          <a:xfrm>
            <a:off x="410879" y="1521185"/>
            <a:ext cx="11368018" cy="3815631"/>
          </a:xfrm>
        </p:spPr>
        <p:txBody>
          <a:bodyPr anchor="ctr"/>
          <a:lstStyle>
            <a:lvl1pPr algn="ctr">
              <a:defRPr sz="6000">
                <a:solidFill>
                  <a:schemeClr val="tx2"/>
                </a:solidFill>
              </a:defRPr>
            </a:lvl1pPr>
          </a:lstStyle>
          <a:p>
            <a:r>
              <a:rPr lang="en-US"/>
              <a:t>Click to edit Master title style</a:t>
            </a:r>
          </a:p>
        </p:txBody>
      </p:sp>
    </p:spTree>
    <p:extLst>
      <p:ext uri="{BB962C8B-B14F-4D97-AF65-F5344CB8AC3E}">
        <p14:creationId xmlns:p14="http://schemas.microsoft.com/office/powerpoint/2010/main" val="2370260693"/>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Full bleed photo overlay bot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7DA24CE-89CA-4008-85D4-D98FA9672B39}"/>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2" name="Object 1" hidden="1">
                        <a:extLst>
                          <a:ext uri="{FF2B5EF4-FFF2-40B4-BE49-F238E27FC236}">
                            <a16:creationId xmlns:a16="http://schemas.microsoft.com/office/drawing/2014/main" id="{C7DA24CE-89CA-4008-85D4-D98FA9672B39}"/>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4" name="Picture Placeholder 3"/>
          <p:cNvSpPr>
            <a:spLocks noGrp="1"/>
          </p:cNvSpPr>
          <p:nvPr>
            <p:ph type="pic" sz="quarter" idx="14"/>
          </p:nvPr>
        </p:nvSpPr>
        <p:spPr>
          <a:xfrm>
            <a:off x="0" y="0"/>
            <a:ext cx="12192000" cy="6858000"/>
          </a:xfrm>
          <a:prstGeom prst="rect">
            <a:avLst/>
          </a:prstGeom>
          <a:solidFill>
            <a:schemeClr val="bg1">
              <a:lumMod val="85000"/>
            </a:schemeClr>
          </a:solidFill>
        </p:spPr>
        <p:txBody>
          <a:bodyPr/>
          <a:lstStyle>
            <a:lvl1pPr marL="0" indent="0">
              <a:buNone/>
              <a:defRPr sz="1333"/>
            </a:lvl1pPr>
          </a:lstStyle>
          <a:p>
            <a:r>
              <a:rPr lang="en-US"/>
              <a:t>Click icon to add picture</a:t>
            </a:r>
          </a:p>
        </p:txBody>
      </p:sp>
      <p:sp>
        <p:nvSpPr>
          <p:cNvPr id="11" name="Text Placeholder 12"/>
          <p:cNvSpPr>
            <a:spLocks noGrp="1"/>
          </p:cNvSpPr>
          <p:nvPr>
            <p:ph type="body" sz="quarter" idx="15" hasCustomPrompt="1"/>
          </p:nvPr>
        </p:nvSpPr>
        <p:spPr bwMode="gray">
          <a:xfrm>
            <a:off x="0" y="5245103"/>
            <a:ext cx="12192000" cy="1612900"/>
          </a:xfrm>
          <a:prstGeom prst="rect">
            <a:avLst/>
          </a:prstGeom>
          <a:solidFill>
            <a:schemeClr val="accent1">
              <a:lumMod val="75000"/>
              <a:alpha val="90000"/>
            </a:schemeClr>
          </a:solidFill>
        </p:spPr>
        <p:txBody>
          <a:bodyPr vert="horz"/>
          <a:lstStyle>
            <a:lvl1pPr marL="0" indent="0">
              <a:buFontTx/>
              <a:buNone/>
              <a:defRPr>
                <a:ln>
                  <a:noFill/>
                </a:ln>
              </a:defRPr>
            </a:lvl1pPr>
          </a:lstStyle>
          <a:p>
            <a:pPr lvl="0"/>
            <a:r>
              <a:rPr lang="en-US"/>
              <a:t> </a:t>
            </a:r>
          </a:p>
        </p:txBody>
      </p:sp>
      <p:sp>
        <p:nvSpPr>
          <p:cNvPr id="3" name="Text Placeholder 2"/>
          <p:cNvSpPr>
            <a:spLocks noGrp="1"/>
          </p:cNvSpPr>
          <p:nvPr>
            <p:ph type="body" sz="quarter" idx="10" hasCustomPrompt="1"/>
          </p:nvPr>
        </p:nvSpPr>
        <p:spPr bwMode="white">
          <a:xfrm>
            <a:off x="673100" y="5624422"/>
            <a:ext cx="10847917" cy="869949"/>
          </a:xfrm>
          <a:prstGeom prst="rect">
            <a:avLst/>
          </a:prstGeom>
        </p:spPr>
        <p:txBody>
          <a:bodyPr lIns="0" tIns="0" rIns="0" bIns="0"/>
          <a:lstStyle>
            <a:lvl1pPr marL="0" indent="0" algn="l">
              <a:lnSpc>
                <a:spcPct val="100000"/>
              </a:lnSpc>
              <a:spcBef>
                <a:spcPts val="0"/>
              </a:spcBef>
              <a:buClr>
                <a:schemeClr val="bg1"/>
              </a:buClr>
              <a:buFont typeface="Arial" panose="020B0604020202020204" pitchFamily="34" charset="0"/>
              <a:buNone/>
              <a:defRPr sz="4800" baseline="0">
                <a:solidFill>
                  <a:schemeClr val="bg1"/>
                </a:solidFill>
                <a:latin typeface="+mj-lt"/>
              </a:defRPr>
            </a:lvl1pPr>
          </a:lstStyle>
          <a:p>
            <a:pPr lvl="0"/>
            <a:r>
              <a:rPr lang="en-US" noProof="0"/>
              <a:t>Click to add text</a:t>
            </a:r>
          </a:p>
          <a:p>
            <a:pPr lvl="0"/>
            <a:endParaRPr lang="en-US" noProof="0"/>
          </a:p>
        </p:txBody>
      </p:sp>
      <p:sp>
        <p:nvSpPr>
          <p:cNvPr id="8" name="Text Placeholder 9">
            <a:extLst>
              <a:ext uri="{FF2B5EF4-FFF2-40B4-BE49-F238E27FC236}">
                <a16:creationId xmlns:a16="http://schemas.microsoft.com/office/drawing/2014/main" id="{9A5C95AE-299F-431B-AB66-08FC9F22E319}"/>
              </a:ext>
            </a:extLst>
          </p:cNvPr>
          <p:cNvSpPr>
            <a:spLocks noGrp="1"/>
          </p:cNvSpPr>
          <p:nvPr>
            <p:ph type="body" sz="quarter" idx="22" hasCustomPrompt="1"/>
          </p:nvPr>
        </p:nvSpPr>
        <p:spPr>
          <a:xfrm>
            <a:off x="11041019" y="288001"/>
            <a:ext cx="480000" cy="609729"/>
          </a:xfrm>
          <a:blipFill dpi="0" rotWithShape="1">
            <a:blip r:embed="rId5" cstate="email">
              <a:alphaModFix amt="90000"/>
              <a:extLst>
                <a:ext uri="{28A0092B-C50C-407E-A947-70E740481C1C}">
                  <a14:useLocalDpi xmlns:a14="http://schemas.microsoft.com/office/drawing/2010/main"/>
                </a:ext>
              </a:extLst>
            </a:blip>
            <a:srcRect/>
            <a:stretch>
              <a:fillRect/>
            </a:stretch>
          </a:blipFill>
        </p:spPr>
        <p:txBody>
          <a:bodyPr/>
          <a:lstStyle>
            <a:lvl1pPr marL="0" indent="0">
              <a:buNone/>
              <a:defRPr/>
            </a:lvl1pPr>
          </a:lstStyle>
          <a:p>
            <a:pPr lvl="0"/>
            <a:r>
              <a:rPr lang="en-US"/>
              <a:t> </a:t>
            </a:r>
          </a:p>
        </p:txBody>
      </p:sp>
    </p:spTree>
    <p:extLst>
      <p:ext uri="{BB962C8B-B14F-4D97-AF65-F5344CB8AC3E}">
        <p14:creationId xmlns:p14="http://schemas.microsoft.com/office/powerpoint/2010/main" val="28910187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Full bleed photo small overlay lef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ABAA68A-08EA-496D-B665-88DDACBC07B3}"/>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2" name="Object 1" hidden="1">
                        <a:extLst>
                          <a:ext uri="{FF2B5EF4-FFF2-40B4-BE49-F238E27FC236}">
                            <a16:creationId xmlns:a16="http://schemas.microsoft.com/office/drawing/2014/main" id="{EABAA68A-08EA-496D-B665-88DDACBC07B3}"/>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4" name="Picture Placeholder 3"/>
          <p:cNvSpPr>
            <a:spLocks noGrp="1"/>
          </p:cNvSpPr>
          <p:nvPr>
            <p:ph type="pic" sz="quarter" idx="14"/>
          </p:nvPr>
        </p:nvSpPr>
        <p:spPr>
          <a:xfrm>
            <a:off x="0" y="0"/>
            <a:ext cx="12192000" cy="6858000"/>
          </a:xfrm>
          <a:prstGeom prst="rect">
            <a:avLst/>
          </a:prstGeom>
          <a:solidFill>
            <a:schemeClr val="bg1">
              <a:lumMod val="85000"/>
            </a:schemeClr>
          </a:solidFill>
        </p:spPr>
        <p:txBody>
          <a:bodyPr/>
          <a:lstStyle>
            <a:lvl1pPr marL="0" indent="0">
              <a:buNone/>
              <a:defRPr sz="1333"/>
            </a:lvl1pPr>
          </a:lstStyle>
          <a:p>
            <a:r>
              <a:rPr lang="en-US" noProof="0"/>
              <a:t>Click icon to add picture</a:t>
            </a:r>
          </a:p>
        </p:txBody>
      </p:sp>
      <p:sp>
        <p:nvSpPr>
          <p:cNvPr id="3" name="Text Placeholder 2"/>
          <p:cNvSpPr>
            <a:spLocks noGrp="1"/>
          </p:cNvSpPr>
          <p:nvPr>
            <p:ph type="body" sz="quarter" idx="10" hasCustomPrompt="1"/>
          </p:nvPr>
        </p:nvSpPr>
        <p:spPr bwMode="gray">
          <a:xfrm>
            <a:off x="673100" y="3239400"/>
            <a:ext cx="4680000" cy="2628000"/>
          </a:xfrm>
          <a:prstGeom prst="rect">
            <a:avLst/>
          </a:prstGeom>
          <a:solidFill>
            <a:srgbClr val="004D79">
              <a:alpha val="90000"/>
            </a:srgbClr>
          </a:solidFill>
        </p:spPr>
        <p:txBody>
          <a:bodyPr lIns="134955" tIns="134955" rIns="134955" bIns="134955"/>
          <a:lstStyle>
            <a:lvl1pPr marL="0" indent="0" algn="l">
              <a:lnSpc>
                <a:spcPct val="100000"/>
              </a:lnSpc>
              <a:spcBef>
                <a:spcPts val="0"/>
              </a:spcBef>
              <a:buClr>
                <a:schemeClr val="bg1"/>
              </a:buClr>
              <a:buFont typeface="Arial" panose="020B0604020202020204" pitchFamily="34" charset="0"/>
              <a:buNone/>
              <a:defRPr sz="4800" baseline="0">
                <a:solidFill>
                  <a:schemeClr val="bg1"/>
                </a:solidFill>
                <a:latin typeface="+mj-lt"/>
              </a:defRPr>
            </a:lvl1pPr>
          </a:lstStyle>
          <a:p>
            <a:pPr lvl="0"/>
            <a:r>
              <a:rPr lang="en-US" noProof="0"/>
              <a:t>Click to add text</a:t>
            </a:r>
          </a:p>
        </p:txBody>
      </p:sp>
      <p:sp>
        <p:nvSpPr>
          <p:cNvPr id="7" name="Text Placeholder 9">
            <a:extLst>
              <a:ext uri="{FF2B5EF4-FFF2-40B4-BE49-F238E27FC236}">
                <a16:creationId xmlns:a16="http://schemas.microsoft.com/office/drawing/2014/main" id="{EEFB6CD9-7626-429B-A638-CA2C3907F2F5}"/>
              </a:ext>
            </a:extLst>
          </p:cNvPr>
          <p:cNvSpPr>
            <a:spLocks noGrp="1"/>
          </p:cNvSpPr>
          <p:nvPr>
            <p:ph type="body" sz="quarter" idx="22" hasCustomPrompt="1"/>
          </p:nvPr>
        </p:nvSpPr>
        <p:spPr>
          <a:xfrm>
            <a:off x="11041019" y="288001"/>
            <a:ext cx="480000" cy="609729"/>
          </a:xfrm>
          <a:blipFill dpi="0" rotWithShape="1">
            <a:blip r:embed="rId5" cstate="email">
              <a:alphaModFix amt="90000"/>
              <a:extLst>
                <a:ext uri="{28A0092B-C50C-407E-A947-70E740481C1C}">
                  <a14:useLocalDpi xmlns:a14="http://schemas.microsoft.com/office/drawing/2010/main"/>
                </a:ext>
              </a:extLst>
            </a:blip>
            <a:srcRect/>
            <a:stretch>
              <a:fillRect/>
            </a:stretch>
          </a:blipFill>
        </p:spPr>
        <p:txBody>
          <a:bodyPr/>
          <a:lstStyle>
            <a:lvl1pPr marL="0" indent="0">
              <a:buNone/>
              <a:defRPr/>
            </a:lvl1pPr>
          </a:lstStyle>
          <a:p>
            <a:pPr lvl="0"/>
            <a:r>
              <a:rPr lang="en-US"/>
              <a:t> </a:t>
            </a:r>
          </a:p>
        </p:txBody>
      </p:sp>
    </p:spTree>
    <p:extLst>
      <p:ext uri="{BB962C8B-B14F-4D97-AF65-F5344CB8AC3E}">
        <p14:creationId xmlns:p14="http://schemas.microsoft.com/office/powerpoint/2010/main" val="157775034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Full bleed photo small overlay righ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6486757-F9A3-4F23-8717-59ECFD7A8981}"/>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479" imgH="478" progId="TCLayout.ActiveDocument.1">
                  <p:embed/>
                </p:oleObj>
              </mc:Choice>
              <mc:Fallback>
                <p:oleObj name="think-cell Slide" r:id="rId3" imgW="479" imgH="478" progId="TCLayout.ActiveDocument.1">
                  <p:embed/>
                  <p:pic>
                    <p:nvPicPr>
                      <p:cNvPr id="2" name="Object 1" hidden="1">
                        <a:extLst>
                          <a:ext uri="{FF2B5EF4-FFF2-40B4-BE49-F238E27FC236}">
                            <a16:creationId xmlns:a16="http://schemas.microsoft.com/office/drawing/2014/main" id="{16486757-F9A3-4F23-8717-59ECFD7A8981}"/>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4" name="Picture Placeholder 3"/>
          <p:cNvSpPr>
            <a:spLocks noGrp="1"/>
          </p:cNvSpPr>
          <p:nvPr>
            <p:ph type="pic" sz="quarter" idx="14"/>
          </p:nvPr>
        </p:nvSpPr>
        <p:spPr>
          <a:xfrm>
            <a:off x="0" y="0"/>
            <a:ext cx="12192000" cy="6858000"/>
          </a:xfrm>
          <a:prstGeom prst="rect">
            <a:avLst/>
          </a:prstGeom>
          <a:solidFill>
            <a:schemeClr val="bg1">
              <a:lumMod val="85000"/>
            </a:schemeClr>
          </a:solidFill>
        </p:spPr>
        <p:txBody>
          <a:bodyPr/>
          <a:lstStyle>
            <a:lvl1pPr marL="0" indent="0">
              <a:buNone/>
              <a:defRPr sz="1333"/>
            </a:lvl1pPr>
          </a:lstStyle>
          <a:p>
            <a:r>
              <a:rPr lang="en-US" noProof="0"/>
              <a:t>Click icon to add picture</a:t>
            </a:r>
          </a:p>
        </p:txBody>
      </p:sp>
      <p:sp>
        <p:nvSpPr>
          <p:cNvPr id="5" name="Text Placeholder 2"/>
          <p:cNvSpPr>
            <a:spLocks noGrp="1"/>
          </p:cNvSpPr>
          <p:nvPr>
            <p:ph type="body" sz="quarter" idx="16" hasCustomPrompt="1"/>
          </p:nvPr>
        </p:nvSpPr>
        <p:spPr bwMode="gray">
          <a:xfrm>
            <a:off x="6841017" y="998220"/>
            <a:ext cx="4680000" cy="2628000"/>
          </a:xfrm>
          <a:prstGeom prst="rect">
            <a:avLst/>
          </a:prstGeom>
          <a:solidFill>
            <a:srgbClr val="004D79">
              <a:alpha val="90000"/>
            </a:srgbClr>
          </a:solidFill>
        </p:spPr>
        <p:txBody>
          <a:bodyPr lIns="134955" tIns="134955" rIns="134955" bIns="134955"/>
          <a:lstStyle>
            <a:lvl1pPr marL="0" indent="0" algn="l">
              <a:lnSpc>
                <a:spcPct val="100000"/>
              </a:lnSpc>
              <a:spcBef>
                <a:spcPts val="0"/>
              </a:spcBef>
              <a:buClr>
                <a:schemeClr val="bg1"/>
              </a:buClr>
              <a:buFont typeface="Arial" panose="020B0604020202020204" pitchFamily="34" charset="0"/>
              <a:buNone/>
              <a:defRPr sz="4800" baseline="0">
                <a:solidFill>
                  <a:schemeClr val="bg1"/>
                </a:solidFill>
                <a:latin typeface="+mj-lt"/>
              </a:defRPr>
            </a:lvl1pPr>
          </a:lstStyle>
          <a:p>
            <a:pPr lvl="0"/>
            <a:r>
              <a:rPr lang="en-US" noProof="0"/>
              <a:t>Click to add text</a:t>
            </a:r>
          </a:p>
        </p:txBody>
      </p:sp>
      <p:sp>
        <p:nvSpPr>
          <p:cNvPr id="6" name="Text Placeholder 9">
            <a:extLst>
              <a:ext uri="{FF2B5EF4-FFF2-40B4-BE49-F238E27FC236}">
                <a16:creationId xmlns:a16="http://schemas.microsoft.com/office/drawing/2014/main" id="{B6A7725E-E42D-449C-A552-89E34F170F7C}"/>
              </a:ext>
            </a:extLst>
          </p:cNvPr>
          <p:cNvSpPr>
            <a:spLocks noGrp="1"/>
          </p:cNvSpPr>
          <p:nvPr>
            <p:ph type="body" sz="quarter" idx="22" hasCustomPrompt="1"/>
          </p:nvPr>
        </p:nvSpPr>
        <p:spPr>
          <a:xfrm>
            <a:off x="11041019" y="288001"/>
            <a:ext cx="480000" cy="609729"/>
          </a:xfrm>
          <a:blipFill dpi="0" rotWithShape="1">
            <a:blip r:embed="rId5" cstate="email">
              <a:alphaModFix amt="90000"/>
              <a:extLst>
                <a:ext uri="{28A0092B-C50C-407E-A947-70E740481C1C}">
                  <a14:useLocalDpi xmlns:a14="http://schemas.microsoft.com/office/drawing/2010/main"/>
                </a:ext>
              </a:extLst>
            </a:blip>
            <a:srcRect/>
            <a:stretch>
              <a:fillRect/>
            </a:stretch>
          </a:blipFill>
        </p:spPr>
        <p:txBody>
          <a:bodyPr/>
          <a:lstStyle>
            <a:lvl1pPr marL="0" indent="0">
              <a:buNone/>
              <a:defRPr/>
            </a:lvl1pPr>
          </a:lstStyle>
          <a:p>
            <a:pPr lvl="0"/>
            <a:r>
              <a:rPr lang="en-US"/>
              <a:t> </a:t>
            </a:r>
          </a:p>
        </p:txBody>
      </p:sp>
    </p:spTree>
    <p:extLst>
      <p:ext uri="{BB962C8B-B14F-4D97-AF65-F5344CB8AC3E}">
        <p14:creationId xmlns:p14="http://schemas.microsoft.com/office/powerpoint/2010/main" val="327689894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Management review – 3 rows top box">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750CE0E-F179-458C-AEB1-36BDA9AF422C}"/>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9" name="Object 8" hidden="1">
                        <a:extLst>
                          <a:ext uri="{FF2B5EF4-FFF2-40B4-BE49-F238E27FC236}">
                            <a16:creationId xmlns:a16="http://schemas.microsoft.com/office/drawing/2014/main" id="{D750CE0E-F179-458C-AEB1-36BDA9AF422C}"/>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FE540E8-853F-49F5-AAA0-593FDDFCB4F6}"/>
              </a:ext>
            </a:extLst>
          </p:cNvPr>
          <p:cNvSpPr/>
          <p:nvPr>
            <p:custDataLst>
              <p:tags r:id="rId2"/>
            </p:custDataLst>
          </p:nvPr>
        </p:nvSpPr>
        <p:spPr>
          <a:xfrm>
            <a:off x="0" y="0"/>
            <a:ext cx="211667"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133"/>
              </a:lnSpc>
              <a:spcBef>
                <a:spcPct val="0"/>
              </a:spcBef>
              <a:spcAft>
                <a:spcPct val="0"/>
              </a:spcAft>
            </a:pPr>
            <a:endParaRPr lang="en-US" sz="2133" b="0" i="0" baseline="0">
              <a:latin typeface="Calibri Light" panose="020F0302020204030204" pitchFamily="34" charset="0"/>
              <a:ea typeface="+mj-ea"/>
              <a:cs typeface="+mj-cs"/>
              <a:sym typeface="Calibri Light" panose="020F0302020204030204" pitchFamily="34" charset="0"/>
            </a:endParaRPr>
          </a:p>
        </p:txBody>
      </p:sp>
      <p:sp>
        <p:nvSpPr>
          <p:cNvPr id="16" name="Titel 4"/>
          <p:cNvSpPr>
            <a:spLocks noGrp="1"/>
          </p:cNvSpPr>
          <p:nvPr>
            <p:ph type="title" hasCustomPrompt="1"/>
          </p:nvPr>
        </p:nvSpPr>
        <p:spPr>
          <a:xfrm>
            <a:off x="3373123" y="52207"/>
            <a:ext cx="6988539" cy="787200"/>
          </a:xfrm>
        </p:spPr>
        <p:txBody>
          <a:bodyPr/>
          <a:lstStyle>
            <a:lvl1pPr algn="l">
              <a:lnSpc>
                <a:spcPts val="2133"/>
              </a:lnSpc>
              <a:defRPr sz="2133"/>
            </a:lvl1pPr>
          </a:lstStyle>
          <a:p>
            <a:r>
              <a:rPr lang="en-US"/>
              <a:t>Click to add text</a:t>
            </a:r>
          </a:p>
        </p:txBody>
      </p:sp>
      <p:sp>
        <p:nvSpPr>
          <p:cNvPr id="10" name="Text Placeholder 2">
            <a:extLst>
              <a:ext uri="{FF2B5EF4-FFF2-40B4-BE49-F238E27FC236}">
                <a16:creationId xmlns:a16="http://schemas.microsoft.com/office/drawing/2014/main" id="{64C2BE2D-951F-4D2E-A248-5E79BA206EF8}"/>
              </a:ext>
            </a:extLst>
          </p:cNvPr>
          <p:cNvSpPr>
            <a:spLocks noGrp="1"/>
          </p:cNvSpPr>
          <p:nvPr>
            <p:ph type="body" sz="quarter" idx="18" hasCustomPrompt="1"/>
          </p:nvPr>
        </p:nvSpPr>
        <p:spPr>
          <a:xfrm>
            <a:off x="125941" y="471161"/>
            <a:ext cx="3133256" cy="172800"/>
          </a:xfrm>
          <a:prstGeom prst="rect">
            <a:avLst/>
          </a:prstGeom>
          <a:ln>
            <a:noFill/>
          </a:ln>
        </p:spPr>
        <p:txBody>
          <a:bodyPr lIns="0" tIns="0" rIns="0" bIns="0" anchor="ctr">
            <a:noAutofit/>
          </a:bodyPr>
          <a:lstStyle>
            <a:lvl1pPr marL="0" indent="0" algn="l">
              <a:lnSpc>
                <a:spcPct val="100000"/>
              </a:lnSpc>
              <a:spcBef>
                <a:spcPts val="0"/>
              </a:spcBef>
              <a:buFontTx/>
              <a:buNone/>
              <a:defRPr sz="1067" b="0" baseline="0">
                <a:solidFill>
                  <a:schemeClr val="tx1"/>
                </a:solidFill>
              </a:defRPr>
            </a:lvl1pPr>
          </a:lstStyle>
          <a:p>
            <a:r>
              <a:rPr lang="en-US"/>
              <a:t>Time period, data scenario</a:t>
            </a:r>
          </a:p>
        </p:txBody>
      </p:sp>
      <p:sp>
        <p:nvSpPr>
          <p:cNvPr id="11" name="Text Placeholder 2">
            <a:extLst>
              <a:ext uri="{FF2B5EF4-FFF2-40B4-BE49-F238E27FC236}">
                <a16:creationId xmlns:a16="http://schemas.microsoft.com/office/drawing/2014/main" id="{1441B2E9-68F4-4A38-9D55-0A1864391805}"/>
              </a:ext>
            </a:extLst>
          </p:cNvPr>
          <p:cNvSpPr>
            <a:spLocks noGrp="1"/>
          </p:cNvSpPr>
          <p:nvPr>
            <p:ph type="body" sz="quarter" idx="24" hasCustomPrompt="1"/>
          </p:nvPr>
        </p:nvSpPr>
        <p:spPr>
          <a:xfrm>
            <a:off x="125941" y="52207"/>
            <a:ext cx="3133256" cy="172800"/>
          </a:xfrm>
          <a:prstGeom prst="rect">
            <a:avLst/>
          </a:prstGeom>
          <a:ln>
            <a:noFill/>
          </a:ln>
        </p:spPr>
        <p:txBody>
          <a:bodyPr lIns="0" tIns="0" rIns="0" bIns="0" anchor="ctr">
            <a:noAutofit/>
          </a:bodyPr>
          <a:lstStyle>
            <a:lvl1pPr marL="0" indent="0" algn="l">
              <a:lnSpc>
                <a:spcPct val="100000"/>
              </a:lnSpc>
              <a:spcBef>
                <a:spcPts val="0"/>
              </a:spcBef>
              <a:buFontTx/>
              <a:buNone/>
              <a:defRPr sz="1067" b="0" baseline="0">
                <a:solidFill>
                  <a:schemeClr val="tx1"/>
                </a:solidFill>
              </a:defRPr>
            </a:lvl1pPr>
          </a:lstStyle>
          <a:p>
            <a:r>
              <a:rPr lang="en-US"/>
              <a:t>Reporting entity</a:t>
            </a:r>
          </a:p>
        </p:txBody>
      </p:sp>
      <p:sp>
        <p:nvSpPr>
          <p:cNvPr id="12" name="Text Placeholder 2">
            <a:extLst>
              <a:ext uri="{FF2B5EF4-FFF2-40B4-BE49-F238E27FC236}">
                <a16:creationId xmlns:a16="http://schemas.microsoft.com/office/drawing/2014/main" id="{6058F3F5-669F-4BEE-968A-F64356A6CDA8}"/>
              </a:ext>
            </a:extLst>
          </p:cNvPr>
          <p:cNvSpPr>
            <a:spLocks noGrp="1"/>
          </p:cNvSpPr>
          <p:nvPr>
            <p:ph type="body" sz="quarter" idx="25" hasCustomPrompt="1"/>
          </p:nvPr>
        </p:nvSpPr>
        <p:spPr>
          <a:xfrm>
            <a:off x="125941" y="261684"/>
            <a:ext cx="3133256" cy="172800"/>
          </a:xfrm>
          <a:prstGeom prst="rect">
            <a:avLst/>
          </a:prstGeom>
          <a:ln>
            <a:noFill/>
          </a:ln>
        </p:spPr>
        <p:txBody>
          <a:bodyPr lIns="0" tIns="0" rIns="0" bIns="0" anchor="ctr">
            <a:noAutofit/>
          </a:bodyPr>
          <a:lstStyle>
            <a:lvl1pPr marL="0" indent="0" algn="l">
              <a:lnSpc>
                <a:spcPct val="100000"/>
              </a:lnSpc>
              <a:spcBef>
                <a:spcPts val="0"/>
              </a:spcBef>
              <a:buFontTx/>
              <a:buNone/>
              <a:defRPr sz="1067" b="1" baseline="0">
                <a:solidFill>
                  <a:schemeClr val="tx1"/>
                </a:solidFill>
              </a:defRPr>
            </a:lvl1pPr>
          </a:lstStyle>
          <a:p>
            <a:r>
              <a:rPr lang="en-US"/>
              <a:t>Content, unit measurement</a:t>
            </a:r>
          </a:p>
        </p:txBody>
      </p:sp>
      <p:sp>
        <p:nvSpPr>
          <p:cNvPr id="2" name="Date Placeholder 1">
            <a:extLst>
              <a:ext uri="{FF2B5EF4-FFF2-40B4-BE49-F238E27FC236}">
                <a16:creationId xmlns:a16="http://schemas.microsoft.com/office/drawing/2014/main" id="{47762C03-275A-4B1F-B234-561444D869D2}"/>
              </a:ext>
            </a:extLst>
          </p:cNvPr>
          <p:cNvSpPr>
            <a:spLocks noGrp="1"/>
          </p:cNvSpPr>
          <p:nvPr>
            <p:ph type="dt" sz="half" idx="26"/>
          </p:nvPr>
        </p:nvSpPr>
        <p:spPr/>
        <p:txBody>
          <a:bodyPr/>
          <a:lstStyle/>
          <a:p>
            <a:endParaRPr lang="en-IN"/>
          </a:p>
        </p:txBody>
      </p:sp>
      <p:sp>
        <p:nvSpPr>
          <p:cNvPr id="4" name="Footer Placeholder 3">
            <a:extLst>
              <a:ext uri="{FF2B5EF4-FFF2-40B4-BE49-F238E27FC236}">
                <a16:creationId xmlns:a16="http://schemas.microsoft.com/office/drawing/2014/main" id="{FA9E35EF-ADB2-4164-B32F-9BDCE33D2151}"/>
              </a:ext>
            </a:extLst>
          </p:cNvPr>
          <p:cNvSpPr>
            <a:spLocks noGrp="1"/>
          </p:cNvSpPr>
          <p:nvPr>
            <p:ph type="ftr" sz="quarter" idx="27"/>
          </p:nvPr>
        </p:nvSpPr>
        <p:spPr/>
        <p:txBody>
          <a:bodyPr/>
          <a:lstStyle/>
          <a:p>
            <a:endParaRPr lang="en-IN"/>
          </a:p>
        </p:txBody>
      </p:sp>
      <p:sp>
        <p:nvSpPr>
          <p:cNvPr id="6" name="Slide Number Placeholder 5">
            <a:extLst>
              <a:ext uri="{FF2B5EF4-FFF2-40B4-BE49-F238E27FC236}">
                <a16:creationId xmlns:a16="http://schemas.microsoft.com/office/drawing/2014/main" id="{0B25F407-F7B2-457F-BADC-5D7E348202A6}"/>
              </a:ext>
            </a:extLst>
          </p:cNvPr>
          <p:cNvSpPr>
            <a:spLocks noGrp="1"/>
          </p:cNvSpPr>
          <p:nvPr>
            <p:ph type="sldNum" sz="quarter" idx="28"/>
          </p:nvPr>
        </p:nvSpPr>
        <p:spPr/>
        <p:txBody>
          <a:bodyPr/>
          <a:lstStyle/>
          <a:p>
            <a:fld id="{A5163908-529D-4A49-892F-D37C4044DFD8}" type="slidenum">
              <a:rPr lang="en-IN" smtClean="0"/>
              <a:pPr/>
              <a:t>‹#›</a:t>
            </a:fld>
            <a:endParaRPr lang="en-IN"/>
          </a:p>
        </p:txBody>
      </p:sp>
      <p:cxnSp>
        <p:nvCxnSpPr>
          <p:cNvPr id="13" name="Straight Connector 17">
            <a:extLst>
              <a:ext uri="{FF2B5EF4-FFF2-40B4-BE49-F238E27FC236}">
                <a16:creationId xmlns:a16="http://schemas.microsoft.com/office/drawing/2014/main" id="{C4A983AC-6F9B-471B-87E8-D4505A31FE4E}"/>
              </a:ext>
            </a:extLst>
          </p:cNvPr>
          <p:cNvCxnSpPr/>
          <p:nvPr>
            <p:custDataLst>
              <p:tags r:id="rId3"/>
            </p:custDataLst>
          </p:nvPr>
        </p:nvCxnSpPr>
        <p:spPr>
          <a:xfrm>
            <a:off x="0" y="1190047"/>
            <a:ext cx="12192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AEA0FB69-E866-4F1C-87F8-ADA6A511DB1B}"/>
              </a:ext>
            </a:extLst>
          </p:cNvPr>
          <p:cNvSpPr>
            <a:spLocks noGrp="1"/>
          </p:cNvSpPr>
          <p:nvPr>
            <p:ph type="body" sz="quarter" idx="29"/>
          </p:nvPr>
        </p:nvSpPr>
        <p:spPr>
          <a:xfrm>
            <a:off x="125942" y="1264357"/>
            <a:ext cx="11940119" cy="5034844"/>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5730542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Management review – 4 rows top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AB418BD-1930-49DC-9A84-017861466996}"/>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4AB418BD-1930-49DC-9A84-017861466996}"/>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894897C-9089-4E46-A4DC-D9375AE2C972}"/>
              </a:ext>
            </a:extLst>
          </p:cNvPr>
          <p:cNvSpPr/>
          <p:nvPr>
            <p:custDataLst>
              <p:tags r:id="rId2"/>
            </p:custDataLst>
          </p:nvPr>
        </p:nvSpPr>
        <p:spPr>
          <a:xfrm>
            <a:off x="0" y="0"/>
            <a:ext cx="211667"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133"/>
              </a:lnSpc>
              <a:spcBef>
                <a:spcPct val="0"/>
              </a:spcBef>
              <a:spcAft>
                <a:spcPct val="0"/>
              </a:spcAft>
            </a:pPr>
            <a:endParaRPr lang="en-US" sz="2133" b="0" i="0" baseline="0">
              <a:latin typeface="Calibri Light" panose="020F0302020204030204" pitchFamily="34" charset="0"/>
              <a:ea typeface="+mj-ea"/>
              <a:cs typeface="+mj-cs"/>
              <a:sym typeface="Calibri Light" panose="020F0302020204030204" pitchFamily="34" charset="0"/>
            </a:endParaRPr>
          </a:p>
        </p:txBody>
      </p:sp>
      <p:sp>
        <p:nvSpPr>
          <p:cNvPr id="22" name="Text Placeholder 2"/>
          <p:cNvSpPr>
            <a:spLocks noGrp="1"/>
          </p:cNvSpPr>
          <p:nvPr>
            <p:ph type="body" sz="quarter" idx="18" hasCustomPrompt="1"/>
          </p:nvPr>
        </p:nvSpPr>
        <p:spPr>
          <a:xfrm>
            <a:off x="125941" y="471161"/>
            <a:ext cx="3133256" cy="172800"/>
          </a:xfrm>
          <a:prstGeom prst="rect">
            <a:avLst/>
          </a:prstGeom>
          <a:ln>
            <a:noFill/>
          </a:ln>
        </p:spPr>
        <p:txBody>
          <a:bodyPr lIns="0" tIns="0" rIns="0" bIns="0" anchor="ctr">
            <a:noAutofit/>
          </a:bodyPr>
          <a:lstStyle>
            <a:lvl1pPr marL="0" indent="0" algn="l">
              <a:lnSpc>
                <a:spcPct val="100000"/>
              </a:lnSpc>
              <a:spcBef>
                <a:spcPts val="0"/>
              </a:spcBef>
              <a:buFontTx/>
              <a:buNone/>
              <a:defRPr sz="1067" b="0" baseline="0">
                <a:solidFill>
                  <a:schemeClr val="tx1"/>
                </a:solidFill>
              </a:defRPr>
            </a:lvl1pPr>
          </a:lstStyle>
          <a:p>
            <a:r>
              <a:rPr lang="en-US"/>
              <a:t>Unit of measurement</a:t>
            </a:r>
          </a:p>
        </p:txBody>
      </p:sp>
      <p:sp>
        <p:nvSpPr>
          <p:cNvPr id="23" name="Text Placeholder 2"/>
          <p:cNvSpPr>
            <a:spLocks noGrp="1"/>
          </p:cNvSpPr>
          <p:nvPr>
            <p:ph type="body" sz="quarter" idx="19" hasCustomPrompt="1"/>
          </p:nvPr>
        </p:nvSpPr>
        <p:spPr>
          <a:xfrm>
            <a:off x="125941" y="680640"/>
            <a:ext cx="3133256" cy="172800"/>
          </a:xfrm>
          <a:prstGeom prst="rect">
            <a:avLst/>
          </a:prstGeom>
          <a:ln>
            <a:noFill/>
          </a:ln>
        </p:spPr>
        <p:txBody>
          <a:bodyPr lIns="0" tIns="0" rIns="0" bIns="0" anchor="ctr">
            <a:noAutofit/>
          </a:bodyPr>
          <a:lstStyle>
            <a:lvl1pPr marL="0" indent="0" algn="l">
              <a:lnSpc>
                <a:spcPct val="100000"/>
              </a:lnSpc>
              <a:spcBef>
                <a:spcPts val="0"/>
              </a:spcBef>
              <a:buFontTx/>
              <a:buNone/>
              <a:defRPr sz="1067" b="0" baseline="0">
                <a:solidFill>
                  <a:schemeClr val="tx1"/>
                </a:solidFill>
              </a:defRPr>
            </a:lvl1pPr>
          </a:lstStyle>
          <a:p>
            <a:r>
              <a:rPr lang="en-US"/>
              <a:t>Period, data scenario</a:t>
            </a:r>
          </a:p>
        </p:txBody>
      </p:sp>
      <p:sp>
        <p:nvSpPr>
          <p:cNvPr id="15" name="Text Placeholder 2"/>
          <p:cNvSpPr>
            <a:spLocks noGrp="1"/>
          </p:cNvSpPr>
          <p:nvPr>
            <p:ph type="body" sz="quarter" idx="21" hasCustomPrompt="1"/>
          </p:nvPr>
        </p:nvSpPr>
        <p:spPr>
          <a:xfrm>
            <a:off x="125941" y="52207"/>
            <a:ext cx="3133256" cy="172800"/>
          </a:xfrm>
          <a:prstGeom prst="rect">
            <a:avLst/>
          </a:prstGeom>
          <a:ln>
            <a:noFill/>
          </a:ln>
        </p:spPr>
        <p:txBody>
          <a:bodyPr lIns="0" tIns="0" rIns="0" bIns="0" anchor="ctr">
            <a:noAutofit/>
          </a:bodyPr>
          <a:lstStyle>
            <a:lvl1pPr marL="0" indent="0" algn="l">
              <a:lnSpc>
                <a:spcPct val="100000"/>
              </a:lnSpc>
              <a:spcBef>
                <a:spcPts val="0"/>
              </a:spcBef>
              <a:buFontTx/>
              <a:buNone/>
              <a:defRPr sz="1067" b="0" baseline="0">
                <a:solidFill>
                  <a:schemeClr val="tx1"/>
                </a:solidFill>
              </a:defRPr>
            </a:lvl1pPr>
          </a:lstStyle>
          <a:p>
            <a:r>
              <a:rPr lang="en-US"/>
              <a:t>Reporting entity</a:t>
            </a:r>
          </a:p>
        </p:txBody>
      </p:sp>
      <p:sp>
        <p:nvSpPr>
          <p:cNvPr id="18" name="Text Placeholder 2"/>
          <p:cNvSpPr>
            <a:spLocks noGrp="1"/>
          </p:cNvSpPr>
          <p:nvPr>
            <p:ph type="body" sz="quarter" idx="22" hasCustomPrompt="1"/>
          </p:nvPr>
        </p:nvSpPr>
        <p:spPr>
          <a:xfrm>
            <a:off x="125941" y="261684"/>
            <a:ext cx="3133256" cy="172800"/>
          </a:xfrm>
          <a:prstGeom prst="rect">
            <a:avLst/>
          </a:prstGeom>
          <a:ln>
            <a:noFill/>
          </a:ln>
        </p:spPr>
        <p:txBody>
          <a:bodyPr lIns="0" tIns="0" rIns="0" bIns="0" anchor="ctr">
            <a:noAutofit/>
          </a:bodyPr>
          <a:lstStyle>
            <a:lvl1pPr marL="0" indent="0" algn="l">
              <a:lnSpc>
                <a:spcPct val="100000"/>
              </a:lnSpc>
              <a:spcBef>
                <a:spcPts val="0"/>
              </a:spcBef>
              <a:buFontTx/>
              <a:buNone/>
              <a:defRPr sz="1067" b="1" baseline="0">
                <a:solidFill>
                  <a:schemeClr val="tx1"/>
                </a:solidFill>
              </a:defRPr>
            </a:lvl1pPr>
          </a:lstStyle>
          <a:p>
            <a:r>
              <a:rPr lang="en-US" err="1"/>
              <a:t>P&amp;L</a:t>
            </a:r>
            <a:r>
              <a:rPr lang="en-US"/>
              <a:t> detail per business</a:t>
            </a:r>
          </a:p>
        </p:txBody>
      </p:sp>
      <p:sp>
        <p:nvSpPr>
          <p:cNvPr id="24" name="Titel 4"/>
          <p:cNvSpPr>
            <a:spLocks noGrp="1"/>
          </p:cNvSpPr>
          <p:nvPr>
            <p:ph type="title" hasCustomPrompt="1"/>
          </p:nvPr>
        </p:nvSpPr>
        <p:spPr>
          <a:xfrm>
            <a:off x="3373123" y="52207"/>
            <a:ext cx="6988539" cy="787200"/>
          </a:xfrm>
        </p:spPr>
        <p:txBody>
          <a:bodyPr/>
          <a:lstStyle>
            <a:lvl1pPr algn="l">
              <a:lnSpc>
                <a:spcPts val="2133"/>
              </a:lnSpc>
              <a:defRPr sz="2133"/>
            </a:lvl1pPr>
          </a:lstStyle>
          <a:p>
            <a:r>
              <a:rPr lang="en-US"/>
              <a:t>Click to add text</a:t>
            </a:r>
          </a:p>
        </p:txBody>
      </p:sp>
      <p:sp>
        <p:nvSpPr>
          <p:cNvPr id="5" name="Date Placeholder 4">
            <a:extLst>
              <a:ext uri="{FF2B5EF4-FFF2-40B4-BE49-F238E27FC236}">
                <a16:creationId xmlns:a16="http://schemas.microsoft.com/office/drawing/2014/main" id="{B55C9809-688D-4100-A0FE-DB6EB41BC208}"/>
              </a:ext>
            </a:extLst>
          </p:cNvPr>
          <p:cNvSpPr>
            <a:spLocks noGrp="1"/>
          </p:cNvSpPr>
          <p:nvPr>
            <p:ph type="dt" sz="half" idx="24"/>
          </p:nvPr>
        </p:nvSpPr>
        <p:spPr/>
        <p:txBody>
          <a:bodyPr/>
          <a:lstStyle/>
          <a:p>
            <a:endParaRPr lang="en-IN"/>
          </a:p>
        </p:txBody>
      </p:sp>
      <p:sp>
        <p:nvSpPr>
          <p:cNvPr id="7" name="Footer Placeholder 6">
            <a:extLst>
              <a:ext uri="{FF2B5EF4-FFF2-40B4-BE49-F238E27FC236}">
                <a16:creationId xmlns:a16="http://schemas.microsoft.com/office/drawing/2014/main" id="{CF164E04-503E-48E0-8056-F4A846A8D609}"/>
              </a:ext>
            </a:extLst>
          </p:cNvPr>
          <p:cNvSpPr>
            <a:spLocks noGrp="1"/>
          </p:cNvSpPr>
          <p:nvPr>
            <p:ph type="ftr" sz="quarter" idx="25"/>
          </p:nvPr>
        </p:nvSpPr>
        <p:spPr/>
        <p:txBody>
          <a:bodyPr/>
          <a:lstStyle/>
          <a:p>
            <a:endParaRPr lang="en-IN"/>
          </a:p>
        </p:txBody>
      </p:sp>
      <p:sp>
        <p:nvSpPr>
          <p:cNvPr id="8" name="Slide Number Placeholder 7">
            <a:extLst>
              <a:ext uri="{FF2B5EF4-FFF2-40B4-BE49-F238E27FC236}">
                <a16:creationId xmlns:a16="http://schemas.microsoft.com/office/drawing/2014/main" id="{A3E3274A-0D5B-4B5E-963A-4AD0C038490E}"/>
              </a:ext>
            </a:extLst>
          </p:cNvPr>
          <p:cNvSpPr>
            <a:spLocks noGrp="1"/>
          </p:cNvSpPr>
          <p:nvPr>
            <p:ph type="sldNum" sz="quarter" idx="26"/>
          </p:nvPr>
        </p:nvSpPr>
        <p:spPr/>
        <p:txBody>
          <a:bodyPr/>
          <a:lstStyle/>
          <a:p>
            <a:fld id="{A5163908-529D-4A49-892F-D37C4044DFD8}" type="slidenum">
              <a:rPr lang="en-IN" smtClean="0"/>
              <a:pPr/>
              <a:t>‹#›</a:t>
            </a:fld>
            <a:endParaRPr lang="en-IN"/>
          </a:p>
        </p:txBody>
      </p:sp>
      <p:cxnSp>
        <p:nvCxnSpPr>
          <p:cNvPr id="14" name="Straight Connector 17">
            <a:extLst>
              <a:ext uri="{FF2B5EF4-FFF2-40B4-BE49-F238E27FC236}">
                <a16:creationId xmlns:a16="http://schemas.microsoft.com/office/drawing/2014/main" id="{073504F8-A36C-4A96-9962-DBD59D731B7C}"/>
              </a:ext>
            </a:extLst>
          </p:cNvPr>
          <p:cNvCxnSpPr/>
          <p:nvPr>
            <p:custDataLst>
              <p:tags r:id="rId3"/>
            </p:custDataLst>
          </p:nvPr>
        </p:nvCxnSpPr>
        <p:spPr>
          <a:xfrm>
            <a:off x="0" y="1190047"/>
            <a:ext cx="12192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197E0385-9465-469B-9CA7-ABB0EB4E4852}"/>
              </a:ext>
            </a:extLst>
          </p:cNvPr>
          <p:cNvSpPr>
            <a:spLocks noGrp="1"/>
          </p:cNvSpPr>
          <p:nvPr>
            <p:ph type="body" sz="quarter" idx="27"/>
          </p:nvPr>
        </p:nvSpPr>
        <p:spPr>
          <a:xfrm>
            <a:off x="125942" y="1264358"/>
            <a:ext cx="11940119" cy="5034844"/>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598796695"/>
      </p:ext>
    </p:extLst>
  </p:cSld>
  <p:clrMapOvr>
    <a:masterClrMapping/>
  </p:clrMapOvr>
  <p:extLst>
    <p:ext uri="{DCECCB84-F9BA-43D5-87BE-67443E8EF086}">
      <p15:sldGuideLst xmlns:p15="http://schemas.microsoft.com/office/powerpoint/2012/main">
        <p15:guide id="1" pos="84">
          <p15:clr>
            <a:srgbClr val="FBAE40"/>
          </p15:clr>
        </p15:guide>
        <p15:guide id="2" orient="horz" pos="712">
          <p15:clr>
            <a:srgbClr val="FBAE40"/>
          </p15:clr>
        </p15:guide>
        <p15:guide id="3" pos="7596">
          <p15:clr>
            <a:srgbClr val="FBAE40"/>
          </p15:clr>
        </p15:guide>
        <p15:guide id="4" orient="horz" pos="5245">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Management review –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C896B7-FACB-4D7B-A4F4-8CE484CBAD4B}"/>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3" name="Object 2" hidden="1">
                        <a:extLst>
                          <a:ext uri="{FF2B5EF4-FFF2-40B4-BE49-F238E27FC236}">
                            <a16:creationId xmlns:a16="http://schemas.microsoft.com/office/drawing/2014/main" id="{70C896B7-FACB-4D7B-A4F4-8CE484CBAD4B}"/>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ADAA302-4954-4070-845B-E3247AC801CE}"/>
              </a:ext>
            </a:extLst>
          </p:cNvPr>
          <p:cNvSpPr/>
          <p:nvPr>
            <p:custDataLst>
              <p:tags r:id="rId2"/>
            </p:custDataLst>
          </p:nvPr>
        </p:nvSpPr>
        <p:spPr>
          <a:xfrm>
            <a:off x="0" y="0"/>
            <a:ext cx="211667"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133"/>
              </a:lnSpc>
              <a:spcBef>
                <a:spcPct val="0"/>
              </a:spcBef>
              <a:spcAft>
                <a:spcPct val="0"/>
              </a:spcAft>
            </a:pPr>
            <a:endParaRPr lang="en-US" sz="2133" b="0" i="0" baseline="0">
              <a:latin typeface="Calibri Light" panose="020F0302020204030204" pitchFamily="34" charset="0"/>
              <a:ea typeface="+mj-ea"/>
              <a:cs typeface="+mj-cs"/>
              <a:sym typeface="Calibri Light" panose="020F0302020204030204" pitchFamily="34" charset="0"/>
            </a:endParaRPr>
          </a:p>
        </p:txBody>
      </p:sp>
      <p:sp>
        <p:nvSpPr>
          <p:cNvPr id="11" name="Titel 4"/>
          <p:cNvSpPr>
            <a:spLocks noGrp="1"/>
          </p:cNvSpPr>
          <p:nvPr>
            <p:ph type="title" hasCustomPrompt="1"/>
          </p:nvPr>
        </p:nvSpPr>
        <p:spPr>
          <a:xfrm>
            <a:off x="3373123" y="52207"/>
            <a:ext cx="6988539" cy="787200"/>
          </a:xfrm>
        </p:spPr>
        <p:txBody>
          <a:bodyPr/>
          <a:lstStyle>
            <a:lvl1pPr algn="l">
              <a:lnSpc>
                <a:spcPts val="2133"/>
              </a:lnSpc>
              <a:defRPr sz="2133"/>
            </a:lvl1pPr>
          </a:lstStyle>
          <a:p>
            <a:r>
              <a:rPr lang="en-US"/>
              <a:t>Click to add text</a:t>
            </a:r>
          </a:p>
        </p:txBody>
      </p:sp>
      <p:sp>
        <p:nvSpPr>
          <p:cNvPr id="12" name="Text Placeholder 2">
            <a:extLst>
              <a:ext uri="{FF2B5EF4-FFF2-40B4-BE49-F238E27FC236}">
                <a16:creationId xmlns:a16="http://schemas.microsoft.com/office/drawing/2014/main" id="{F913354F-6E59-49EF-93BE-EAF0DC89F631}"/>
              </a:ext>
            </a:extLst>
          </p:cNvPr>
          <p:cNvSpPr>
            <a:spLocks noGrp="1"/>
          </p:cNvSpPr>
          <p:nvPr>
            <p:ph type="body" sz="quarter" idx="18" hasCustomPrompt="1"/>
          </p:nvPr>
        </p:nvSpPr>
        <p:spPr>
          <a:xfrm>
            <a:off x="125941" y="471161"/>
            <a:ext cx="3133256" cy="172800"/>
          </a:xfrm>
          <a:prstGeom prst="rect">
            <a:avLst/>
          </a:prstGeom>
          <a:ln>
            <a:noFill/>
          </a:ln>
        </p:spPr>
        <p:txBody>
          <a:bodyPr lIns="0" tIns="0" rIns="0" bIns="0" anchor="ctr">
            <a:noAutofit/>
          </a:bodyPr>
          <a:lstStyle>
            <a:lvl1pPr marL="0" indent="0" algn="l">
              <a:lnSpc>
                <a:spcPct val="100000"/>
              </a:lnSpc>
              <a:spcBef>
                <a:spcPts val="0"/>
              </a:spcBef>
              <a:buFontTx/>
              <a:buNone/>
              <a:defRPr sz="1067" b="0" baseline="0">
                <a:solidFill>
                  <a:schemeClr val="tx1"/>
                </a:solidFill>
              </a:defRPr>
            </a:lvl1pPr>
          </a:lstStyle>
          <a:p>
            <a:r>
              <a:rPr lang="en-US"/>
              <a:t>Unit of measurement</a:t>
            </a:r>
          </a:p>
        </p:txBody>
      </p:sp>
      <p:sp>
        <p:nvSpPr>
          <p:cNvPr id="14" name="Text Placeholder 2">
            <a:extLst>
              <a:ext uri="{FF2B5EF4-FFF2-40B4-BE49-F238E27FC236}">
                <a16:creationId xmlns:a16="http://schemas.microsoft.com/office/drawing/2014/main" id="{17171BA3-E603-4FDD-B59F-EF9A1D5D5393}"/>
              </a:ext>
            </a:extLst>
          </p:cNvPr>
          <p:cNvSpPr>
            <a:spLocks noGrp="1"/>
          </p:cNvSpPr>
          <p:nvPr>
            <p:ph type="body" sz="quarter" idx="19" hasCustomPrompt="1"/>
          </p:nvPr>
        </p:nvSpPr>
        <p:spPr>
          <a:xfrm>
            <a:off x="125941" y="680640"/>
            <a:ext cx="3133256" cy="172800"/>
          </a:xfrm>
          <a:prstGeom prst="rect">
            <a:avLst/>
          </a:prstGeom>
          <a:ln>
            <a:noFill/>
          </a:ln>
        </p:spPr>
        <p:txBody>
          <a:bodyPr lIns="0" tIns="0" rIns="0" bIns="0" anchor="ctr">
            <a:noAutofit/>
          </a:bodyPr>
          <a:lstStyle>
            <a:lvl1pPr marL="0" indent="0" algn="l">
              <a:lnSpc>
                <a:spcPct val="100000"/>
              </a:lnSpc>
              <a:spcBef>
                <a:spcPts val="0"/>
              </a:spcBef>
              <a:buFontTx/>
              <a:buNone/>
              <a:defRPr sz="1067" b="0" baseline="0">
                <a:solidFill>
                  <a:schemeClr val="tx1"/>
                </a:solidFill>
              </a:defRPr>
            </a:lvl1pPr>
          </a:lstStyle>
          <a:p>
            <a:r>
              <a:rPr lang="en-US"/>
              <a:t>Period, data scenario</a:t>
            </a:r>
          </a:p>
        </p:txBody>
      </p:sp>
      <p:sp>
        <p:nvSpPr>
          <p:cNvPr id="16" name="Text Placeholder 2">
            <a:extLst>
              <a:ext uri="{FF2B5EF4-FFF2-40B4-BE49-F238E27FC236}">
                <a16:creationId xmlns:a16="http://schemas.microsoft.com/office/drawing/2014/main" id="{EFD21293-C0ED-4019-808D-8F22DD7C3701}"/>
              </a:ext>
            </a:extLst>
          </p:cNvPr>
          <p:cNvSpPr>
            <a:spLocks noGrp="1"/>
          </p:cNvSpPr>
          <p:nvPr>
            <p:ph type="body" sz="quarter" idx="21" hasCustomPrompt="1"/>
          </p:nvPr>
        </p:nvSpPr>
        <p:spPr>
          <a:xfrm>
            <a:off x="125941" y="52207"/>
            <a:ext cx="3133256" cy="172800"/>
          </a:xfrm>
          <a:prstGeom prst="rect">
            <a:avLst/>
          </a:prstGeom>
          <a:ln>
            <a:noFill/>
          </a:ln>
        </p:spPr>
        <p:txBody>
          <a:bodyPr lIns="0" tIns="0" rIns="0" bIns="0" anchor="ctr">
            <a:noAutofit/>
          </a:bodyPr>
          <a:lstStyle>
            <a:lvl1pPr marL="0" indent="0" algn="l">
              <a:lnSpc>
                <a:spcPct val="100000"/>
              </a:lnSpc>
              <a:spcBef>
                <a:spcPts val="0"/>
              </a:spcBef>
              <a:buFontTx/>
              <a:buNone/>
              <a:defRPr sz="1067" b="0" baseline="0">
                <a:solidFill>
                  <a:schemeClr val="tx1"/>
                </a:solidFill>
              </a:defRPr>
            </a:lvl1pPr>
          </a:lstStyle>
          <a:p>
            <a:r>
              <a:rPr lang="en-US"/>
              <a:t>Reporting entity</a:t>
            </a:r>
          </a:p>
        </p:txBody>
      </p:sp>
      <p:sp>
        <p:nvSpPr>
          <p:cNvPr id="17" name="Text Placeholder 2">
            <a:extLst>
              <a:ext uri="{FF2B5EF4-FFF2-40B4-BE49-F238E27FC236}">
                <a16:creationId xmlns:a16="http://schemas.microsoft.com/office/drawing/2014/main" id="{9CDAF2D5-0296-4D0F-805B-B7D704579806}"/>
              </a:ext>
            </a:extLst>
          </p:cNvPr>
          <p:cNvSpPr>
            <a:spLocks noGrp="1"/>
          </p:cNvSpPr>
          <p:nvPr>
            <p:ph type="body" sz="quarter" idx="22" hasCustomPrompt="1"/>
          </p:nvPr>
        </p:nvSpPr>
        <p:spPr>
          <a:xfrm>
            <a:off x="125941" y="261684"/>
            <a:ext cx="3133256" cy="172800"/>
          </a:xfrm>
          <a:prstGeom prst="rect">
            <a:avLst/>
          </a:prstGeom>
          <a:ln>
            <a:noFill/>
          </a:ln>
        </p:spPr>
        <p:txBody>
          <a:bodyPr lIns="0" tIns="0" rIns="0" bIns="0" anchor="ctr">
            <a:noAutofit/>
          </a:bodyPr>
          <a:lstStyle>
            <a:lvl1pPr marL="0" indent="0" algn="l">
              <a:lnSpc>
                <a:spcPct val="100000"/>
              </a:lnSpc>
              <a:spcBef>
                <a:spcPts val="0"/>
              </a:spcBef>
              <a:buFontTx/>
              <a:buNone/>
              <a:defRPr sz="1067" b="1" baseline="0">
                <a:solidFill>
                  <a:schemeClr val="tx1"/>
                </a:solidFill>
              </a:defRPr>
            </a:lvl1pPr>
          </a:lstStyle>
          <a:p>
            <a:r>
              <a:rPr lang="en-US" err="1"/>
              <a:t>P&amp;L</a:t>
            </a:r>
            <a:r>
              <a:rPr lang="en-US"/>
              <a:t> detail per business</a:t>
            </a:r>
          </a:p>
        </p:txBody>
      </p:sp>
      <p:sp>
        <p:nvSpPr>
          <p:cNvPr id="4" name="Date Placeholder 3">
            <a:extLst>
              <a:ext uri="{FF2B5EF4-FFF2-40B4-BE49-F238E27FC236}">
                <a16:creationId xmlns:a16="http://schemas.microsoft.com/office/drawing/2014/main" id="{2150E6CF-65D4-44D5-BB75-32FC616FF2ED}"/>
              </a:ext>
            </a:extLst>
          </p:cNvPr>
          <p:cNvSpPr>
            <a:spLocks noGrp="1"/>
          </p:cNvSpPr>
          <p:nvPr>
            <p:ph type="dt" sz="half" idx="23"/>
          </p:nvPr>
        </p:nvSpPr>
        <p:spPr/>
        <p:txBody>
          <a:bodyPr/>
          <a:lstStyle/>
          <a:p>
            <a:endParaRPr lang="en-IN"/>
          </a:p>
        </p:txBody>
      </p:sp>
      <p:sp>
        <p:nvSpPr>
          <p:cNvPr id="5" name="Footer Placeholder 4">
            <a:extLst>
              <a:ext uri="{FF2B5EF4-FFF2-40B4-BE49-F238E27FC236}">
                <a16:creationId xmlns:a16="http://schemas.microsoft.com/office/drawing/2014/main" id="{1C3B535E-80AA-4B5F-B505-6AE4D82B2050}"/>
              </a:ext>
            </a:extLst>
          </p:cNvPr>
          <p:cNvSpPr>
            <a:spLocks noGrp="1"/>
          </p:cNvSpPr>
          <p:nvPr>
            <p:ph type="ftr" sz="quarter" idx="24"/>
          </p:nvPr>
        </p:nvSpPr>
        <p:spPr/>
        <p:txBody>
          <a:bodyPr/>
          <a:lstStyle/>
          <a:p>
            <a:endParaRPr lang="en-IN"/>
          </a:p>
        </p:txBody>
      </p:sp>
      <p:sp>
        <p:nvSpPr>
          <p:cNvPr id="6" name="Slide Number Placeholder 5">
            <a:extLst>
              <a:ext uri="{FF2B5EF4-FFF2-40B4-BE49-F238E27FC236}">
                <a16:creationId xmlns:a16="http://schemas.microsoft.com/office/drawing/2014/main" id="{F0779868-A62C-4FF8-88BB-692DFBB3AF38}"/>
              </a:ext>
            </a:extLst>
          </p:cNvPr>
          <p:cNvSpPr>
            <a:spLocks noGrp="1"/>
          </p:cNvSpPr>
          <p:nvPr>
            <p:ph type="sldNum" sz="quarter" idx="25"/>
          </p:nvPr>
        </p:nvSpPr>
        <p:spPr/>
        <p:txBody>
          <a:bodyPr/>
          <a:lstStyle/>
          <a:p>
            <a:fld id="{A5163908-529D-4A49-892F-D37C4044DFD8}" type="slidenum">
              <a:rPr lang="en-IN" smtClean="0"/>
              <a:pPr/>
              <a:t>‹#›</a:t>
            </a:fld>
            <a:endParaRPr lang="en-IN"/>
          </a:p>
        </p:txBody>
      </p:sp>
      <p:cxnSp>
        <p:nvCxnSpPr>
          <p:cNvPr id="13" name="Straight Connector 17">
            <a:extLst>
              <a:ext uri="{FF2B5EF4-FFF2-40B4-BE49-F238E27FC236}">
                <a16:creationId xmlns:a16="http://schemas.microsoft.com/office/drawing/2014/main" id="{8CA4B699-1B76-42B1-970D-8B5F927F5D43}"/>
              </a:ext>
            </a:extLst>
          </p:cNvPr>
          <p:cNvCxnSpPr/>
          <p:nvPr>
            <p:custDataLst>
              <p:tags r:id="rId3"/>
            </p:custDataLst>
          </p:nvPr>
        </p:nvCxnSpPr>
        <p:spPr>
          <a:xfrm>
            <a:off x="0" y="1190047"/>
            <a:ext cx="12192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5827058"/>
      </p:ext>
    </p:extLst>
  </p:cSld>
  <p:clrMapOvr>
    <a:masterClrMapping/>
  </p:clrMapOvr>
  <p:extLst>
    <p:ext uri="{DCECCB84-F9BA-43D5-87BE-67443E8EF086}">
      <p15:sldGuideLst xmlns:p15="http://schemas.microsoft.com/office/powerpoint/2012/main">
        <p15:guide id="1" pos="84">
          <p15:clr>
            <a:srgbClr val="FBAE40"/>
          </p15:clr>
        </p15:guide>
        <p15:guide id="2" pos="7595">
          <p15:clr>
            <a:srgbClr val="FBAE40"/>
          </p15:clr>
        </p15:guide>
        <p15:guide id="3" orient="horz" pos="5245">
          <p15:clr>
            <a:srgbClr val="FBAE40"/>
          </p15:clr>
        </p15:guide>
        <p15:guide id="4" orient="horz" pos="712">
          <p15:clr>
            <a:srgbClr val="FBAE40"/>
          </p15:clr>
        </p15:guide>
        <p15:guide id="5" orient="horz" pos="68">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Management review – no top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147BB81-5ED6-4620-B6AB-9F7CAE2CB6EC}"/>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3" name="Object 2" hidden="1">
                        <a:extLst>
                          <a:ext uri="{FF2B5EF4-FFF2-40B4-BE49-F238E27FC236}">
                            <a16:creationId xmlns:a16="http://schemas.microsoft.com/office/drawing/2014/main" id="{E147BB81-5ED6-4620-B6AB-9F7CAE2CB6EC}"/>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84C154A-EDEF-494B-95FD-05C942808301}"/>
              </a:ext>
            </a:extLst>
          </p:cNvPr>
          <p:cNvSpPr/>
          <p:nvPr>
            <p:custDataLst>
              <p:tags r:id="rId2"/>
            </p:custDataLst>
          </p:nvPr>
        </p:nvSpPr>
        <p:spPr>
          <a:xfrm>
            <a:off x="0" y="0"/>
            <a:ext cx="211667"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133"/>
              </a:lnSpc>
              <a:spcBef>
                <a:spcPct val="0"/>
              </a:spcBef>
              <a:spcAft>
                <a:spcPct val="0"/>
              </a:spcAft>
            </a:pPr>
            <a:endParaRPr lang="en-US" sz="2133" b="0" i="0" baseline="0">
              <a:latin typeface="Calibri Light" panose="020F0302020204030204" pitchFamily="34" charset="0"/>
              <a:ea typeface="+mj-ea"/>
              <a:cs typeface="+mj-cs"/>
              <a:sym typeface="Calibri Light" panose="020F0302020204030204" pitchFamily="34" charset="0"/>
            </a:endParaRPr>
          </a:p>
        </p:txBody>
      </p:sp>
      <p:sp>
        <p:nvSpPr>
          <p:cNvPr id="8" name="Titel 4"/>
          <p:cNvSpPr>
            <a:spLocks noGrp="1"/>
          </p:cNvSpPr>
          <p:nvPr>
            <p:ph type="title" hasCustomPrompt="1"/>
          </p:nvPr>
        </p:nvSpPr>
        <p:spPr>
          <a:xfrm>
            <a:off x="3373123" y="52207"/>
            <a:ext cx="6988539" cy="787200"/>
          </a:xfrm>
        </p:spPr>
        <p:txBody>
          <a:bodyPr/>
          <a:lstStyle>
            <a:lvl1pPr algn="l">
              <a:lnSpc>
                <a:spcPts val="2133"/>
              </a:lnSpc>
              <a:defRPr sz="2133"/>
            </a:lvl1pPr>
          </a:lstStyle>
          <a:p>
            <a:r>
              <a:rPr lang="en-US"/>
              <a:t>Click to add text</a:t>
            </a:r>
          </a:p>
        </p:txBody>
      </p:sp>
      <p:sp>
        <p:nvSpPr>
          <p:cNvPr id="4" name="Date Placeholder 3">
            <a:extLst>
              <a:ext uri="{FF2B5EF4-FFF2-40B4-BE49-F238E27FC236}">
                <a16:creationId xmlns:a16="http://schemas.microsoft.com/office/drawing/2014/main" id="{822B18CF-CA9C-4A69-B7C8-A4C94FF2972C}"/>
              </a:ext>
            </a:extLst>
          </p:cNvPr>
          <p:cNvSpPr>
            <a:spLocks noGrp="1"/>
          </p:cNvSpPr>
          <p:nvPr>
            <p:ph type="dt" sz="half" idx="10"/>
          </p:nvPr>
        </p:nvSpPr>
        <p:spPr/>
        <p:txBody>
          <a:bodyPr/>
          <a:lstStyle/>
          <a:p>
            <a:endParaRPr lang="en-IN"/>
          </a:p>
        </p:txBody>
      </p:sp>
      <p:sp>
        <p:nvSpPr>
          <p:cNvPr id="5" name="Footer Placeholder 4">
            <a:extLst>
              <a:ext uri="{FF2B5EF4-FFF2-40B4-BE49-F238E27FC236}">
                <a16:creationId xmlns:a16="http://schemas.microsoft.com/office/drawing/2014/main" id="{786AD015-F4ED-4FC4-A52C-B985B1A9C982}"/>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88E7AFA2-6720-468E-9F40-2499D9FB7BBE}"/>
              </a:ext>
            </a:extLst>
          </p:cNvPr>
          <p:cNvSpPr>
            <a:spLocks noGrp="1"/>
          </p:cNvSpPr>
          <p:nvPr>
            <p:ph type="sldNum" sz="quarter" idx="12"/>
          </p:nvPr>
        </p:nvSpPr>
        <p:spPr/>
        <p:txBody>
          <a:bodyPr/>
          <a:lstStyle/>
          <a:p>
            <a:fld id="{A5163908-529D-4A49-892F-D37C4044DFD8}" type="slidenum">
              <a:rPr lang="en-IN" smtClean="0"/>
              <a:pPr/>
              <a:t>‹#›</a:t>
            </a:fld>
            <a:endParaRPr lang="en-IN"/>
          </a:p>
        </p:txBody>
      </p:sp>
      <p:cxnSp>
        <p:nvCxnSpPr>
          <p:cNvPr id="9" name="Straight Connector 17">
            <a:extLst>
              <a:ext uri="{FF2B5EF4-FFF2-40B4-BE49-F238E27FC236}">
                <a16:creationId xmlns:a16="http://schemas.microsoft.com/office/drawing/2014/main" id="{50CCBDD5-A078-4F63-AC4E-A4BB95B75007}"/>
              </a:ext>
            </a:extLst>
          </p:cNvPr>
          <p:cNvCxnSpPr/>
          <p:nvPr>
            <p:custDataLst>
              <p:tags r:id="rId3"/>
            </p:custDataLst>
          </p:nvPr>
        </p:nvCxnSpPr>
        <p:spPr>
          <a:xfrm>
            <a:off x="0" y="1190047"/>
            <a:ext cx="12192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6198682"/>
      </p:ext>
    </p:extLst>
  </p:cSld>
  <p:clrMapOvr>
    <a:masterClrMapping/>
  </p:clrMapOvr>
  <p:extLst>
    <p:ext uri="{DCECCB84-F9BA-43D5-87BE-67443E8EF086}">
      <p15:sldGuideLst xmlns:p15="http://schemas.microsoft.com/office/powerpoint/2012/main">
        <p15:guide id="1" pos="84">
          <p15:clr>
            <a:srgbClr val="FBAE40"/>
          </p15:clr>
        </p15:guide>
        <p15:guide id="2" pos="7595">
          <p15:clr>
            <a:srgbClr val="FBAE40"/>
          </p15:clr>
        </p15:guide>
        <p15:guide id="3" orient="horz" pos="5245">
          <p15:clr>
            <a:srgbClr val="FBAE40"/>
          </p15:clr>
        </p15:guide>
        <p15:guide id="4" orient="horz" pos="712">
          <p15:clr>
            <a:srgbClr val="FBAE40"/>
          </p15:clr>
        </p15:guide>
        <p15:guide id="5" orient="horz" pos="68">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Management review – text box r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A73966E-CFE3-49CC-B52A-C5B637544F6F}"/>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3" name="Object 2" hidden="1">
                        <a:extLst>
                          <a:ext uri="{FF2B5EF4-FFF2-40B4-BE49-F238E27FC236}">
                            <a16:creationId xmlns:a16="http://schemas.microsoft.com/office/drawing/2014/main" id="{8A73966E-CFE3-49CC-B52A-C5B637544F6F}"/>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FC3CDD-A9EE-4A29-BDB5-DDD9F2931D29}"/>
              </a:ext>
            </a:extLst>
          </p:cNvPr>
          <p:cNvSpPr/>
          <p:nvPr>
            <p:custDataLst>
              <p:tags r:id="rId2"/>
            </p:custDataLst>
          </p:nvPr>
        </p:nvSpPr>
        <p:spPr>
          <a:xfrm>
            <a:off x="0" y="0"/>
            <a:ext cx="211667"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133"/>
              </a:lnSpc>
              <a:spcBef>
                <a:spcPct val="0"/>
              </a:spcBef>
              <a:spcAft>
                <a:spcPct val="0"/>
              </a:spcAft>
            </a:pPr>
            <a:endParaRPr lang="en-US" sz="2133" b="0" i="0" baseline="0">
              <a:latin typeface="Calibri Light" panose="020F0302020204030204" pitchFamily="34" charset="0"/>
              <a:ea typeface="+mj-ea"/>
              <a:cs typeface="+mj-cs"/>
              <a:sym typeface="Calibri Light" panose="020F0302020204030204" pitchFamily="34" charset="0"/>
            </a:endParaRPr>
          </a:p>
        </p:txBody>
      </p:sp>
      <p:sp>
        <p:nvSpPr>
          <p:cNvPr id="13" name="Titel 4"/>
          <p:cNvSpPr>
            <a:spLocks noGrp="1"/>
          </p:cNvSpPr>
          <p:nvPr>
            <p:ph type="title" hasCustomPrompt="1"/>
          </p:nvPr>
        </p:nvSpPr>
        <p:spPr>
          <a:xfrm>
            <a:off x="3373123" y="52207"/>
            <a:ext cx="6988539" cy="787200"/>
          </a:xfrm>
        </p:spPr>
        <p:txBody>
          <a:bodyPr/>
          <a:lstStyle>
            <a:lvl1pPr algn="l">
              <a:lnSpc>
                <a:spcPts val="2133"/>
              </a:lnSpc>
              <a:defRPr sz="2133"/>
            </a:lvl1pPr>
          </a:lstStyle>
          <a:p>
            <a:r>
              <a:rPr lang="en-US"/>
              <a:t>Click to add text</a:t>
            </a:r>
          </a:p>
        </p:txBody>
      </p:sp>
      <p:sp>
        <p:nvSpPr>
          <p:cNvPr id="12" name="Text Placeholder 2">
            <a:extLst>
              <a:ext uri="{FF2B5EF4-FFF2-40B4-BE49-F238E27FC236}">
                <a16:creationId xmlns:a16="http://schemas.microsoft.com/office/drawing/2014/main" id="{70BB6E0D-3F39-440A-BD9D-79E5F2487608}"/>
              </a:ext>
            </a:extLst>
          </p:cNvPr>
          <p:cNvSpPr>
            <a:spLocks noGrp="1"/>
          </p:cNvSpPr>
          <p:nvPr>
            <p:ph type="body" sz="quarter" idx="18" hasCustomPrompt="1"/>
          </p:nvPr>
        </p:nvSpPr>
        <p:spPr>
          <a:xfrm>
            <a:off x="125941" y="471161"/>
            <a:ext cx="3133256" cy="172800"/>
          </a:xfrm>
          <a:prstGeom prst="rect">
            <a:avLst/>
          </a:prstGeom>
          <a:ln>
            <a:noFill/>
          </a:ln>
        </p:spPr>
        <p:txBody>
          <a:bodyPr lIns="0" tIns="0" rIns="0" bIns="0" anchor="ctr">
            <a:noAutofit/>
          </a:bodyPr>
          <a:lstStyle>
            <a:lvl1pPr marL="0" indent="0" algn="l">
              <a:lnSpc>
                <a:spcPct val="100000"/>
              </a:lnSpc>
              <a:spcBef>
                <a:spcPts val="0"/>
              </a:spcBef>
              <a:buFontTx/>
              <a:buNone/>
              <a:defRPr sz="1067" b="0" baseline="0">
                <a:solidFill>
                  <a:schemeClr val="tx1"/>
                </a:solidFill>
              </a:defRPr>
            </a:lvl1pPr>
          </a:lstStyle>
          <a:p>
            <a:r>
              <a:rPr lang="en-US"/>
              <a:t>Unit of measurement</a:t>
            </a:r>
          </a:p>
        </p:txBody>
      </p:sp>
      <p:sp>
        <p:nvSpPr>
          <p:cNvPr id="14" name="Text Placeholder 2">
            <a:extLst>
              <a:ext uri="{FF2B5EF4-FFF2-40B4-BE49-F238E27FC236}">
                <a16:creationId xmlns:a16="http://schemas.microsoft.com/office/drawing/2014/main" id="{45E28750-0E4B-4D33-9132-AD81766D925F}"/>
              </a:ext>
            </a:extLst>
          </p:cNvPr>
          <p:cNvSpPr>
            <a:spLocks noGrp="1"/>
          </p:cNvSpPr>
          <p:nvPr>
            <p:ph type="body" sz="quarter" idx="19" hasCustomPrompt="1"/>
          </p:nvPr>
        </p:nvSpPr>
        <p:spPr>
          <a:xfrm>
            <a:off x="125941" y="680640"/>
            <a:ext cx="3133256" cy="172800"/>
          </a:xfrm>
          <a:prstGeom prst="rect">
            <a:avLst/>
          </a:prstGeom>
          <a:ln>
            <a:noFill/>
          </a:ln>
        </p:spPr>
        <p:txBody>
          <a:bodyPr lIns="0" tIns="0" rIns="0" bIns="0" anchor="ctr">
            <a:noAutofit/>
          </a:bodyPr>
          <a:lstStyle>
            <a:lvl1pPr marL="0" indent="0" algn="l">
              <a:lnSpc>
                <a:spcPct val="100000"/>
              </a:lnSpc>
              <a:spcBef>
                <a:spcPts val="0"/>
              </a:spcBef>
              <a:buFontTx/>
              <a:buNone/>
              <a:defRPr sz="1067" b="0" baseline="0">
                <a:solidFill>
                  <a:schemeClr val="tx1"/>
                </a:solidFill>
              </a:defRPr>
            </a:lvl1pPr>
          </a:lstStyle>
          <a:p>
            <a:r>
              <a:rPr lang="en-US"/>
              <a:t>Period, data scenario</a:t>
            </a:r>
          </a:p>
        </p:txBody>
      </p:sp>
      <p:sp>
        <p:nvSpPr>
          <p:cNvPr id="17" name="Text Placeholder 2">
            <a:extLst>
              <a:ext uri="{FF2B5EF4-FFF2-40B4-BE49-F238E27FC236}">
                <a16:creationId xmlns:a16="http://schemas.microsoft.com/office/drawing/2014/main" id="{EC5D1072-8A57-4985-9114-7AB80099D9D4}"/>
              </a:ext>
            </a:extLst>
          </p:cNvPr>
          <p:cNvSpPr>
            <a:spLocks noGrp="1"/>
          </p:cNvSpPr>
          <p:nvPr>
            <p:ph type="body" sz="quarter" idx="21" hasCustomPrompt="1"/>
          </p:nvPr>
        </p:nvSpPr>
        <p:spPr>
          <a:xfrm>
            <a:off x="125941" y="52207"/>
            <a:ext cx="3133256" cy="172800"/>
          </a:xfrm>
          <a:prstGeom prst="rect">
            <a:avLst/>
          </a:prstGeom>
          <a:ln>
            <a:noFill/>
          </a:ln>
        </p:spPr>
        <p:txBody>
          <a:bodyPr lIns="0" tIns="0" rIns="0" bIns="0" anchor="ctr">
            <a:noAutofit/>
          </a:bodyPr>
          <a:lstStyle>
            <a:lvl1pPr marL="0" indent="0" algn="l">
              <a:lnSpc>
                <a:spcPct val="100000"/>
              </a:lnSpc>
              <a:spcBef>
                <a:spcPts val="0"/>
              </a:spcBef>
              <a:buFontTx/>
              <a:buNone/>
              <a:defRPr sz="1067" b="0" baseline="0">
                <a:solidFill>
                  <a:schemeClr val="tx1"/>
                </a:solidFill>
              </a:defRPr>
            </a:lvl1pPr>
          </a:lstStyle>
          <a:p>
            <a:r>
              <a:rPr lang="en-US"/>
              <a:t>Reporting entity</a:t>
            </a:r>
          </a:p>
        </p:txBody>
      </p:sp>
      <p:sp>
        <p:nvSpPr>
          <p:cNvPr id="18" name="Text Placeholder 2">
            <a:extLst>
              <a:ext uri="{FF2B5EF4-FFF2-40B4-BE49-F238E27FC236}">
                <a16:creationId xmlns:a16="http://schemas.microsoft.com/office/drawing/2014/main" id="{322D0EE4-A772-43CA-87B6-4AAA26C1682B}"/>
              </a:ext>
            </a:extLst>
          </p:cNvPr>
          <p:cNvSpPr>
            <a:spLocks noGrp="1"/>
          </p:cNvSpPr>
          <p:nvPr>
            <p:ph type="body" sz="quarter" idx="22" hasCustomPrompt="1"/>
          </p:nvPr>
        </p:nvSpPr>
        <p:spPr>
          <a:xfrm>
            <a:off x="125941" y="261684"/>
            <a:ext cx="3133256" cy="172800"/>
          </a:xfrm>
          <a:prstGeom prst="rect">
            <a:avLst/>
          </a:prstGeom>
          <a:ln>
            <a:noFill/>
          </a:ln>
        </p:spPr>
        <p:txBody>
          <a:bodyPr lIns="0" tIns="0" rIns="0" bIns="0" anchor="ctr">
            <a:noAutofit/>
          </a:bodyPr>
          <a:lstStyle>
            <a:lvl1pPr marL="0" indent="0" algn="l">
              <a:lnSpc>
                <a:spcPct val="100000"/>
              </a:lnSpc>
              <a:spcBef>
                <a:spcPts val="0"/>
              </a:spcBef>
              <a:buFontTx/>
              <a:buNone/>
              <a:defRPr sz="1067" b="1" baseline="0">
                <a:solidFill>
                  <a:schemeClr val="tx1"/>
                </a:solidFill>
              </a:defRPr>
            </a:lvl1pPr>
          </a:lstStyle>
          <a:p>
            <a:r>
              <a:rPr lang="en-US" err="1"/>
              <a:t>P&amp;L</a:t>
            </a:r>
            <a:r>
              <a:rPr lang="en-US"/>
              <a:t> detail per business</a:t>
            </a:r>
          </a:p>
        </p:txBody>
      </p:sp>
      <p:sp>
        <p:nvSpPr>
          <p:cNvPr id="4" name="Date Placeholder 3">
            <a:extLst>
              <a:ext uri="{FF2B5EF4-FFF2-40B4-BE49-F238E27FC236}">
                <a16:creationId xmlns:a16="http://schemas.microsoft.com/office/drawing/2014/main" id="{7182124D-0640-4AE6-AECC-F4880DA1C39A}"/>
              </a:ext>
            </a:extLst>
          </p:cNvPr>
          <p:cNvSpPr>
            <a:spLocks noGrp="1"/>
          </p:cNvSpPr>
          <p:nvPr>
            <p:ph type="dt" sz="half" idx="24"/>
          </p:nvPr>
        </p:nvSpPr>
        <p:spPr/>
        <p:txBody>
          <a:bodyPr/>
          <a:lstStyle/>
          <a:p>
            <a:endParaRPr lang="en-IN"/>
          </a:p>
        </p:txBody>
      </p:sp>
      <p:sp>
        <p:nvSpPr>
          <p:cNvPr id="6" name="Footer Placeholder 5">
            <a:extLst>
              <a:ext uri="{FF2B5EF4-FFF2-40B4-BE49-F238E27FC236}">
                <a16:creationId xmlns:a16="http://schemas.microsoft.com/office/drawing/2014/main" id="{2B1E07C9-1AA8-427A-8D3F-F90DA800C51B}"/>
              </a:ext>
            </a:extLst>
          </p:cNvPr>
          <p:cNvSpPr>
            <a:spLocks noGrp="1"/>
          </p:cNvSpPr>
          <p:nvPr>
            <p:ph type="ftr" sz="quarter" idx="25"/>
          </p:nvPr>
        </p:nvSpPr>
        <p:spPr/>
        <p:txBody>
          <a:bodyPr/>
          <a:lstStyle/>
          <a:p>
            <a:endParaRPr lang="en-IN"/>
          </a:p>
        </p:txBody>
      </p:sp>
      <p:sp>
        <p:nvSpPr>
          <p:cNvPr id="7" name="Slide Number Placeholder 6">
            <a:extLst>
              <a:ext uri="{FF2B5EF4-FFF2-40B4-BE49-F238E27FC236}">
                <a16:creationId xmlns:a16="http://schemas.microsoft.com/office/drawing/2014/main" id="{75797C04-425D-49F7-8B2B-D4A178C161E5}"/>
              </a:ext>
            </a:extLst>
          </p:cNvPr>
          <p:cNvSpPr>
            <a:spLocks noGrp="1"/>
          </p:cNvSpPr>
          <p:nvPr>
            <p:ph type="sldNum" sz="quarter" idx="26"/>
          </p:nvPr>
        </p:nvSpPr>
        <p:spPr/>
        <p:txBody>
          <a:bodyPr/>
          <a:lstStyle/>
          <a:p>
            <a:fld id="{A5163908-529D-4A49-892F-D37C4044DFD8}" type="slidenum">
              <a:rPr lang="en-IN" smtClean="0"/>
              <a:pPr/>
              <a:t>‹#›</a:t>
            </a:fld>
            <a:endParaRPr lang="en-IN"/>
          </a:p>
        </p:txBody>
      </p:sp>
      <p:cxnSp>
        <p:nvCxnSpPr>
          <p:cNvPr id="15" name="Straight Connector 17">
            <a:extLst>
              <a:ext uri="{FF2B5EF4-FFF2-40B4-BE49-F238E27FC236}">
                <a16:creationId xmlns:a16="http://schemas.microsoft.com/office/drawing/2014/main" id="{F4A6D036-B440-4848-AD09-10D95A6851EB}"/>
              </a:ext>
            </a:extLst>
          </p:cNvPr>
          <p:cNvCxnSpPr/>
          <p:nvPr>
            <p:custDataLst>
              <p:tags r:id="rId3"/>
            </p:custDataLst>
          </p:nvPr>
        </p:nvCxnSpPr>
        <p:spPr>
          <a:xfrm>
            <a:off x="0" y="1190047"/>
            <a:ext cx="12192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398D6D76-355E-455E-9573-01D135D9D92F}"/>
              </a:ext>
            </a:extLst>
          </p:cNvPr>
          <p:cNvSpPr>
            <a:spLocks noGrp="1"/>
          </p:cNvSpPr>
          <p:nvPr>
            <p:ph type="body" sz="quarter" idx="27"/>
          </p:nvPr>
        </p:nvSpPr>
        <p:spPr>
          <a:xfrm>
            <a:off x="8473815" y="1264358"/>
            <a:ext cx="3592245" cy="5034844"/>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626375408"/>
      </p:ext>
    </p:extLst>
  </p:cSld>
  <p:clrMapOvr>
    <a:masterClrMapping/>
  </p:clrMapOvr>
  <p:extLst>
    <p:ext uri="{DCECCB84-F9BA-43D5-87BE-67443E8EF086}">
      <p15:sldGuideLst xmlns:p15="http://schemas.microsoft.com/office/powerpoint/2012/main">
        <p15:guide id="1" pos="84">
          <p15:clr>
            <a:srgbClr val="FBAE40"/>
          </p15:clr>
        </p15:guide>
        <p15:guide id="2" pos="7595">
          <p15:clr>
            <a:srgbClr val="FBAE40"/>
          </p15:clr>
        </p15:guide>
        <p15:guide id="3" orient="horz" pos="5245">
          <p15:clr>
            <a:srgbClr val="FBAE40"/>
          </p15:clr>
        </p15:guide>
        <p15:guide id="4" orient="horz" pos="712">
          <p15:clr>
            <a:srgbClr val="FBAE40"/>
          </p15:clr>
        </p15:guide>
        <p15:guide id="5" orient="horz" pos="68">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Management review – text box lef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E039C25-38EE-4409-8846-AD3780FDA714}"/>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3" name="Object 2" hidden="1">
                        <a:extLst>
                          <a:ext uri="{FF2B5EF4-FFF2-40B4-BE49-F238E27FC236}">
                            <a16:creationId xmlns:a16="http://schemas.microsoft.com/office/drawing/2014/main" id="{2E039C25-38EE-4409-8846-AD3780FDA714}"/>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831B7F0-8291-45AD-B310-18C6F32CA153}"/>
              </a:ext>
            </a:extLst>
          </p:cNvPr>
          <p:cNvSpPr/>
          <p:nvPr>
            <p:custDataLst>
              <p:tags r:id="rId2"/>
            </p:custDataLst>
          </p:nvPr>
        </p:nvSpPr>
        <p:spPr>
          <a:xfrm>
            <a:off x="0" y="0"/>
            <a:ext cx="211667"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133"/>
              </a:lnSpc>
              <a:spcBef>
                <a:spcPct val="0"/>
              </a:spcBef>
              <a:spcAft>
                <a:spcPct val="0"/>
              </a:spcAft>
            </a:pPr>
            <a:endParaRPr lang="en-US" sz="2133" b="0" i="0" baseline="0">
              <a:latin typeface="Calibri Light" panose="020F0302020204030204" pitchFamily="34" charset="0"/>
              <a:ea typeface="+mj-ea"/>
              <a:cs typeface="+mj-cs"/>
              <a:sym typeface="Calibri Light" panose="020F0302020204030204" pitchFamily="34" charset="0"/>
            </a:endParaRPr>
          </a:p>
        </p:txBody>
      </p:sp>
      <p:sp>
        <p:nvSpPr>
          <p:cNvPr id="12" name="Titel 4"/>
          <p:cNvSpPr>
            <a:spLocks noGrp="1"/>
          </p:cNvSpPr>
          <p:nvPr>
            <p:ph type="title" hasCustomPrompt="1"/>
          </p:nvPr>
        </p:nvSpPr>
        <p:spPr>
          <a:xfrm>
            <a:off x="3373123" y="52207"/>
            <a:ext cx="6988539" cy="787200"/>
          </a:xfrm>
        </p:spPr>
        <p:txBody>
          <a:bodyPr/>
          <a:lstStyle>
            <a:lvl1pPr algn="l">
              <a:lnSpc>
                <a:spcPts val="2133"/>
              </a:lnSpc>
              <a:defRPr sz="2133"/>
            </a:lvl1pPr>
          </a:lstStyle>
          <a:p>
            <a:r>
              <a:rPr lang="en-US"/>
              <a:t>Click to add text</a:t>
            </a:r>
          </a:p>
        </p:txBody>
      </p:sp>
      <p:sp>
        <p:nvSpPr>
          <p:cNvPr id="16" name="Text Placeholder 2">
            <a:extLst>
              <a:ext uri="{FF2B5EF4-FFF2-40B4-BE49-F238E27FC236}">
                <a16:creationId xmlns:a16="http://schemas.microsoft.com/office/drawing/2014/main" id="{7066FA14-A13E-4C88-AA9E-2E47483D5080}"/>
              </a:ext>
            </a:extLst>
          </p:cNvPr>
          <p:cNvSpPr>
            <a:spLocks noGrp="1"/>
          </p:cNvSpPr>
          <p:nvPr>
            <p:ph type="body" sz="quarter" idx="18" hasCustomPrompt="1"/>
          </p:nvPr>
        </p:nvSpPr>
        <p:spPr>
          <a:xfrm>
            <a:off x="125941" y="471161"/>
            <a:ext cx="3133256" cy="172800"/>
          </a:xfrm>
          <a:prstGeom prst="rect">
            <a:avLst/>
          </a:prstGeom>
          <a:ln>
            <a:noFill/>
          </a:ln>
        </p:spPr>
        <p:txBody>
          <a:bodyPr lIns="0" tIns="0" rIns="0" bIns="0" anchor="ctr">
            <a:noAutofit/>
          </a:bodyPr>
          <a:lstStyle>
            <a:lvl1pPr marL="0" indent="0" algn="l">
              <a:lnSpc>
                <a:spcPct val="100000"/>
              </a:lnSpc>
              <a:spcBef>
                <a:spcPts val="0"/>
              </a:spcBef>
              <a:buFontTx/>
              <a:buNone/>
              <a:defRPr sz="1067" b="0" baseline="0">
                <a:solidFill>
                  <a:schemeClr val="tx1"/>
                </a:solidFill>
              </a:defRPr>
            </a:lvl1pPr>
          </a:lstStyle>
          <a:p>
            <a:r>
              <a:rPr lang="en-US"/>
              <a:t>Unit of measurement</a:t>
            </a:r>
          </a:p>
        </p:txBody>
      </p:sp>
      <p:sp>
        <p:nvSpPr>
          <p:cNvPr id="18" name="Text Placeholder 2">
            <a:extLst>
              <a:ext uri="{FF2B5EF4-FFF2-40B4-BE49-F238E27FC236}">
                <a16:creationId xmlns:a16="http://schemas.microsoft.com/office/drawing/2014/main" id="{5198432D-6F74-40F0-A171-A0B5FD017FAD}"/>
              </a:ext>
            </a:extLst>
          </p:cNvPr>
          <p:cNvSpPr>
            <a:spLocks noGrp="1"/>
          </p:cNvSpPr>
          <p:nvPr>
            <p:ph type="body" sz="quarter" idx="19" hasCustomPrompt="1"/>
          </p:nvPr>
        </p:nvSpPr>
        <p:spPr>
          <a:xfrm>
            <a:off x="125941" y="680640"/>
            <a:ext cx="3133256" cy="172800"/>
          </a:xfrm>
          <a:prstGeom prst="rect">
            <a:avLst/>
          </a:prstGeom>
          <a:ln>
            <a:noFill/>
          </a:ln>
        </p:spPr>
        <p:txBody>
          <a:bodyPr lIns="0" tIns="0" rIns="0" bIns="0" anchor="ctr">
            <a:noAutofit/>
          </a:bodyPr>
          <a:lstStyle>
            <a:lvl1pPr marL="0" indent="0" algn="l">
              <a:lnSpc>
                <a:spcPct val="100000"/>
              </a:lnSpc>
              <a:spcBef>
                <a:spcPts val="0"/>
              </a:spcBef>
              <a:buFontTx/>
              <a:buNone/>
              <a:defRPr sz="1067" b="0" baseline="0">
                <a:solidFill>
                  <a:schemeClr val="tx1"/>
                </a:solidFill>
              </a:defRPr>
            </a:lvl1pPr>
          </a:lstStyle>
          <a:p>
            <a:r>
              <a:rPr lang="en-US"/>
              <a:t>Period, data scenario</a:t>
            </a:r>
          </a:p>
        </p:txBody>
      </p:sp>
      <p:sp>
        <p:nvSpPr>
          <p:cNvPr id="20" name="Text Placeholder 2">
            <a:extLst>
              <a:ext uri="{FF2B5EF4-FFF2-40B4-BE49-F238E27FC236}">
                <a16:creationId xmlns:a16="http://schemas.microsoft.com/office/drawing/2014/main" id="{81023FC6-6139-470D-844E-BC0D6156133A}"/>
              </a:ext>
            </a:extLst>
          </p:cNvPr>
          <p:cNvSpPr>
            <a:spLocks noGrp="1"/>
          </p:cNvSpPr>
          <p:nvPr>
            <p:ph type="body" sz="quarter" idx="21" hasCustomPrompt="1"/>
          </p:nvPr>
        </p:nvSpPr>
        <p:spPr>
          <a:xfrm>
            <a:off x="125941" y="52207"/>
            <a:ext cx="3133256" cy="172800"/>
          </a:xfrm>
          <a:prstGeom prst="rect">
            <a:avLst/>
          </a:prstGeom>
          <a:ln>
            <a:noFill/>
          </a:ln>
        </p:spPr>
        <p:txBody>
          <a:bodyPr lIns="0" tIns="0" rIns="0" bIns="0" anchor="ctr">
            <a:noAutofit/>
          </a:bodyPr>
          <a:lstStyle>
            <a:lvl1pPr marL="0" indent="0" algn="l">
              <a:lnSpc>
                <a:spcPct val="100000"/>
              </a:lnSpc>
              <a:spcBef>
                <a:spcPts val="0"/>
              </a:spcBef>
              <a:buFontTx/>
              <a:buNone/>
              <a:defRPr sz="1067" b="0" baseline="0">
                <a:solidFill>
                  <a:schemeClr val="tx1"/>
                </a:solidFill>
              </a:defRPr>
            </a:lvl1pPr>
          </a:lstStyle>
          <a:p>
            <a:r>
              <a:rPr lang="en-US"/>
              <a:t>Reporting entity</a:t>
            </a:r>
          </a:p>
        </p:txBody>
      </p:sp>
      <p:sp>
        <p:nvSpPr>
          <p:cNvPr id="21" name="Text Placeholder 2">
            <a:extLst>
              <a:ext uri="{FF2B5EF4-FFF2-40B4-BE49-F238E27FC236}">
                <a16:creationId xmlns:a16="http://schemas.microsoft.com/office/drawing/2014/main" id="{B2569437-C2DB-4F3A-9508-BB720F4BFEB6}"/>
              </a:ext>
            </a:extLst>
          </p:cNvPr>
          <p:cNvSpPr>
            <a:spLocks noGrp="1"/>
          </p:cNvSpPr>
          <p:nvPr>
            <p:ph type="body" sz="quarter" idx="22" hasCustomPrompt="1"/>
          </p:nvPr>
        </p:nvSpPr>
        <p:spPr>
          <a:xfrm>
            <a:off x="125941" y="261684"/>
            <a:ext cx="3133256" cy="172800"/>
          </a:xfrm>
          <a:prstGeom prst="rect">
            <a:avLst/>
          </a:prstGeom>
          <a:ln>
            <a:noFill/>
          </a:ln>
        </p:spPr>
        <p:txBody>
          <a:bodyPr lIns="0" tIns="0" rIns="0" bIns="0" anchor="ctr">
            <a:noAutofit/>
          </a:bodyPr>
          <a:lstStyle>
            <a:lvl1pPr marL="0" indent="0" algn="l">
              <a:lnSpc>
                <a:spcPct val="100000"/>
              </a:lnSpc>
              <a:spcBef>
                <a:spcPts val="0"/>
              </a:spcBef>
              <a:buFontTx/>
              <a:buNone/>
              <a:defRPr sz="1067" b="1" baseline="0">
                <a:solidFill>
                  <a:schemeClr val="tx1"/>
                </a:solidFill>
              </a:defRPr>
            </a:lvl1pPr>
          </a:lstStyle>
          <a:p>
            <a:r>
              <a:rPr lang="en-US" err="1"/>
              <a:t>P&amp;L</a:t>
            </a:r>
            <a:r>
              <a:rPr lang="en-US"/>
              <a:t> detail per business</a:t>
            </a:r>
          </a:p>
        </p:txBody>
      </p:sp>
      <p:sp>
        <p:nvSpPr>
          <p:cNvPr id="4" name="Date Placeholder 3">
            <a:extLst>
              <a:ext uri="{FF2B5EF4-FFF2-40B4-BE49-F238E27FC236}">
                <a16:creationId xmlns:a16="http://schemas.microsoft.com/office/drawing/2014/main" id="{B87D807E-C4CE-4AA4-8ED9-448491339EC2}"/>
              </a:ext>
            </a:extLst>
          </p:cNvPr>
          <p:cNvSpPr>
            <a:spLocks noGrp="1"/>
          </p:cNvSpPr>
          <p:nvPr>
            <p:ph type="dt" sz="half" idx="24"/>
          </p:nvPr>
        </p:nvSpPr>
        <p:spPr/>
        <p:txBody>
          <a:bodyPr/>
          <a:lstStyle/>
          <a:p>
            <a:endParaRPr lang="en-IN"/>
          </a:p>
        </p:txBody>
      </p:sp>
      <p:sp>
        <p:nvSpPr>
          <p:cNvPr id="5" name="Footer Placeholder 4">
            <a:extLst>
              <a:ext uri="{FF2B5EF4-FFF2-40B4-BE49-F238E27FC236}">
                <a16:creationId xmlns:a16="http://schemas.microsoft.com/office/drawing/2014/main" id="{F838CB85-32FF-48FD-9896-C7B7E8F6EDB6}"/>
              </a:ext>
            </a:extLst>
          </p:cNvPr>
          <p:cNvSpPr>
            <a:spLocks noGrp="1"/>
          </p:cNvSpPr>
          <p:nvPr>
            <p:ph type="ftr" sz="quarter" idx="25"/>
          </p:nvPr>
        </p:nvSpPr>
        <p:spPr/>
        <p:txBody>
          <a:bodyPr/>
          <a:lstStyle/>
          <a:p>
            <a:endParaRPr lang="en-IN"/>
          </a:p>
        </p:txBody>
      </p:sp>
      <p:sp>
        <p:nvSpPr>
          <p:cNvPr id="6" name="Slide Number Placeholder 5">
            <a:extLst>
              <a:ext uri="{FF2B5EF4-FFF2-40B4-BE49-F238E27FC236}">
                <a16:creationId xmlns:a16="http://schemas.microsoft.com/office/drawing/2014/main" id="{D4580397-EA1F-41BE-8CB8-EE87F91FA060}"/>
              </a:ext>
            </a:extLst>
          </p:cNvPr>
          <p:cNvSpPr>
            <a:spLocks noGrp="1"/>
          </p:cNvSpPr>
          <p:nvPr>
            <p:ph type="sldNum" sz="quarter" idx="26"/>
          </p:nvPr>
        </p:nvSpPr>
        <p:spPr/>
        <p:txBody>
          <a:bodyPr/>
          <a:lstStyle/>
          <a:p>
            <a:fld id="{A5163908-529D-4A49-892F-D37C4044DFD8}" type="slidenum">
              <a:rPr lang="en-IN" smtClean="0"/>
              <a:pPr/>
              <a:t>‹#›</a:t>
            </a:fld>
            <a:endParaRPr lang="en-IN"/>
          </a:p>
        </p:txBody>
      </p:sp>
      <p:cxnSp>
        <p:nvCxnSpPr>
          <p:cNvPr id="15" name="Straight Connector 17">
            <a:extLst>
              <a:ext uri="{FF2B5EF4-FFF2-40B4-BE49-F238E27FC236}">
                <a16:creationId xmlns:a16="http://schemas.microsoft.com/office/drawing/2014/main" id="{C539D5CE-18F8-4235-A29E-31342295EE06}"/>
              </a:ext>
            </a:extLst>
          </p:cNvPr>
          <p:cNvCxnSpPr/>
          <p:nvPr>
            <p:custDataLst>
              <p:tags r:id="rId3"/>
            </p:custDataLst>
          </p:nvPr>
        </p:nvCxnSpPr>
        <p:spPr>
          <a:xfrm>
            <a:off x="0" y="1190047"/>
            <a:ext cx="12192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AA6F1E93-15E1-4055-8C44-6E1B52D56A8B}"/>
              </a:ext>
            </a:extLst>
          </p:cNvPr>
          <p:cNvSpPr>
            <a:spLocks noGrp="1"/>
          </p:cNvSpPr>
          <p:nvPr>
            <p:ph type="body" sz="quarter" idx="27"/>
          </p:nvPr>
        </p:nvSpPr>
        <p:spPr>
          <a:xfrm>
            <a:off x="125941" y="4704080"/>
            <a:ext cx="5089496" cy="159512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739234"/>
      </p:ext>
    </p:extLst>
  </p:cSld>
  <p:clrMapOvr>
    <a:masterClrMapping/>
  </p:clrMapOvr>
  <p:extLst>
    <p:ext uri="{DCECCB84-F9BA-43D5-87BE-67443E8EF086}">
      <p15:sldGuideLst xmlns:p15="http://schemas.microsoft.com/office/powerpoint/2012/main">
        <p15:guide id="1" pos="84">
          <p15:clr>
            <a:srgbClr val="FBAE40"/>
          </p15:clr>
        </p15:guide>
        <p15:guide id="2" pos="7595">
          <p15:clr>
            <a:srgbClr val="FBAE40"/>
          </p15:clr>
        </p15:guide>
        <p15:guide id="3" orient="horz" pos="5245">
          <p15:clr>
            <a:srgbClr val="FBAE40"/>
          </p15:clr>
        </p15:guide>
        <p15:guide id="4" orient="horz" pos="712">
          <p15:clr>
            <a:srgbClr val="FBAE40"/>
          </p15:clr>
        </p15:guide>
        <p15:guide id="5" orient="horz" pos="68">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End slide blue">
    <p:bg>
      <p:bgPr>
        <a:gradFill>
          <a:gsLst>
            <a:gs pos="0">
              <a:srgbClr val="003478"/>
            </a:gs>
            <a:gs pos="100000">
              <a:srgbClr val="0089C4"/>
            </a:gs>
          </a:gsLst>
          <a:lin ang="2100000" scaled="1"/>
        </a:gradFill>
        <a:effectLst/>
      </p:bgPr>
    </p:bg>
    <p:spTree>
      <p:nvGrpSpPr>
        <p:cNvPr id="1" name=""/>
        <p:cNvGrpSpPr/>
        <p:nvPr/>
      </p:nvGrpSpPr>
      <p:grpSpPr>
        <a:xfrm>
          <a:off x="0" y="0"/>
          <a:ext cx="0" cy="0"/>
          <a:chOff x="0" y="0"/>
          <a:chExt cx="0" cy="0"/>
        </a:xfrm>
      </p:grpSpPr>
      <p:pic>
        <p:nvPicPr>
          <p:cNvPr id="6" name="Picture 5"/>
          <p:cNvPicPr>
            <a:picLocks/>
          </p:cNvPicPr>
          <p:nvPr/>
        </p:nvPicPr>
        <p:blipFill>
          <a:blip r:embed="rId2" cstate="email">
            <a:alphaModFix/>
            <a:extLst>
              <a:ext uri="{28A0092B-C50C-407E-A947-70E740481C1C}">
                <a14:useLocalDpi xmlns:a14="http://schemas.microsoft.com/office/drawing/2010/main"/>
              </a:ext>
            </a:extLst>
          </a:blip>
          <a:stretch>
            <a:fillRect/>
          </a:stretch>
        </p:blipFill>
        <p:spPr>
          <a:xfrm>
            <a:off x="5317471" y="2447784"/>
            <a:ext cx="1526003" cy="1943765"/>
          </a:xfrm>
          <a:prstGeom prst="rect">
            <a:avLst/>
          </a:prstGeom>
          <a:noFill/>
        </p:spPr>
      </p:pic>
    </p:spTree>
    <p:extLst>
      <p:ext uri="{BB962C8B-B14F-4D97-AF65-F5344CB8AC3E}">
        <p14:creationId xmlns:p14="http://schemas.microsoft.com/office/powerpoint/2010/main" val="1511035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ection Header Image">
    <p:bg>
      <p:bgPr>
        <a:solidFill>
          <a:schemeClr val="bg1">
            <a:lumMod val="85000"/>
          </a:schemeClr>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13105" y="1521184"/>
            <a:ext cx="6176627" cy="3817442"/>
          </a:xfrm>
        </p:spPr>
        <p:txBody>
          <a:bodyPr anchor="ctr"/>
          <a:lstStyle>
            <a:lvl1pPr marL="0" indent="0">
              <a:buNone/>
              <a:defRPr sz="4000" b="0">
                <a:solidFill>
                  <a:schemeClr val="bg1"/>
                </a:solidFill>
                <a:latin typeface="+mj-lt"/>
              </a:defRPr>
            </a:lvl1pPr>
            <a:lvl2pPr marL="521258" indent="0">
              <a:buNone/>
              <a:defRPr sz="2280">
                <a:solidFill>
                  <a:schemeClr val="tx1">
                    <a:tint val="75000"/>
                  </a:schemeClr>
                </a:solidFill>
              </a:defRPr>
            </a:lvl2pPr>
            <a:lvl3pPr marL="1042512" indent="0">
              <a:buNone/>
              <a:defRPr sz="2052">
                <a:solidFill>
                  <a:schemeClr val="tx1">
                    <a:tint val="75000"/>
                  </a:schemeClr>
                </a:solidFill>
              </a:defRPr>
            </a:lvl3pPr>
            <a:lvl4pPr marL="1563773" indent="0">
              <a:buNone/>
              <a:defRPr sz="1824">
                <a:solidFill>
                  <a:schemeClr val="tx1">
                    <a:tint val="75000"/>
                  </a:schemeClr>
                </a:solidFill>
              </a:defRPr>
            </a:lvl4pPr>
            <a:lvl5pPr marL="2085031" indent="0">
              <a:buNone/>
              <a:defRPr sz="1824">
                <a:solidFill>
                  <a:schemeClr val="tx1">
                    <a:tint val="75000"/>
                  </a:schemeClr>
                </a:solidFill>
              </a:defRPr>
            </a:lvl5pPr>
            <a:lvl6pPr marL="2606285" indent="0">
              <a:buNone/>
              <a:defRPr sz="1824">
                <a:solidFill>
                  <a:schemeClr val="tx1">
                    <a:tint val="75000"/>
                  </a:schemeClr>
                </a:solidFill>
              </a:defRPr>
            </a:lvl6pPr>
            <a:lvl7pPr marL="3127543" indent="0">
              <a:buNone/>
              <a:defRPr sz="1824">
                <a:solidFill>
                  <a:schemeClr val="tx1">
                    <a:tint val="75000"/>
                  </a:schemeClr>
                </a:solidFill>
              </a:defRPr>
            </a:lvl7pPr>
            <a:lvl8pPr marL="3648803" indent="0">
              <a:buNone/>
              <a:defRPr sz="1824">
                <a:solidFill>
                  <a:schemeClr val="tx1">
                    <a:tint val="75000"/>
                  </a:schemeClr>
                </a:solidFill>
              </a:defRPr>
            </a:lvl8pPr>
            <a:lvl9pPr marL="4170060" indent="0">
              <a:buNone/>
              <a:defRPr sz="1824">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BE"/>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9F5F79E4-174E-4D15-B5B9-2923F86E0116}" type="slidenum">
              <a:rPr lang="en-BE" smtClean="0"/>
              <a:t>‹#›</a:t>
            </a:fld>
            <a:endParaRPr lang="en-BE"/>
          </a:p>
        </p:txBody>
      </p:sp>
      <p:sp>
        <p:nvSpPr>
          <p:cNvPr id="19" name="Title 18">
            <a:extLst>
              <a:ext uri="{FF2B5EF4-FFF2-40B4-BE49-F238E27FC236}">
                <a16:creationId xmlns:a16="http://schemas.microsoft.com/office/drawing/2014/main" id="{B47DF7D0-E13C-497A-8A71-C5A8B4D7F67C}"/>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263929261"/>
      </p:ext>
    </p:extLst>
  </p:cSld>
  <p:clrMapOvr>
    <a:masterClrMapping/>
  </p:clrMapOvr>
  <p:transition>
    <p:fade/>
  </p:transition>
  <p:extLst>
    <p:ext uri="{DCECCB84-F9BA-43D5-87BE-67443E8EF086}">
      <p15:sldGuideLst xmlns:p15="http://schemas.microsoft.com/office/powerpoint/2012/main">
        <p15:guide id="1" pos="415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End slide white">
    <p:spTree>
      <p:nvGrpSpPr>
        <p:cNvPr id="1" name=""/>
        <p:cNvGrpSpPr/>
        <p:nvPr/>
      </p:nvGrpSpPr>
      <p:grpSpPr>
        <a:xfrm>
          <a:off x="0" y="0"/>
          <a:ext cx="0" cy="0"/>
          <a:chOff x="0" y="0"/>
          <a:chExt cx="0" cy="0"/>
        </a:xfrm>
      </p:grpSpPr>
      <p:sp>
        <p:nvSpPr>
          <p:cNvPr id="7" name="Rectangle 6"/>
          <p:cNvSpPr/>
          <p:nvPr/>
        </p:nvSpPr>
        <p:spPr bwMode="white">
          <a:xfrm>
            <a:off x="143339" y="6237312"/>
            <a:ext cx="11905323" cy="5760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841" tIns="54420" rIns="108841" bIns="54420" rtlCol="0" anchor="ctr"/>
          <a:lstStyle/>
          <a:p>
            <a:pPr algn="ctr"/>
            <a:endParaRPr lang="en-US" sz="3200"/>
          </a:p>
        </p:txBody>
      </p:sp>
      <p:pic>
        <p:nvPicPr>
          <p:cNvPr id="3" name="Picture 6">
            <a:extLst>
              <a:ext uri="{FF2B5EF4-FFF2-40B4-BE49-F238E27FC236}">
                <a16:creationId xmlns:a16="http://schemas.microsoft.com/office/drawing/2014/main" id="{D2D99289-1788-4094-95D8-16BE8E42F89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317471" y="2447783"/>
            <a:ext cx="1526003" cy="1939933"/>
          </a:xfrm>
          <a:prstGeom prst="rect">
            <a:avLst/>
          </a:prstGeom>
          <a:ln>
            <a:noFill/>
          </a:ln>
        </p:spPr>
      </p:pic>
    </p:spTree>
    <p:extLst>
      <p:ext uri="{BB962C8B-B14F-4D97-AF65-F5344CB8AC3E}">
        <p14:creationId xmlns:p14="http://schemas.microsoft.com/office/powerpoint/2010/main" val="332675796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806139"/>
            <a:ext cx="9144001" cy="3245724"/>
          </a:xfrm>
        </p:spPr>
        <p:txBody>
          <a:bodyPr anchor="ctr"/>
          <a:lstStyle>
            <a:lvl1pPr algn="ctr">
              <a:defRPr sz="4000"/>
            </a:lvl1pPr>
          </a:lstStyle>
          <a:p>
            <a:r>
              <a:rPr lang="en-US"/>
              <a:t>Click to edit Master title style</a:t>
            </a:r>
            <a:endParaRPr lang="en-US" dirty="0"/>
          </a:p>
        </p:txBody>
      </p:sp>
      <p:sp>
        <p:nvSpPr>
          <p:cNvPr id="3" name="Subtitle 2"/>
          <p:cNvSpPr>
            <a:spLocks noGrp="1"/>
          </p:cNvSpPr>
          <p:nvPr>
            <p:ph type="subTitle" idx="1"/>
          </p:nvPr>
        </p:nvSpPr>
        <p:spPr>
          <a:xfrm>
            <a:off x="1524000" y="5714325"/>
            <a:ext cx="9144001" cy="453754"/>
          </a:xfrm>
        </p:spPr>
        <p:txBody>
          <a:bodyPr/>
          <a:lstStyle>
            <a:lvl1pPr marL="0" indent="0" algn="ctr">
              <a:buNone/>
              <a:defRPr sz="2400">
                <a:solidFill>
                  <a:schemeClr val="tx2"/>
                </a:solidFill>
              </a:defRPr>
            </a:lvl1pPr>
            <a:lvl2pPr marL="521258" indent="0" algn="ctr">
              <a:buNone/>
              <a:defRPr sz="2280"/>
            </a:lvl2pPr>
            <a:lvl3pPr marL="1042512" indent="0" algn="ctr">
              <a:buNone/>
              <a:defRPr sz="2052"/>
            </a:lvl3pPr>
            <a:lvl4pPr marL="1563773" indent="0" algn="ctr">
              <a:buNone/>
              <a:defRPr sz="1824"/>
            </a:lvl4pPr>
            <a:lvl5pPr marL="2085031" indent="0" algn="ctr">
              <a:buNone/>
              <a:defRPr sz="1824"/>
            </a:lvl5pPr>
            <a:lvl6pPr marL="2606285" indent="0" algn="ctr">
              <a:buNone/>
              <a:defRPr sz="1824"/>
            </a:lvl6pPr>
            <a:lvl7pPr marL="3127543" indent="0" algn="ctr">
              <a:buNone/>
              <a:defRPr sz="1824"/>
            </a:lvl7pPr>
            <a:lvl8pPr marL="3648803" indent="0" algn="ctr">
              <a:buNone/>
              <a:defRPr sz="1824"/>
            </a:lvl8pPr>
            <a:lvl9pPr marL="4170060" indent="0" algn="ctr">
              <a:buNone/>
              <a:defRPr sz="1824"/>
            </a:lvl9pPr>
          </a:lstStyle>
          <a:p>
            <a:r>
              <a:rPr lang="en-US"/>
              <a:t>Click to edit Master subtitle style</a:t>
            </a:r>
            <a:endParaRPr lang="en-US" dirty="0"/>
          </a:p>
        </p:txBody>
      </p:sp>
      <p:grpSp>
        <p:nvGrpSpPr>
          <p:cNvPr id="7" name="Group 4">
            <a:extLst>
              <a:ext uri="{FF2B5EF4-FFF2-40B4-BE49-F238E27FC236}">
                <a16:creationId xmlns:a16="http://schemas.microsoft.com/office/drawing/2014/main" id="{70F54715-A93F-4896-93D9-0F87EC2FA633}"/>
              </a:ext>
            </a:extLst>
          </p:cNvPr>
          <p:cNvGrpSpPr>
            <a:grpSpLocks noChangeAspect="1"/>
          </p:cNvGrpSpPr>
          <p:nvPr/>
        </p:nvGrpSpPr>
        <p:grpSpPr bwMode="auto">
          <a:xfrm>
            <a:off x="5155508" y="685816"/>
            <a:ext cx="1880984" cy="458559"/>
            <a:chOff x="2071" y="1578"/>
            <a:chExt cx="2587" cy="631"/>
          </a:xfrm>
          <a:gradFill>
            <a:gsLst>
              <a:gs pos="50000">
                <a:srgbClr val="00E487"/>
              </a:gs>
              <a:gs pos="100000">
                <a:srgbClr val="1ECBD0"/>
              </a:gs>
            </a:gsLst>
            <a:lin ang="18900000" scaled="0"/>
          </a:gradFill>
        </p:grpSpPr>
        <p:sp>
          <p:nvSpPr>
            <p:cNvPr id="8" name="Freeform 5">
              <a:extLst>
                <a:ext uri="{FF2B5EF4-FFF2-40B4-BE49-F238E27FC236}">
                  <a16:creationId xmlns:a16="http://schemas.microsoft.com/office/drawing/2014/main" id="{846B7DFA-C5E8-4F62-AD8D-4DEE7917FD7D}"/>
                </a:ext>
              </a:extLst>
            </p:cNvPr>
            <p:cNvSpPr>
              <a:spLocks/>
            </p:cNvSpPr>
            <p:nvPr/>
          </p:nvSpPr>
          <p:spPr bwMode="auto">
            <a:xfrm>
              <a:off x="2765" y="1728"/>
              <a:ext cx="244" cy="318"/>
            </a:xfrm>
            <a:custGeom>
              <a:avLst/>
              <a:gdLst>
                <a:gd name="T0" fmla="*/ 12 w 129"/>
                <a:gd name="T1" fmla="*/ 0 h 168"/>
                <a:gd name="T2" fmla="*/ 8 w 129"/>
                <a:gd name="T3" fmla="*/ 4 h 168"/>
                <a:gd name="T4" fmla="*/ 8 w 129"/>
                <a:gd name="T5" fmla="*/ 25 h 168"/>
                <a:gd name="T6" fmla="*/ 12 w 129"/>
                <a:gd name="T7" fmla="*/ 29 h 168"/>
                <a:gd name="T8" fmla="*/ 48 w 129"/>
                <a:gd name="T9" fmla="*/ 29 h 168"/>
                <a:gd name="T10" fmla="*/ 48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2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2" y="0"/>
                  </a:moveTo>
                  <a:cubicBezTo>
                    <a:pt x="9" y="0"/>
                    <a:pt x="8" y="1"/>
                    <a:pt x="8" y="4"/>
                  </a:cubicBezTo>
                  <a:cubicBezTo>
                    <a:pt x="8" y="25"/>
                    <a:pt x="8" y="25"/>
                    <a:pt x="8" y="25"/>
                  </a:cubicBezTo>
                  <a:cubicBezTo>
                    <a:pt x="8" y="27"/>
                    <a:pt x="9" y="29"/>
                    <a:pt x="12" y="29"/>
                  </a:cubicBezTo>
                  <a:cubicBezTo>
                    <a:pt x="48" y="29"/>
                    <a:pt x="48" y="29"/>
                    <a:pt x="48" y="29"/>
                  </a:cubicBezTo>
                  <a:cubicBezTo>
                    <a:pt x="48" y="140"/>
                    <a:pt x="48" y="140"/>
                    <a:pt x="48"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8" y="140"/>
                    <a:pt x="125" y="140"/>
                  </a:cubicBezTo>
                  <a:cubicBezTo>
                    <a:pt x="76" y="140"/>
                    <a:pt x="76" y="140"/>
                    <a:pt x="76" y="140"/>
                  </a:cubicBezTo>
                  <a:cubicBezTo>
                    <a:pt x="76" y="4"/>
                    <a:pt x="76" y="4"/>
                    <a:pt x="76" y="4"/>
                  </a:cubicBezTo>
                  <a:cubicBezTo>
                    <a:pt x="76" y="1"/>
                    <a:pt x="75" y="0"/>
                    <a:pt x="72" y="0"/>
                  </a:cubicBez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9" name="Freeform 6">
              <a:extLst>
                <a:ext uri="{FF2B5EF4-FFF2-40B4-BE49-F238E27FC236}">
                  <a16:creationId xmlns:a16="http://schemas.microsoft.com/office/drawing/2014/main" id="{6ABD64B8-C9CA-4D12-BB30-52ABBBA59E99}"/>
                </a:ext>
              </a:extLst>
            </p:cNvPr>
            <p:cNvSpPr>
              <a:spLocks/>
            </p:cNvSpPr>
            <p:nvPr/>
          </p:nvSpPr>
          <p:spPr bwMode="auto">
            <a:xfrm>
              <a:off x="3798" y="1728"/>
              <a:ext cx="244" cy="318"/>
            </a:xfrm>
            <a:custGeom>
              <a:avLst/>
              <a:gdLst>
                <a:gd name="T0" fmla="*/ 11 w 129"/>
                <a:gd name="T1" fmla="*/ 0 h 168"/>
                <a:gd name="T2" fmla="*/ 8 w 129"/>
                <a:gd name="T3" fmla="*/ 4 h 168"/>
                <a:gd name="T4" fmla="*/ 8 w 129"/>
                <a:gd name="T5" fmla="*/ 25 h 168"/>
                <a:gd name="T6" fmla="*/ 11 w 129"/>
                <a:gd name="T7" fmla="*/ 29 h 168"/>
                <a:gd name="T8" fmla="*/ 47 w 129"/>
                <a:gd name="T9" fmla="*/ 29 h 168"/>
                <a:gd name="T10" fmla="*/ 47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1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1" y="0"/>
                  </a:moveTo>
                  <a:cubicBezTo>
                    <a:pt x="9" y="0"/>
                    <a:pt x="8" y="1"/>
                    <a:pt x="8" y="4"/>
                  </a:cubicBezTo>
                  <a:cubicBezTo>
                    <a:pt x="8" y="25"/>
                    <a:pt x="8" y="25"/>
                    <a:pt x="8" y="25"/>
                  </a:cubicBezTo>
                  <a:cubicBezTo>
                    <a:pt x="8" y="27"/>
                    <a:pt x="9" y="29"/>
                    <a:pt x="11" y="29"/>
                  </a:cubicBezTo>
                  <a:cubicBezTo>
                    <a:pt x="47" y="29"/>
                    <a:pt x="47" y="29"/>
                    <a:pt x="47" y="29"/>
                  </a:cubicBezTo>
                  <a:cubicBezTo>
                    <a:pt x="47" y="140"/>
                    <a:pt x="47" y="140"/>
                    <a:pt x="47"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7" y="140"/>
                    <a:pt x="125" y="140"/>
                  </a:cubicBezTo>
                  <a:cubicBezTo>
                    <a:pt x="76" y="140"/>
                    <a:pt x="76" y="140"/>
                    <a:pt x="76" y="140"/>
                  </a:cubicBezTo>
                  <a:cubicBezTo>
                    <a:pt x="76" y="4"/>
                    <a:pt x="76" y="4"/>
                    <a:pt x="76" y="4"/>
                  </a:cubicBezTo>
                  <a:cubicBezTo>
                    <a:pt x="75" y="1"/>
                    <a:pt x="74" y="0"/>
                    <a:pt x="72" y="0"/>
                  </a:cubicBez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10" name="Freeform 7">
              <a:extLst>
                <a:ext uri="{FF2B5EF4-FFF2-40B4-BE49-F238E27FC236}">
                  <a16:creationId xmlns:a16="http://schemas.microsoft.com/office/drawing/2014/main" id="{B038732F-5EB5-436D-B40F-847E37FC0954}"/>
                </a:ext>
              </a:extLst>
            </p:cNvPr>
            <p:cNvSpPr>
              <a:spLocks/>
            </p:cNvSpPr>
            <p:nvPr/>
          </p:nvSpPr>
          <p:spPr bwMode="auto">
            <a:xfrm>
              <a:off x="4361" y="1728"/>
              <a:ext cx="297" cy="464"/>
            </a:xfrm>
            <a:custGeom>
              <a:avLst/>
              <a:gdLst>
                <a:gd name="T0" fmla="*/ 132 w 157"/>
                <a:gd name="T1" fmla="*/ 0 h 245"/>
                <a:gd name="T2" fmla="*/ 127 w 157"/>
                <a:gd name="T3" fmla="*/ 3 h 245"/>
                <a:gd name="T4" fmla="*/ 127 w 157"/>
                <a:gd name="T5" fmla="*/ 3 h 245"/>
                <a:gd name="T6" fmla="*/ 79 w 157"/>
                <a:gd name="T7" fmla="*/ 128 h 245"/>
                <a:gd name="T8" fmla="*/ 30 w 157"/>
                <a:gd name="T9" fmla="*/ 4 h 245"/>
                <a:gd name="T10" fmla="*/ 25 w 157"/>
                <a:gd name="T11" fmla="*/ 0 h 245"/>
                <a:gd name="T12" fmla="*/ 4 w 157"/>
                <a:gd name="T13" fmla="*/ 0 h 245"/>
                <a:gd name="T14" fmla="*/ 0 w 157"/>
                <a:gd name="T15" fmla="*/ 3 h 245"/>
                <a:gd name="T16" fmla="*/ 1 w 157"/>
                <a:gd name="T17" fmla="*/ 6 h 245"/>
                <a:gd name="T18" fmla="*/ 1 w 157"/>
                <a:gd name="T19" fmla="*/ 6 h 245"/>
                <a:gd name="T20" fmla="*/ 1 w 157"/>
                <a:gd name="T21" fmla="*/ 6 h 245"/>
                <a:gd name="T22" fmla="*/ 64 w 157"/>
                <a:gd name="T23" fmla="*/ 168 h 245"/>
                <a:gd name="T24" fmla="*/ 59 w 157"/>
                <a:gd name="T25" fmla="*/ 182 h 245"/>
                <a:gd name="T26" fmla="*/ 48 w 157"/>
                <a:gd name="T27" fmla="*/ 205 h 245"/>
                <a:gd name="T28" fmla="*/ 38 w 157"/>
                <a:gd name="T29" fmla="*/ 215 h 245"/>
                <a:gd name="T30" fmla="*/ 30 w 157"/>
                <a:gd name="T31" fmla="*/ 217 h 245"/>
                <a:gd name="T32" fmla="*/ 26 w 157"/>
                <a:gd name="T33" fmla="*/ 216 h 245"/>
                <a:gd name="T34" fmla="*/ 14 w 157"/>
                <a:gd name="T35" fmla="*/ 213 h 245"/>
                <a:gd name="T36" fmla="*/ 7 w 157"/>
                <a:gd name="T37" fmla="*/ 210 h 245"/>
                <a:gd name="T38" fmla="*/ 3 w 157"/>
                <a:gd name="T39" fmla="*/ 215 h 245"/>
                <a:gd name="T40" fmla="*/ 3 w 157"/>
                <a:gd name="T41" fmla="*/ 233 h 245"/>
                <a:gd name="T42" fmla="*/ 3 w 157"/>
                <a:gd name="T43" fmla="*/ 233 h 245"/>
                <a:gd name="T44" fmla="*/ 7 w 157"/>
                <a:gd name="T45" fmla="*/ 240 h 245"/>
                <a:gd name="T46" fmla="*/ 32 w 157"/>
                <a:gd name="T47" fmla="*/ 245 h 245"/>
                <a:gd name="T48" fmla="*/ 54 w 157"/>
                <a:gd name="T49" fmla="*/ 238 h 245"/>
                <a:gd name="T50" fmla="*/ 73 w 157"/>
                <a:gd name="T51" fmla="*/ 220 h 245"/>
                <a:gd name="T52" fmla="*/ 79 w 157"/>
                <a:gd name="T53" fmla="*/ 208 h 245"/>
                <a:gd name="T54" fmla="*/ 156 w 157"/>
                <a:gd name="T55" fmla="*/ 6 h 245"/>
                <a:gd name="T56" fmla="*/ 157 w 157"/>
                <a:gd name="T57" fmla="*/ 3 h 245"/>
                <a:gd name="T58" fmla="*/ 153 w 157"/>
                <a:gd name="T59" fmla="*/ 0 h 245"/>
                <a:gd name="T60" fmla="*/ 132 w 157"/>
                <a:gd name="T6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7" h="245">
                  <a:moveTo>
                    <a:pt x="132" y="0"/>
                  </a:moveTo>
                  <a:cubicBezTo>
                    <a:pt x="129" y="0"/>
                    <a:pt x="128" y="1"/>
                    <a:pt x="127" y="3"/>
                  </a:cubicBezTo>
                  <a:cubicBezTo>
                    <a:pt x="127" y="3"/>
                    <a:pt x="127" y="3"/>
                    <a:pt x="127" y="3"/>
                  </a:cubicBezTo>
                  <a:cubicBezTo>
                    <a:pt x="79" y="128"/>
                    <a:pt x="79" y="128"/>
                    <a:pt x="79" y="128"/>
                  </a:cubicBezTo>
                  <a:cubicBezTo>
                    <a:pt x="30" y="4"/>
                    <a:pt x="30" y="4"/>
                    <a:pt x="30" y="4"/>
                  </a:cubicBezTo>
                  <a:cubicBezTo>
                    <a:pt x="29" y="1"/>
                    <a:pt x="28" y="0"/>
                    <a:pt x="25" y="0"/>
                  </a:cubicBezTo>
                  <a:cubicBezTo>
                    <a:pt x="4" y="0"/>
                    <a:pt x="4" y="0"/>
                    <a:pt x="4" y="0"/>
                  </a:cubicBezTo>
                  <a:cubicBezTo>
                    <a:pt x="2" y="0"/>
                    <a:pt x="0" y="1"/>
                    <a:pt x="0" y="3"/>
                  </a:cubicBezTo>
                  <a:cubicBezTo>
                    <a:pt x="0" y="4"/>
                    <a:pt x="1" y="5"/>
                    <a:pt x="1" y="6"/>
                  </a:cubicBezTo>
                  <a:cubicBezTo>
                    <a:pt x="1" y="6"/>
                    <a:pt x="1" y="6"/>
                    <a:pt x="1" y="6"/>
                  </a:cubicBezTo>
                  <a:cubicBezTo>
                    <a:pt x="1" y="6"/>
                    <a:pt x="1" y="6"/>
                    <a:pt x="1" y="6"/>
                  </a:cubicBezTo>
                  <a:cubicBezTo>
                    <a:pt x="64" y="168"/>
                    <a:pt x="64" y="168"/>
                    <a:pt x="64" y="168"/>
                  </a:cubicBezTo>
                  <a:cubicBezTo>
                    <a:pt x="59" y="182"/>
                    <a:pt x="59" y="182"/>
                    <a:pt x="59" y="182"/>
                  </a:cubicBezTo>
                  <a:cubicBezTo>
                    <a:pt x="57" y="187"/>
                    <a:pt x="53" y="199"/>
                    <a:pt x="48" y="205"/>
                  </a:cubicBezTo>
                  <a:cubicBezTo>
                    <a:pt x="44" y="211"/>
                    <a:pt x="42" y="213"/>
                    <a:pt x="38" y="215"/>
                  </a:cubicBezTo>
                  <a:cubicBezTo>
                    <a:pt x="35" y="216"/>
                    <a:pt x="33" y="217"/>
                    <a:pt x="30" y="217"/>
                  </a:cubicBezTo>
                  <a:cubicBezTo>
                    <a:pt x="28" y="217"/>
                    <a:pt x="27" y="217"/>
                    <a:pt x="26" y="216"/>
                  </a:cubicBezTo>
                  <a:cubicBezTo>
                    <a:pt x="22" y="216"/>
                    <a:pt x="18" y="214"/>
                    <a:pt x="14" y="213"/>
                  </a:cubicBezTo>
                  <a:cubicBezTo>
                    <a:pt x="11" y="212"/>
                    <a:pt x="9" y="210"/>
                    <a:pt x="7" y="210"/>
                  </a:cubicBezTo>
                  <a:cubicBezTo>
                    <a:pt x="5" y="210"/>
                    <a:pt x="3" y="212"/>
                    <a:pt x="3" y="215"/>
                  </a:cubicBezTo>
                  <a:cubicBezTo>
                    <a:pt x="3" y="233"/>
                    <a:pt x="3" y="233"/>
                    <a:pt x="3" y="233"/>
                  </a:cubicBezTo>
                  <a:cubicBezTo>
                    <a:pt x="3" y="233"/>
                    <a:pt x="3" y="233"/>
                    <a:pt x="3" y="233"/>
                  </a:cubicBezTo>
                  <a:cubicBezTo>
                    <a:pt x="3" y="236"/>
                    <a:pt x="4" y="238"/>
                    <a:pt x="7" y="240"/>
                  </a:cubicBezTo>
                  <a:cubicBezTo>
                    <a:pt x="15" y="243"/>
                    <a:pt x="21" y="245"/>
                    <a:pt x="32" y="245"/>
                  </a:cubicBezTo>
                  <a:cubicBezTo>
                    <a:pt x="41" y="244"/>
                    <a:pt x="47" y="242"/>
                    <a:pt x="54" y="238"/>
                  </a:cubicBezTo>
                  <a:cubicBezTo>
                    <a:pt x="61" y="233"/>
                    <a:pt x="67" y="227"/>
                    <a:pt x="73" y="220"/>
                  </a:cubicBezTo>
                  <a:cubicBezTo>
                    <a:pt x="75" y="216"/>
                    <a:pt x="77" y="212"/>
                    <a:pt x="79" y="208"/>
                  </a:cubicBezTo>
                  <a:cubicBezTo>
                    <a:pt x="83" y="200"/>
                    <a:pt x="144" y="40"/>
                    <a:pt x="156" y="6"/>
                  </a:cubicBezTo>
                  <a:cubicBezTo>
                    <a:pt x="157" y="5"/>
                    <a:pt x="157" y="4"/>
                    <a:pt x="157" y="3"/>
                  </a:cubicBezTo>
                  <a:cubicBezTo>
                    <a:pt x="157" y="1"/>
                    <a:pt x="155" y="0"/>
                    <a:pt x="153" y="0"/>
                  </a:cubicBezTo>
                  <a:lnTo>
                    <a:pt x="1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11" name="Freeform 8">
              <a:extLst>
                <a:ext uri="{FF2B5EF4-FFF2-40B4-BE49-F238E27FC236}">
                  <a16:creationId xmlns:a16="http://schemas.microsoft.com/office/drawing/2014/main" id="{B2C29C81-DF56-4D2E-89D6-7B7333393C3E}"/>
                </a:ext>
              </a:extLst>
            </p:cNvPr>
            <p:cNvSpPr>
              <a:spLocks/>
            </p:cNvSpPr>
            <p:nvPr/>
          </p:nvSpPr>
          <p:spPr bwMode="auto">
            <a:xfrm>
              <a:off x="3457" y="1726"/>
              <a:ext cx="263" cy="322"/>
            </a:xfrm>
            <a:custGeom>
              <a:avLst/>
              <a:gdLst>
                <a:gd name="T0" fmla="*/ 28 w 139"/>
                <a:gd name="T1" fmla="*/ 21 h 170"/>
                <a:gd name="T2" fmla="*/ 28 w 139"/>
                <a:gd name="T3" fmla="*/ 6 h 170"/>
                <a:gd name="T4" fmla="*/ 25 w 139"/>
                <a:gd name="T5" fmla="*/ 3 h 170"/>
                <a:gd name="T6" fmla="*/ 4 w 139"/>
                <a:gd name="T7" fmla="*/ 3 h 170"/>
                <a:gd name="T8" fmla="*/ 0 w 139"/>
                <a:gd name="T9" fmla="*/ 6 h 170"/>
                <a:gd name="T10" fmla="*/ 0 w 139"/>
                <a:gd name="T11" fmla="*/ 167 h 170"/>
                <a:gd name="T12" fmla="*/ 4 w 139"/>
                <a:gd name="T13" fmla="*/ 170 h 170"/>
                <a:gd name="T14" fmla="*/ 25 w 139"/>
                <a:gd name="T15" fmla="*/ 170 h 170"/>
                <a:gd name="T16" fmla="*/ 28 w 139"/>
                <a:gd name="T17" fmla="*/ 167 h 170"/>
                <a:gd name="T18" fmla="*/ 28 w 139"/>
                <a:gd name="T19" fmla="*/ 68 h 170"/>
                <a:gd name="T20" fmla="*/ 70 w 139"/>
                <a:gd name="T21" fmla="*/ 28 h 170"/>
                <a:gd name="T22" fmla="*/ 111 w 139"/>
                <a:gd name="T23" fmla="*/ 68 h 170"/>
                <a:gd name="T24" fmla="*/ 111 w 139"/>
                <a:gd name="T25" fmla="*/ 167 h 170"/>
                <a:gd name="T26" fmla="*/ 111 w 139"/>
                <a:gd name="T27" fmla="*/ 167 h 170"/>
                <a:gd name="T28" fmla="*/ 114 w 139"/>
                <a:gd name="T29" fmla="*/ 170 h 170"/>
                <a:gd name="T30" fmla="*/ 136 w 139"/>
                <a:gd name="T31" fmla="*/ 170 h 170"/>
                <a:gd name="T32" fmla="*/ 139 w 139"/>
                <a:gd name="T33" fmla="*/ 167 h 170"/>
                <a:gd name="T34" fmla="*/ 139 w 139"/>
                <a:gd name="T35" fmla="*/ 68 h 170"/>
                <a:gd name="T36" fmla="*/ 139 w 139"/>
                <a:gd name="T37" fmla="*/ 68 h 170"/>
                <a:gd name="T38" fmla="*/ 139 w 139"/>
                <a:gd name="T39" fmla="*/ 68 h 170"/>
                <a:gd name="T40" fmla="*/ 120 w 139"/>
                <a:gd name="T41" fmla="*/ 20 h 170"/>
                <a:gd name="T42" fmla="*/ 70 w 139"/>
                <a:gd name="T43" fmla="*/ 0 h 170"/>
                <a:gd name="T44" fmla="*/ 28 w 139"/>
                <a:gd name="T45" fmla="*/ 2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170">
                  <a:moveTo>
                    <a:pt x="28" y="21"/>
                  </a:moveTo>
                  <a:cubicBezTo>
                    <a:pt x="28" y="6"/>
                    <a:pt x="28" y="6"/>
                    <a:pt x="28" y="6"/>
                  </a:cubicBezTo>
                  <a:cubicBezTo>
                    <a:pt x="28" y="4"/>
                    <a:pt x="27" y="3"/>
                    <a:pt x="25" y="3"/>
                  </a:cubicBezTo>
                  <a:cubicBezTo>
                    <a:pt x="4" y="3"/>
                    <a:pt x="4" y="3"/>
                    <a:pt x="4" y="3"/>
                  </a:cubicBezTo>
                  <a:cubicBezTo>
                    <a:pt x="1" y="3"/>
                    <a:pt x="0" y="4"/>
                    <a:pt x="0" y="6"/>
                  </a:cubicBezTo>
                  <a:cubicBezTo>
                    <a:pt x="0" y="167"/>
                    <a:pt x="0" y="167"/>
                    <a:pt x="0" y="167"/>
                  </a:cubicBezTo>
                  <a:cubicBezTo>
                    <a:pt x="0" y="169"/>
                    <a:pt x="1" y="170"/>
                    <a:pt x="4" y="170"/>
                  </a:cubicBezTo>
                  <a:cubicBezTo>
                    <a:pt x="25" y="170"/>
                    <a:pt x="25" y="170"/>
                    <a:pt x="25" y="170"/>
                  </a:cubicBezTo>
                  <a:cubicBezTo>
                    <a:pt x="27" y="170"/>
                    <a:pt x="28" y="169"/>
                    <a:pt x="28" y="167"/>
                  </a:cubicBezTo>
                  <a:cubicBezTo>
                    <a:pt x="28" y="68"/>
                    <a:pt x="28" y="68"/>
                    <a:pt x="28" y="68"/>
                  </a:cubicBezTo>
                  <a:cubicBezTo>
                    <a:pt x="28" y="49"/>
                    <a:pt x="42" y="28"/>
                    <a:pt x="70" y="28"/>
                  </a:cubicBezTo>
                  <a:cubicBezTo>
                    <a:pt x="97" y="28"/>
                    <a:pt x="111" y="49"/>
                    <a:pt x="111" y="68"/>
                  </a:cubicBezTo>
                  <a:cubicBezTo>
                    <a:pt x="111" y="167"/>
                    <a:pt x="111" y="167"/>
                    <a:pt x="111" y="167"/>
                  </a:cubicBezTo>
                  <a:cubicBezTo>
                    <a:pt x="111" y="167"/>
                    <a:pt x="111" y="167"/>
                    <a:pt x="111" y="167"/>
                  </a:cubicBezTo>
                  <a:cubicBezTo>
                    <a:pt x="111" y="169"/>
                    <a:pt x="112" y="170"/>
                    <a:pt x="114" y="170"/>
                  </a:cubicBezTo>
                  <a:cubicBezTo>
                    <a:pt x="136" y="170"/>
                    <a:pt x="136" y="170"/>
                    <a:pt x="136" y="170"/>
                  </a:cubicBezTo>
                  <a:cubicBezTo>
                    <a:pt x="138" y="170"/>
                    <a:pt x="139" y="169"/>
                    <a:pt x="139" y="167"/>
                  </a:cubicBezTo>
                  <a:cubicBezTo>
                    <a:pt x="139" y="68"/>
                    <a:pt x="139" y="68"/>
                    <a:pt x="139" y="68"/>
                  </a:cubicBezTo>
                  <a:cubicBezTo>
                    <a:pt x="139" y="68"/>
                    <a:pt x="139" y="68"/>
                    <a:pt x="139" y="68"/>
                  </a:cubicBezTo>
                  <a:cubicBezTo>
                    <a:pt x="139" y="68"/>
                    <a:pt x="139" y="68"/>
                    <a:pt x="139" y="68"/>
                  </a:cubicBezTo>
                  <a:cubicBezTo>
                    <a:pt x="139" y="51"/>
                    <a:pt x="133" y="35"/>
                    <a:pt x="120" y="20"/>
                  </a:cubicBezTo>
                  <a:cubicBezTo>
                    <a:pt x="109" y="7"/>
                    <a:pt x="88" y="0"/>
                    <a:pt x="70" y="0"/>
                  </a:cubicBezTo>
                  <a:cubicBezTo>
                    <a:pt x="41" y="0"/>
                    <a:pt x="28" y="21"/>
                    <a:pt x="28"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12" name="Freeform 9">
              <a:extLst>
                <a:ext uri="{FF2B5EF4-FFF2-40B4-BE49-F238E27FC236}">
                  <a16:creationId xmlns:a16="http://schemas.microsoft.com/office/drawing/2014/main" id="{B38DB0D8-2A95-458B-BC03-75E42A03A8C8}"/>
                </a:ext>
              </a:extLst>
            </p:cNvPr>
            <p:cNvSpPr>
              <a:spLocks/>
            </p:cNvSpPr>
            <p:nvPr/>
          </p:nvSpPr>
          <p:spPr bwMode="auto">
            <a:xfrm>
              <a:off x="2264" y="1724"/>
              <a:ext cx="246" cy="328"/>
            </a:xfrm>
            <a:custGeom>
              <a:avLst/>
              <a:gdLst>
                <a:gd name="T0" fmla="*/ 4 w 130"/>
                <a:gd name="T1" fmla="*/ 48 h 173"/>
                <a:gd name="T2" fmla="*/ 56 w 130"/>
                <a:gd name="T3" fmla="*/ 97 h 173"/>
                <a:gd name="T4" fmla="*/ 57 w 130"/>
                <a:gd name="T5" fmla="*/ 98 h 173"/>
                <a:gd name="T6" fmla="*/ 101 w 130"/>
                <a:gd name="T7" fmla="*/ 124 h 173"/>
                <a:gd name="T8" fmla="*/ 66 w 130"/>
                <a:gd name="T9" fmla="*/ 146 h 173"/>
                <a:gd name="T10" fmla="*/ 30 w 130"/>
                <a:gd name="T11" fmla="*/ 118 h 173"/>
                <a:gd name="T12" fmla="*/ 26 w 130"/>
                <a:gd name="T13" fmla="*/ 114 h 173"/>
                <a:gd name="T14" fmla="*/ 5 w 130"/>
                <a:gd name="T15" fmla="*/ 114 h 173"/>
                <a:gd name="T16" fmla="*/ 0 w 130"/>
                <a:gd name="T17" fmla="*/ 118 h 173"/>
                <a:gd name="T18" fmla="*/ 65 w 130"/>
                <a:gd name="T19" fmla="*/ 173 h 173"/>
                <a:gd name="T20" fmla="*/ 130 w 130"/>
                <a:gd name="T21" fmla="*/ 120 h 173"/>
                <a:gd name="T22" fmla="*/ 72 w 130"/>
                <a:gd name="T23" fmla="*/ 74 h 173"/>
                <a:gd name="T24" fmla="*/ 32 w 130"/>
                <a:gd name="T25" fmla="*/ 48 h 173"/>
                <a:gd name="T26" fmla="*/ 63 w 130"/>
                <a:gd name="T27" fmla="*/ 27 h 173"/>
                <a:gd name="T28" fmla="*/ 97 w 130"/>
                <a:gd name="T29" fmla="*/ 49 h 173"/>
                <a:gd name="T30" fmla="*/ 102 w 130"/>
                <a:gd name="T31" fmla="*/ 53 h 173"/>
                <a:gd name="T32" fmla="*/ 120 w 130"/>
                <a:gd name="T33" fmla="*/ 53 h 173"/>
                <a:gd name="T34" fmla="*/ 125 w 130"/>
                <a:gd name="T35" fmla="*/ 48 h 173"/>
                <a:gd name="T36" fmla="*/ 63 w 130"/>
                <a:gd name="T37" fmla="*/ 0 h 173"/>
                <a:gd name="T38" fmla="*/ 4 w 130"/>
                <a:gd name="T39" fmla="*/ 4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173">
                  <a:moveTo>
                    <a:pt x="4" y="48"/>
                  </a:moveTo>
                  <a:cubicBezTo>
                    <a:pt x="4" y="77"/>
                    <a:pt x="19" y="91"/>
                    <a:pt x="56" y="97"/>
                  </a:cubicBezTo>
                  <a:cubicBezTo>
                    <a:pt x="57" y="98"/>
                    <a:pt x="57" y="98"/>
                    <a:pt x="57" y="98"/>
                  </a:cubicBezTo>
                  <a:cubicBezTo>
                    <a:pt x="83" y="102"/>
                    <a:pt x="101" y="105"/>
                    <a:pt x="101" y="124"/>
                  </a:cubicBezTo>
                  <a:cubicBezTo>
                    <a:pt x="101" y="139"/>
                    <a:pt x="83" y="146"/>
                    <a:pt x="66" y="146"/>
                  </a:cubicBezTo>
                  <a:cubicBezTo>
                    <a:pt x="46" y="146"/>
                    <a:pt x="33" y="136"/>
                    <a:pt x="30" y="118"/>
                  </a:cubicBezTo>
                  <a:cubicBezTo>
                    <a:pt x="30" y="116"/>
                    <a:pt x="29" y="114"/>
                    <a:pt x="26" y="114"/>
                  </a:cubicBezTo>
                  <a:cubicBezTo>
                    <a:pt x="5" y="114"/>
                    <a:pt x="5" y="114"/>
                    <a:pt x="5" y="114"/>
                  </a:cubicBezTo>
                  <a:cubicBezTo>
                    <a:pt x="2" y="114"/>
                    <a:pt x="0" y="116"/>
                    <a:pt x="0" y="118"/>
                  </a:cubicBezTo>
                  <a:cubicBezTo>
                    <a:pt x="0" y="150"/>
                    <a:pt x="27" y="173"/>
                    <a:pt x="65" y="173"/>
                  </a:cubicBezTo>
                  <a:cubicBezTo>
                    <a:pt x="104" y="173"/>
                    <a:pt x="130" y="151"/>
                    <a:pt x="130" y="120"/>
                  </a:cubicBezTo>
                  <a:cubicBezTo>
                    <a:pt x="130" y="86"/>
                    <a:pt x="100" y="79"/>
                    <a:pt x="72" y="74"/>
                  </a:cubicBezTo>
                  <a:cubicBezTo>
                    <a:pt x="37" y="68"/>
                    <a:pt x="32" y="58"/>
                    <a:pt x="32" y="48"/>
                  </a:cubicBezTo>
                  <a:cubicBezTo>
                    <a:pt x="32" y="32"/>
                    <a:pt x="49" y="27"/>
                    <a:pt x="63" y="27"/>
                  </a:cubicBezTo>
                  <a:cubicBezTo>
                    <a:pt x="82" y="27"/>
                    <a:pt x="94" y="34"/>
                    <a:pt x="97" y="49"/>
                  </a:cubicBezTo>
                  <a:cubicBezTo>
                    <a:pt x="98" y="51"/>
                    <a:pt x="98" y="53"/>
                    <a:pt x="102" y="53"/>
                  </a:cubicBezTo>
                  <a:cubicBezTo>
                    <a:pt x="120" y="53"/>
                    <a:pt x="120" y="53"/>
                    <a:pt x="120" y="53"/>
                  </a:cubicBezTo>
                  <a:cubicBezTo>
                    <a:pt x="123" y="53"/>
                    <a:pt x="125" y="51"/>
                    <a:pt x="125" y="48"/>
                  </a:cubicBezTo>
                  <a:cubicBezTo>
                    <a:pt x="125" y="19"/>
                    <a:pt x="100" y="0"/>
                    <a:pt x="63" y="0"/>
                  </a:cubicBezTo>
                  <a:cubicBezTo>
                    <a:pt x="22" y="0"/>
                    <a:pt x="4" y="25"/>
                    <a:pt x="4" y="4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13" name="Freeform 10">
              <a:extLst>
                <a:ext uri="{FF2B5EF4-FFF2-40B4-BE49-F238E27FC236}">
                  <a16:creationId xmlns:a16="http://schemas.microsoft.com/office/drawing/2014/main" id="{285FBA9D-B6C7-4BE7-90DC-3572BFC95303}"/>
                </a:ext>
              </a:extLst>
            </p:cNvPr>
            <p:cNvSpPr>
              <a:spLocks/>
            </p:cNvSpPr>
            <p:nvPr/>
          </p:nvSpPr>
          <p:spPr bwMode="auto">
            <a:xfrm>
              <a:off x="3062" y="1722"/>
              <a:ext cx="312" cy="474"/>
            </a:xfrm>
            <a:custGeom>
              <a:avLst/>
              <a:gdLst>
                <a:gd name="T0" fmla="*/ 67 w 165"/>
                <a:gd name="T1" fmla="*/ 0 h 250"/>
                <a:gd name="T2" fmla="*/ 0 w 165"/>
                <a:gd name="T3" fmla="*/ 86 h 250"/>
                <a:gd name="T4" fmla="*/ 82 w 165"/>
                <a:gd name="T5" fmla="*/ 174 h 250"/>
                <a:gd name="T6" fmla="*/ 137 w 165"/>
                <a:gd name="T7" fmla="*/ 152 h 250"/>
                <a:gd name="T8" fmla="*/ 137 w 165"/>
                <a:gd name="T9" fmla="*/ 173 h 250"/>
                <a:gd name="T10" fmla="*/ 89 w 165"/>
                <a:gd name="T11" fmla="*/ 222 h 250"/>
                <a:gd name="T12" fmla="*/ 48 w 165"/>
                <a:gd name="T13" fmla="*/ 194 h 250"/>
                <a:gd name="T14" fmla="*/ 43 w 165"/>
                <a:gd name="T15" fmla="*/ 190 h 250"/>
                <a:gd name="T16" fmla="*/ 24 w 165"/>
                <a:gd name="T17" fmla="*/ 190 h 250"/>
                <a:gd name="T18" fmla="*/ 19 w 165"/>
                <a:gd name="T19" fmla="*/ 195 h 250"/>
                <a:gd name="T20" fmla="*/ 89 w 165"/>
                <a:gd name="T21" fmla="*/ 250 h 250"/>
                <a:gd name="T22" fmla="*/ 165 w 165"/>
                <a:gd name="T23" fmla="*/ 174 h 250"/>
                <a:gd name="T24" fmla="*/ 165 w 165"/>
                <a:gd name="T25" fmla="*/ 7 h 250"/>
                <a:gd name="T26" fmla="*/ 162 w 165"/>
                <a:gd name="T27" fmla="*/ 4 h 250"/>
                <a:gd name="T28" fmla="*/ 140 w 165"/>
                <a:gd name="T29" fmla="*/ 4 h 250"/>
                <a:gd name="T30" fmla="*/ 137 w 165"/>
                <a:gd name="T31" fmla="*/ 7 h 250"/>
                <a:gd name="T32" fmla="*/ 137 w 165"/>
                <a:gd name="T33" fmla="*/ 21 h 250"/>
                <a:gd name="T34" fmla="*/ 99 w 165"/>
                <a:gd name="T35" fmla="*/ 0 h 250"/>
                <a:gd name="T36" fmla="*/ 96 w 165"/>
                <a:gd name="T37" fmla="*/ 3 h 250"/>
                <a:gd name="T38" fmla="*/ 96 w 165"/>
                <a:gd name="T39" fmla="*/ 28 h 250"/>
                <a:gd name="T40" fmla="*/ 97 w 165"/>
                <a:gd name="T41" fmla="*/ 31 h 250"/>
                <a:gd name="T42" fmla="*/ 138 w 165"/>
                <a:gd name="T43" fmla="*/ 87 h 250"/>
                <a:gd name="T44" fmla="*/ 83 w 165"/>
                <a:gd name="T45" fmla="*/ 146 h 250"/>
                <a:gd name="T46" fmla="*/ 29 w 165"/>
                <a:gd name="T47" fmla="*/ 87 h 250"/>
                <a:gd name="T48" fmla="*/ 68 w 165"/>
                <a:gd name="T49" fmla="*/ 31 h 250"/>
                <a:gd name="T50" fmla="*/ 70 w 165"/>
                <a:gd name="T51" fmla="*/ 29 h 250"/>
                <a:gd name="T52" fmla="*/ 70 w 165"/>
                <a:gd name="T53" fmla="*/ 3 h 250"/>
                <a:gd name="T54" fmla="*/ 67 w 165"/>
                <a:gd name="T55" fmla="*/ 0 h 250"/>
                <a:gd name="T56" fmla="*/ 67 w 165"/>
                <a:gd name="T57"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5" h="250">
                  <a:moveTo>
                    <a:pt x="67" y="0"/>
                  </a:moveTo>
                  <a:cubicBezTo>
                    <a:pt x="29" y="8"/>
                    <a:pt x="0" y="44"/>
                    <a:pt x="0" y="86"/>
                  </a:cubicBezTo>
                  <a:cubicBezTo>
                    <a:pt x="0" y="135"/>
                    <a:pt x="37" y="174"/>
                    <a:pt x="82" y="174"/>
                  </a:cubicBezTo>
                  <a:cubicBezTo>
                    <a:pt x="103" y="174"/>
                    <a:pt x="122" y="166"/>
                    <a:pt x="137" y="152"/>
                  </a:cubicBezTo>
                  <a:cubicBezTo>
                    <a:pt x="137" y="173"/>
                    <a:pt x="137" y="173"/>
                    <a:pt x="137" y="173"/>
                  </a:cubicBezTo>
                  <a:cubicBezTo>
                    <a:pt x="137" y="205"/>
                    <a:pt x="120" y="222"/>
                    <a:pt x="89" y="222"/>
                  </a:cubicBezTo>
                  <a:cubicBezTo>
                    <a:pt x="66" y="222"/>
                    <a:pt x="52" y="213"/>
                    <a:pt x="48" y="194"/>
                  </a:cubicBezTo>
                  <a:cubicBezTo>
                    <a:pt x="47" y="192"/>
                    <a:pt x="46" y="190"/>
                    <a:pt x="43" y="190"/>
                  </a:cubicBezTo>
                  <a:cubicBezTo>
                    <a:pt x="24" y="190"/>
                    <a:pt x="24" y="190"/>
                    <a:pt x="24" y="190"/>
                  </a:cubicBezTo>
                  <a:cubicBezTo>
                    <a:pt x="21" y="190"/>
                    <a:pt x="19" y="192"/>
                    <a:pt x="19" y="195"/>
                  </a:cubicBezTo>
                  <a:cubicBezTo>
                    <a:pt x="22" y="228"/>
                    <a:pt x="51" y="250"/>
                    <a:pt x="89" y="250"/>
                  </a:cubicBezTo>
                  <a:cubicBezTo>
                    <a:pt x="135" y="250"/>
                    <a:pt x="165" y="219"/>
                    <a:pt x="165" y="174"/>
                  </a:cubicBezTo>
                  <a:cubicBezTo>
                    <a:pt x="165" y="7"/>
                    <a:pt x="165" y="7"/>
                    <a:pt x="165" y="7"/>
                  </a:cubicBezTo>
                  <a:cubicBezTo>
                    <a:pt x="165" y="5"/>
                    <a:pt x="164" y="4"/>
                    <a:pt x="162" y="4"/>
                  </a:cubicBezTo>
                  <a:cubicBezTo>
                    <a:pt x="140" y="4"/>
                    <a:pt x="140" y="4"/>
                    <a:pt x="140" y="4"/>
                  </a:cubicBezTo>
                  <a:cubicBezTo>
                    <a:pt x="138" y="4"/>
                    <a:pt x="137" y="5"/>
                    <a:pt x="137" y="7"/>
                  </a:cubicBezTo>
                  <a:cubicBezTo>
                    <a:pt x="137" y="21"/>
                    <a:pt x="137" y="21"/>
                    <a:pt x="137" y="21"/>
                  </a:cubicBezTo>
                  <a:cubicBezTo>
                    <a:pt x="126" y="11"/>
                    <a:pt x="113" y="4"/>
                    <a:pt x="99" y="0"/>
                  </a:cubicBezTo>
                  <a:cubicBezTo>
                    <a:pt x="97" y="0"/>
                    <a:pt x="96" y="1"/>
                    <a:pt x="96" y="3"/>
                  </a:cubicBezTo>
                  <a:cubicBezTo>
                    <a:pt x="96" y="28"/>
                    <a:pt x="96" y="28"/>
                    <a:pt x="96" y="28"/>
                  </a:cubicBezTo>
                  <a:cubicBezTo>
                    <a:pt x="96" y="29"/>
                    <a:pt x="96" y="30"/>
                    <a:pt x="97" y="31"/>
                  </a:cubicBezTo>
                  <a:cubicBezTo>
                    <a:pt x="121" y="37"/>
                    <a:pt x="138" y="60"/>
                    <a:pt x="138" y="87"/>
                  </a:cubicBezTo>
                  <a:cubicBezTo>
                    <a:pt x="138" y="119"/>
                    <a:pt x="114" y="146"/>
                    <a:pt x="83" y="146"/>
                  </a:cubicBezTo>
                  <a:cubicBezTo>
                    <a:pt x="53" y="146"/>
                    <a:pt x="29" y="119"/>
                    <a:pt x="29" y="87"/>
                  </a:cubicBezTo>
                  <a:cubicBezTo>
                    <a:pt x="29" y="61"/>
                    <a:pt x="45" y="38"/>
                    <a:pt x="68" y="31"/>
                  </a:cubicBezTo>
                  <a:cubicBezTo>
                    <a:pt x="69" y="31"/>
                    <a:pt x="70" y="30"/>
                    <a:pt x="70" y="29"/>
                  </a:cubicBezTo>
                  <a:cubicBezTo>
                    <a:pt x="70" y="3"/>
                    <a:pt x="70" y="3"/>
                    <a:pt x="70" y="3"/>
                  </a:cubicBezTo>
                  <a:cubicBezTo>
                    <a:pt x="70" y="1"/>
                    <a:pt x="69" y="0"/>
                    <a:pt x="67" y="0"/>
                  </a:cubicBezTo>
                  <a:cubicBezTo>
                    <a:pt x="67" y="0"/>
                    <a:pt x="67" y="0"/>
                    <a:pt x="6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14" name="Oval 11">
              <a:extLst>
                <a:ext uri="{FF2B5EF4-FFF2-40B4-BE49-F238E27FC236}">
                  <a16:creationId xmlns:a16="http://schemas.microsoft.com/office/drawing/2014/main" id="{48DD9144-12C1-4B89-9F6D-92B4361D96B3}"/>
                </a:ext>
              </a:extLst>
            </p:cNvPr>
            <p:cNvSpPr>
              <a:spLocks noChangeArrowheads="1"/>
            </p:cNvSpPr>
            <p:nvPr/>
          </p:nvSpPr>
          <p:spPr bwMode="auto">
            <a:xfrm>
              <a:off x="284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15" name="Oval 12">
              <a:extLst>
                <a:ext uri="{FF2B5EF4-FFF2-40B4-BE49-F238E27FC236}">
                  <a16:creationId xmlns:a16="http://schemas.microsoft.com/office/drawing/2014/main" id="{01B98C09-7AAE-43C7-82DE-9DB278B02F42}"/>
                </a:ext>
              </a:extLst>
            </p:cNvPr>
            <p:cNvSpPr>
              <a:spLocks noChangeArrowheads="1"/>
            </p:cNvSpPr>
            <p:nvPr/>
          </p:nvSpPr>
          <p:spPr bwMode="auto">
            <a:xfrm>
              <a:off x="387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16" name="Freeform 13">
              <a:extLst>
                <a:ext uri="{FF2B5EF4-FFF2-40B4-BE49-F238E27FC236}">
                  <a16:creationId xmlns:a16="http://schemas.microsoft.com/office/drawing/2014/main" id="{DF4FD3F7-7AD2-4CA4-8D7C-34E6C136A5E6}"/>
                </a:ext>
              </a:extLst>
            </p:cNvPr>
            <p:cNvSpPr>
              <a:spLocks/>
            </p:cNvSpPr>
            <p:nvPr/>
          </p:nvSpPr>
          <p:spPr bwMode="auto">
            <a:xfrm>
              <a:off x="4062" y="1584"/>
              <a:ext cx="242" cy="462"/>
            </a:xfrm>
            <a:custGeom>
              <a:avLst/>
              <a:gdLst>
                <a:gd name="T0" fmla="*/ 39 w 128"/>
                <a:gd name="T1" fmla="*/ 55 h 244"/>
                <a:gd name="T2" fmla="*/ 39 w 128"/>
                <a:gd name="T3" fmla="*/ 76 h 244"/>
                <a:gd name="T4" fmla="*/ 4 w 128"/>
                <a:gd name="T5" fmla="*/ 76 h 244"/>
                <a:gd name="T6" fmla="*/ 0 w 128"/>
                <a:gd name="T7" fmla="*/ 81 h 244"/>
                <a:gd name="T8" fmla="*/ 0 w 128"/>
                <a:gd name="T9" fmla="*/ 99 h 244"/>
                <a:gd name="T10" fmla="*/ 4 w 128"/>
                <a:gd name="T11" fmla="*/ 103 h 244"/>
                <a:gd name="T12" fmla="*/ 39 w 128"/>
                <a:gd name="T13" fmla="*/ 103 h 244"/>
                <a:gd name="T14" fmla="*/ 39 w 128"/>
                <a:gd name="T15" fmla="*/ 239 h 244"/>
                <a:gd name="T16" fmla="*/ 44 w 128"/>
                <a:gd name="T17" fmla="*/ 244 h 244"/>
                <a:gd name="T18" fmla="*/ 62 w 128"/>
                <a:gd name="T19" fmla="*/ 244 h 244"/>
                <a:gd name="T20" fmla="*/ 67 w 128"/>
                <a:gd name="T21" fmla="*/ 239 h 244"/>
                <a:gd name="T22" fmla="*/ 67 w 128"/>
                <a:gd name="T23" fmla="*/ 103 h 244"/>
                <a:gd name="T24" fmla="*/ 120 w 128"/>
                <a:gd name="T25" fmla="*/ 103 h 244"/>
                <a:gd name="T26" fmla="*/ 125 w 128"/>
                <a:gd name="T27" fmla="*/ 99 h 244"/>
                <a:gd name="T28" fmla="*/ 125 w 128"/>
                <a:gd name="T29" fmla="*/ 81 h 244"/>
                <a:gd name="T30" fmla="*/ 120 w 128"/>
                <a:gd name="T31" fmla="*/ 76 h 244"/>
                <a:gd name="T32" fmla="*/ 67 w 128"/>
                <a:gd name="T33" fmla="*/ 76 h 244"/>
                <a:gd name="T34" fmla="*/ 67 w 128"/>
                <a:gd name="T35" fmla="*/ 55 h 244"/>
                <a:gd name="T36" fmla="*/ 91 w 128"/>
                <a:gd name="T37" fmla="*/ 27 h 244"/>
                <a:gd name="T38" fmla="*/ 122 w 128"/>
                <a:gd name="T39" fmla="*/ 37 h 244"/>
                <a:gd name="T40" fmla="*/ 125 w 128"/>
                <a:gd name="T41" fmla="*/ 38 h 244"/>
                <a:gd name="T42" fmla="*/ 128 w 128"/>
                <a:gd name="T43" fmla="*/ 33 h 244"/>
                <a:gd name="T44" fmla="*/ 128 w 128"/>
                <a:gd name="T45" fmla="*/ 16 h 244"/>
                <a:gd name="T46" fmla="*/ 125 w 128"/>
                <a:gd name="T47" fmla="*/ 9 h 244"/>
                <a:gd name="T48" fmla="*/ 89 w 128"/>
                <a:gd name="T49" fmla="*/ 0 h 244"/>
                <a:gd name="T50" fmla="*/ 39 w 128"/>
                <a:gd name="T51" fmla="*/ 5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244">
                  <a:moveTo>
                    <a:pt x="39" y="55"/>
                  </a:moveTo>
                  <a:cubicBezTo>
                    <a:pt x="39" y="76"/>
                    <a:pt x="39" y="76"/>
                    <a:pt x="39" y="76"/>
                  </a:cubicBezTo>
                  <a:cubicBezTo>
                    <a:pt x="4" y="76"/>
                    <a:pt x="4" y="76"/>
                    <a:pt x="4" y="76"/>
                  </a:cubicBezTo>
                  <a:cubicBezTo>
                    <a:pt x="1" y="76"/>
                    <a:pt x="0" y="78"/>
                    <a:pt x="0" y="81"/>
                  </a:cubicBezTo>
                  <a:cubicBezTo>
                    <a:pt x="0" y="99"/>
                    <a:pt x="0" y="99"/>
                    <a:pt x="0" y="99"/>
                  </a:cubicBezTo>
                  <a:cubicBezTo>
                    <a:pt x="0" y="102"/>
                    <a:pt x="1" y="103"/>
                    <a:pt x="4" y="103"/>
                  </a:cubicBezTo>
                  <a:cubicBezTo>
                    <a:pt x="39" y="103"/>
                    <a:pt x="39" y="103"/>
                    <a:pt x="39" y="103"/>
                  </a:cubicBezTo>
                  <a:cubicBezTo>
                    <a:pt x="39" y="239"/>
                    <a:pt x="39" y="239"/>
                    <a:pt x="39" y="239"/>
                  </a:cubicBezTo>
                  <a:cubicBezTo>
                    <a:pt x="39" y="242"/>
                    <a:pt x="41" y="244"/>
                    <a:pt x="44" y="244"/>
                  </a:cubicBezTo>
                  <a:cubicBezTo>
                    <a:pt x="62" y="244"/>
                    <a:pt x="62" y="244"/>
                    <a:pt x="62" y="244"/>
                  </a:cubicBezTo>
                  <a:cubicBezTo>
                    <a:pt x="65" y="244"/>
                    <a:pt x="67" y="242"/>
                    <a:pt x="67" y="239"/>
                  </a:cubicBezTo>
                  <a:cubicBezTo>
                    <a:pt x="67" y="103"/>
                    <a:pt x="67" y="103"/>
                    <a:pt x="67" y="103"/>
                  </a:cubicBezTo>
                  <a:cubicBezTo>
                    <a:pt x="120" y="103"/>
                    <a:pt x="120" y="103"/>
                    <a:pt x="120" y="103"/>
                  </a:cubicBezTo>
                  <a:cubicBezTo>
                    <a:pt x="123" y="103"/>
                    <a:pt x="125" y="102"/>
                    <a:pt x="125" y="99"/>
                  </a:cubicBezTo>
                  <a:cubicBezTo>
                    <a:pt x="125" y="81"/>
                    <a:pt x="125" y="81"/>
                    <a:pt x="125" y="81"/>
                  </a:cubicBezTo>
                  <a:cubicBezTo>
                    <a:pt x="125" y="78"/>
                    <a:pt x="123" y="76"/>
                    <a:pt x="120" y="76"/>
                  </a:cubicBezTo>
                  <a:cubicBezTo>
                    <a:pt x="67" y="76"/>
                    <a:pt x="67" y="76"/>
                    <a:pt x="67" y="76"/>
                  </a:cubicBezTo>
                  <a:cubicBezTo>
                    <a:pt x="67" y="55"/>
                    <a:pt x="67" y="55"/>
                    <a:pt x="67" y="55"/>
                  </a:cubicBezTo>
                  <a:cubicBezTo>
                    <a:pt x="67" y="38"/>
                    <a:pt x="76" y="27"/>
                    <a:pt x="91" y="27"/>
                  </a:cubicBezTo>
                  <a:cubicBezTo>
                    <a:pt x="102" y="27"/>
                    <a:pt x="110" y="30"/>
                    <a:pt x="122" y="37"/>
                  </a:cubicBezTo>
                  <a:cubicBezTo>
                    <a:pt x="123" y="38"/>
                    <a:pt x="124" y="38"/>
                    <a:pt x="125" y="38"/>
                  </a:cubicBezTo>
                  <a:cubicBezTo>
                    <a:pt x="127" y="38"/>
                    <a:pt x="128" y="36"/>
                    <a:pt x="128" y="33"/>
                  </a:cubicBezTo>
                  <a:cubicBezTo>
                    <a:pt x="128" y="16"/>
                    <a:pt x="128" y="16"/>
                    <a:pt x="128" y="16"/>
                  </a:cubicBezTo>
                  <a:cubicBezTo>
                    <a:pt x="128" y="13"/>
                    <a:pt x="128" y="11"/>
                    <a:pt x="125" y="9"/>
                  </a:cubicBezTo>
                  <a:cubicBezTo>
                    <a:pt x="114" y="3"/>
                    <a:pt x="103" y="0"/>
                    <a:pt x="89" y="0"/>
                  </a:cubicBezTo>
                  <a:cubicBezTo>
                    <a:pt x="54" y="0"/>
                    <a:pt x="39" y="29"/>
                    <a:pt x="39"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17" name="Freeform 14">
              <a:extLst>
                <a:ext uri="{FF2B5EF4-FFF2-40B4-BE49-F238E27FC236}">
                  <a16:creationId xmlns:a16="http://schemas.microsoft.com/office/drawing/2014/main" id="{E3F74A4C-3F35-49ED-8FDB-98270CD3D01E}"/>
                </a:ext>
              </a:extLst>
            </p:cNvPr>
            <p:cNvSpPr>
              <a:spLocks/>
            </p:cNvSpPr>
            <p:nvPr/>
          </p:nvSpPr>
          <p:spPr bwMode="auto">
            <a:xfrm>
              <a:off x="2071" y="1578"/>
              <a:ext cx="632" cy="631"/>
            </a:xfrm>
            <a:custGeom>
              <a:avLst/>
              <a:gdLst>
                <a:gd name="T0" fmla="*/ 181 w 334"/>
                <a:gd name="T1" fmla="*/ 1 h 333"/>
                <a:gd name="T2" fmla="*/ 180 w 334"/>
                <a:gd name="T3" fmla="*/ 4 h 333"/>
                <a:gd name="T4" fmla="*/ 180 w 334"/>
                <a:gd name="T5" fmla="*/ 26 h 333"/>
                <a:gd name="T6" fmla="*/ 180 w 334"/>
                <a:gd name="T7" fmla="*/ 26 h 333"/>
                <a:gd name="T8" fmla="*/ 182 w 334"/>
                <a:gd name="T9" fmla="*/ 28 h 333"/>
                <a:gd name="T10" fmla="*/ 306 w 334"/>
                <a:gd name="T11" fmla="*/ 166 h 333"/>
                <a:gd name="T12" fmla="*/ 167 w 334"/>
                <a:gd name="T13" fmla="*/ 305 h 333"/>
                <a:gd name="T14" fmla="*/ 28 w 334"/>
                <a:gd name="T15" fmla="*/ 166 h 333"/>
                <a:gd name="T16" fmla="*/ 152 w 334"/>
                <a:gd name="T17" fmla="*/ 28 h 333"/>
                <a:gd name="T18" fmla="*/ 154 w 334"/>
                <a:gd name="T19" fmla="*/ 26 h 333"/>
                <a:gd name="T20" fmla="*/ 154 w 334"/>
                <a:gd name="T21" fmla="*/ 26 h 333"/>
                <a:gd name="T22" fmla="*/ 154 w 334"/>
                <a:gd name="T23" fmla="*/ 4 h 333"/>
                <a:gd name="T24" fmla="*/ 153 w 334"/>
                <a:gd name="T25" fmla="*/ 1 h 333"/>
                <a:gd name="T26" fmla="*/ 150 w 334"/>
                <a:gd name="T27" fmla="*/ 0 h 333"/>
                <a:gd name="T28" fmla="*/ 149 w 334"/>
                <a:gd name="T29" fmla="*/ 0 h 333"/>
                <a:gd name="T30" fmla="*/ 149 w 334"/>
                <a:gd name="T31" fmla="*/ 0 h 333"/>
                <a:gd name="T32" fmla="*/ 0 w 334"/>
                <a:gd name="T33" fmla="*/ 166 h 333"/>
                <a:gd name="T34" fmla="*/ 167 w 334"/>
                <a:gd name="T35" fmla="*/ 333 h 333"/>
                <a:gd name="T36" fmla="*/ 334 w 334"/>
                <a:gd name="T37" fmla="*/ 166 h 333"/>
                <a:gd name="T38" fmla="*/ 185 w 334"/>
                <a:gd name="T39" fmla="*/ 0 h 333"/>
                <a:gd name="T40" fmla="*/ 185 w 334"/>
                <a:gd name="T41" fmla="*/ 0 h 333"/>
                <a:gd name="T42" fmla="*/ 184 w 334"/>
                <a:gd name="T43" fmla="*/ 0 h 333"/>
                <a:gd name="T44" fmla="*/ 181 w 334"/>
                <a:gd name="T45" fmla="*/ 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4" h="333">
                  <a:moveTo>
                    <a:pt x="181" y="1"/>
                  </a:moveTo>
                  <a:cubicBezTo>
                    <a:pt x="180" y="2"/>
                    <a:pt x="180" y="3"/>
                    <a:pt x="180" y="4"/>
                  </a:cubicBezTo>
                  <a:cubicBezTo>
                    <a:pt x="180" y="26"/>
                    <a:pt x="180" y="26"/>
                    <a:pt x="180" y="26"/>
                  </a:cubicBezTo>
                  <a:cubicBezTo>
                    <a:pt x="180" y="26"/>
                    <a:pt x="180" y="26"/>
                    <a:pt x="180" y="26"/>
                  </a:cubicBezTo>
                  <a:cubicBezTo>
                    <a:pt x="180" y="27"/>
                    <a:pt x="181" y="28"/>
                    <a:pt x="182" y="28"/>
                  </a:cubicBezTo>
                  <a:cubicBezTo>
                    <a:pt x="251" y="35"/>
                    <a:pt x="306" y="94"/>
                    <a:pt x="306" y="166"/>
                  </a:cubicBezTo>
                  <a:cubicBezTo>
                    <a:pt x="306" y="243"/>
                    <a:pt x="244" y="305"/>
                    <a:pt x="167" y="305"/>
                  </a:cubicBezTo>
                  <a:cubicBezTo>
                    <a:pt x="90" y="305"/>
                    <a:pt x="28" y="243"/>
                    <a:pt x="28" y="166"/>
                  </a:cubicBezTo>
                  <a:cubicBezTo>
                    <a:pt x="28" y="94"/>
                    <a:pt x="82" y="35"/>
                    <a:pt x="152" y="28"/>
                  </a:cubicBezTo>
                  <a:cubicBezTo>
                    <a:pt x="153" y="28"/>
                    <a:pt x="154" y="27"/>
                    <a:pt x="154" y="26"/>
                  </a:cubicBezTo>
                  <a:cubicBezTo>
                    <a:pt x="154" y="26"/>
                    <a:pt x="154" y="26"/>
                    <a:pt x="154" y="26"/>
                  </a:cubicBezTo>
                  <a:cubicBezTo>
                    <a:pt x="154" y="4"/>
                    <a:pt x="154" y="4"/>
                    <a:pt x="154" y="4"/>
                  </a:cubicBezTo>
                  <a:cubicBezTo>
                    <a:pt x="154" y="3"/>
                    <a:pt x="154" y="2"/>
                    <a:pt x="153" y="1"/>
                  </a:cubicBezTo>
                  <a:cubicBezTo>
                    <a:pt x="152" y="0"/>
                    <a:pt x="151" y="0"/>
                    <a:pt x="150" y="0"/>
                  </a:cubicBezTo>
                  <a:cubicBezTo>
                    <a:pt x="149" y="0"/>
                    <a:pt x="149" y="0"/>
                    <a:pt x="149" y="0"/>
                  </a:cubicBezTo>
                  <a:cubicBezTo>
                    <a:pt x="149" y="0"/>
                    <a:pt x="149" y="0"/>
                    <a:pt x="149" y="0"/>
                  </a:cubicBezTo>
                  <a:cubicBezTo>
                    <a:pt x="65" y="9"/>
                    <a:pt x="0" y="80"/>
                    <a:pt x="0" y="166"/>
                  </a:cubicBezTo>
                  <a:cubicBezTo>
                    <a:pt x="0" y="258"/>
                    <a:pt x="75" y="333"/>
                    <a:pt x="167" y="333"/>
                  </a:cubicBezTo>
                  <a:cubicBezTo>
                    <a:pt x="259" y="333"/>
                    <a:pt x="334" y="258"/>
                    <a:pt x="334" y="166"/>
                  </a:cubicBezTo>
                  <a:cubicBezTo>
                    <a:pt x="334" y="80"/>
                    <a:pt x="269" y="9"/>
                    <a:pt x="185" y="0"/>
                  </a:cubicBezTo>
                  <a:cubicBezTo>
                    <a:pt x="185" y="0"/>
                    <a:pt x="185" y="0"/>
                    <a:pt x="185" y="0"/>
                  </a:cubicBezTo>
                  <a:cubicBezTo>
                    <a:pt x="185" y="0"/>
                    <a:pt x="184" y="0"/>
                    <a:pt x="184" y="0"/>
                  </a:cubicBezTo>
                  <a:cubicBezTo>
                    <a:pt x="183" y="0"/>
                    <a:pt x="182" y="0"/>
                    <a:pt x="18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grpSp>
      <p:grpSp>
        <p:nvGrpSpPr>
          <p:cNvPr id="18" name="Group 4">
            <a:extLst>
              <a:ext uri="{FF2B5EF4-FFF2-40B4-BE49-F238E27FC236}">
                <a16:creationId xmlns:a16="http://schemas.microsoft.com/office/drawing/2014/main" id="{4486E4A2-1D06-4780-9598-701B6A8F214B}"/>
              </a:ext>
            </a:extLst>
          </p:cNvPr>
          <p:cNvGrpSpPr>
            <a:grpSpLocks noChangeAspect="1"/>
          </p:cNvGrpSpPr>
          <p:nvPr/>
        </p:nvGrpSpPr>
        <p:grpSpPr bwMode="auto">
          <a:xfrm>
            <a:off x="5155508" y="685816"/>
            <a:ext cx="1880984" cy="458559"/>
            <a:chOff x="2071" y="1578"/>
            <a:chExt cx="2587" cy="631"/>
          </a:xfrm>
          <a:gradFill>
            <a:gsLst>
              <a:gs pos="50000">
                <a:srgbClr val="00E487"/>
              </a:gs>
              <a:gs pos="100000">
                <a:srgbClr val="1ECBD0"/>
              </a:gs>
            </a:gsLst>
            <a:lin ang="18900000" scaled="0"/>
          </a:gradFill>
        </p:grpSpPr>
        <p:sp>
          <p:nvSpPr>
            <p:cNvPr id="19" name="Freeform 5">
              <a:extLst>
                <a:ext uri="{FF2B5EF4-FFF2-40B4-BE49-F238E27FC236}">
                  <a16:creationId xmlns:a16="http://schemas.microsoft.com/office/drawing/2014/main" id="{430450F8-DB31-4DE7-A500-CFE3D6712BFC}"/>
                </a:ext>
              </a:extLst>
            </p:cNvPr>
            <p:cNvSpPr>
              <a:spLocks/>
            </p:cNvSpPr>
            <p:nvPr/>
          </p:nvSpPr>
          <p:spPr bwMode="auto">
            <a:xfrm>
              <a:off x="2765" y="1728"/>
              <a:ext cx="244" cy="318"/>
            </a:xfrm>
            <a:custGeom>
              <a:avLst/>
              <a:gdLst>
                <a:gd name="T0" fmla="*/ 12 w 129"/>
                <a:gd name="T1" fmla="*/ 0 h 168"/>
                <a:gd name="T2" fmla="*/ 8 w 129"/>
                <a:gd name="T3" fmla="*/ 4 h 168"/>
                <a:gd name="T4" fmla="*/ 8 w 129"/>
                <a:gd name="T5" fmla="*/ 25 h 168"/>
                <a:gd name="T6" fmla="*/ 12 w 129"/>
                <a:gd name="T7" fmla="*/ 29 h 168"/>
                <a:gd name="T8" fmla="*/ 48 w 129"/>
                <a:gd name="T9" fmla="*/ 29 h 168"/>
                <a:gd name="T10" fmla="*/ 48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2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2" y="0"/>
                  </a:moveTo>
                  <a:cubicBezTo>
                    <a:pt x="9" y="0"/>
                    <a:pt x="8" y="1"/>
                    <a:pt x="8" y="4"/>
                  </a:cubicBezTo>
                  <a:cubicBezTo>
                    <a:pt x="8" y="25"/>
                    <a:pt x="8" y="25"/>
                    <a:pt x="8" y="25"/>
                  </a:cubicBezTo>
                  <a:cubicBezTo>
                    <a:pt x="8" y="27"/>
                    <a:pt x="9" y="29"/>
                    <a:pt x="12" y="29"/>
                  </a:cubicBezTo>
                  <a:cubicBezTo>
                    <a:pt x="48" y="29"/>
                    <a:pt x="48" y="29"/>
                    <a:pt x="48" y="29"/>
                  </a:cubicBezTo>
                  <a:cubicBezTo>
                    <a:pt x="48" y="140"/>
                    <a:pt x="48" y="140"/>
                    <a:pt x="48"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8" y="140"/>
                    <a:pt x="125" y="140"/>
                  </a:cubicBezTo>
                  <a:cubicBezTo>
                    <a:pt x="76" y="140"/>
                    <a:pt x="76" y="140"/>
                    <a:pt x="76" y="140"/>
                  </a:cubicBezTo>
                  <a:cubicBezTo>
                    <a:pt x="76" y="4"/>
                    <a:pt x="76" y="4"/>
                    <a:pt x="76" y="4"/>
                  </a:cubicBezTo>
                  <a:cubicBezTo>
                    <a:pt x="76" y="1"/>
                    <a:pt x="75" y="0"/>
                    <a:pt x="72" y="0"/>
                  </a:cubicBez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a:p>
          </p:txBody>
        </p:sp>
        <p:sp>
          <p:nvSpPr>
            <p:cNvPr id="20" name="Freeform 6">
              <a:extLst>
                <a:ext uri="{FF2B5EF4-FFF2-40B4-BE49-F238E27FC236}">
                  <a16:creationId xmlns:a16="http://schemas.microsoft.com/office/drawing/2014/main" id="{57542C02-1227-4CF1-88A0-BD812F960845}"/>
                </a:ext>
              </a:extLst>
            </p:cNvPr>
            <p:cNvSpPr>
              <a:spLocks/>
            </p:cNvSpPr>
            <p:nvPr/>
          </p:nvSpPr>
          <p:spPr bwMode="auto">
            <a:xfrm>
              <a:off x="3798" y="1728"/>
              <a:ext cx="244" cy="318"/>
            </a:xfrm>
            <a:custGeom>
              <a:avLst/>
              <a:gdLst>
                <a:gd name="T0" fmla="*/ 11 w 129"/>
                <a:gd name="T1" fmla="*/ 0 h 168"/>
                <a:gd name="T2" fmla="*/ 8 w 129"/>
                <a:gd name="T3" fmla="*/ 4 h 168"/>
                <a:gd name="T4" fmla="*/ 8 w 129"/>
                <a:gd name="T5" fmla="*/ 25 h 168"/>
                <a:gd name="T6" fmla="*/ 11 w 129"/>
                <a:gd name="T7" fmla="*/ 29 h 168"/>
                <a:gd name="T8" fmla="*/ 47 w 129"/>
                <a:gd name="T9" fmla="*/ 29 h 168"/>
                <a:gd name="T10" fmla="*/ 47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1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1" y="0"/>
                  </a:moveTo>
                  <a:cubicBezTo>
                    <a:pt x="9" y="0"/>
                    <a:pt x="8" y="1"/>
                    <a:pt x="8" y="4"/>
                  </a:cubicBezTo>
                  <a:cubicBezTo>
                    <a:pt x="8" y="25"/>
                    <a:pt x="8" y="25"/>
                    <a:pt x="8" y="25"/>
                  </a:cubicBezTo>
                  <a:cubicBezTo>
                    <a:pt x="8" y="27"/>
                    <a:pt x="9" y="29"/>
                    <a:pt x="11" y="29"/>
                  </a:cubicBezTo>
                  <a:cubicBezTo>
                    <a:pt x="47" y="29"/>
                    <a:pt x="47" y="29"/>
                    <a:pt x="47" y="29"/>
                  </a:cubicBezTo>
                  <a:cubicBezTo>
                    <a:pt x="47" y="140"/>
                    <a:pt x="47" y="140"/>
                    <a:pt x="47"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7" y="140"/>
                    <a:pt x="125" y="140"/>
                  </a:cubicBezTo>
                  <a:cubicBezTo>
                    <a:pt x="76" y="140"/>
                    <a:pt x="76" y="140"/>
                    <a:pt x="76" y="140"/>
                  </a:cubicBezTo>
                  <a:cubicBezTo>
                    <a:pt x="76" y="4"/>
                    <a:pt x="76" y="4"/>
                    <a:pt x="76" y="4"/>
                  </a:cubicBezTo>
                  <a:cubicBezTo>
                    <a:pt x="75" y="1"/>
                    <a:pt x="74" y="0"/>
                    <a:pt x="72" y="0"/>
                  </a:cubicBez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a:p>
          </p:txBody>
        </p:sp>
        <p:sp>
          <p:nvSpPr>
            <p:cNvPr id="21" name="Freeform 7">
              <a:extLst>
                <a:ext uri="{FF2B5EF4-FFF2-40B4-BE49-F238E27FC236}">
                  <a16:creationId xmlns:a16="http://schemas.microsoft.com/office/drawing/2014/main" id="{358F3F9A-6A28-414C-8841-9C951BB2146D}"/>
                </a:ext>
              </a:extLst>
            </p:cNvPr>
            <p:cNvSpPr>
              <a:spLocks/>
            </p:cNvSpPr>
            <p:nvPr/>
          </p:nvSpPr>
          <p:spPr bwMode="auto">
            <a:xfrm>
              <a:off x="4361" y="1728"/>
              <a:ext cx="297" cy="464"/>
            </a:xfrm>
            <a:custGeom>
              <a:avLst/>
              <a:gdLst>
                <a:gd name="T0" fmla="*/ 132 w 157"/>
                <a:gd name="T1" fmla="*/ 0 h 245"/>
                <a:gd name="T2" fmla="*/ 127 w 157"/>
                <a:gd name="T3" fmla="*/ 3 h 245"/>
                <a:gd name="T4" fmla="*/ 127 w 157"/>
                <a:gd name="T5" fmla="*/ 3 h 245"/>
                <a:gd name="T6" fmla="*/ 79 w 157"/>
                <a:gd name="T7" fmla="*/ 128 h 245"/>
                <a:gd name="T8" fmla="*/ 30 w 157"/>
                <a:gd name="T9" fmla="*/ 4 h 245"/>
                <a:gd name="T10" fmla="*/ 25 w 157"/>
                <a:gd name="T11" fmla="*/ 0 h 245"/>
                <a:gd name="T12" fmla="*/ 4 w 157"/>
                <a:gd name="T13" fmla="*/ 0 h 245"/>
                <a:gd name="T14" fmla="*/ 0 w 157"/>
                <a:gd name="T15" fmla="*/ 3 h 245"/>
                <a:gd name="T16" fmla="*/ 1 w 157"/>
                <a:gd name="T17" fmla="*/ 6 h 245"/>
                <a:gd name="T18" fmla="*/ 1 w 157"/>
                <a:gd name="T19" fmla="*/ 6 h 245"/>
                <a:gd name="T20" fmla="*/ 1 w 157"/>
                <a:gd name="T21" fmla="*/ 6 h 245"/>
                <a:gd name="T22" fmla="*/ 64 w 157"/>
                <a:gd name="T23" fmla="*/ 168 h 245"/>
                <a:gd name="T24" fmla="*/ 59 w 157"/>
                <a:gd name="T25" fmla="*/ 182 h 245"/>
                <a:gd name="T26" fmla="*/ 48 w 157"/>
                <a:gd name="T27" fmla="*/ 205 h 245"/>
                <a:gd name="T28" fmla="*/ 38 w 157"/>
                <a:gd name="T29" fmla="*/ 215 h 245"/>
                <a:gd name="T30" fmla="*/ 30 w 157"/>
                <a:gd name="T31" fmla="*/ 217 h 245"/>
                <a:gd name="T32" fmla="*/ 26 w 157"/>
                <a:gd name="T33" fmla="*/ 216 h 245"/>
                <a:gd name="T34" fmla="*/ 14 w 157"/>
                <a:gd name="T35" fmla="*/ 213 h 245"/>
                <a:gd name="T36" fmla="*/ 7 w 157"/>
                <a:gd name="T37" fmla="*/ 210 h 245"/>
                <a:gd name="T38" fmla="*/ 3 w 157"/>
                <a:gd name="T39" fmla="*/ 215 h 245"/>
                <a:gd name="T40" fmla="*/ 3 w 157"/>
                <a:gd name="T41" fmla="*/ 233 h 245"/>
                <a:gd name="T42" fmla="*/ 3 w 157"/>
                <a:gd name="T43" fmla="*/ 233 h 245"/>
                <a:gd name="T44" fmla="*/ 7 w 157"/>
                <a:gd name="T45" fmla="*/ 240 h 245"/>
                <a:gd name="T46" fmla="*/ 32 w 157"/>
                <a:gd name="T47" fmla="*/ 245 h 245"/>
                <a:gd name="T48" fmla="*/ 54 w 157"/>
                <a:gd name="T49" fmla="*/ 238 h 245"/>
                <a:gd name="T50" fmla="*/ 73 w 157"/>
                <a:gd name="T51" fmla="*/ 220 h 245"/>
                <a:gd name="T52" fmla="*/ 79 w 157"/>
                <a:gd name="T53" fmla="*/ 208 h 245"/>
                <a:gd name="T54" fmla="*/ 156 w 157"/>
                <a:gd name="T55" fmla="*/ 6 h 245"/>
                <a:gd name="T56" fmla="*/ 157 w 157"/>
                <a:gd name="T57" fmla="*/ 3 h 245"/>
                <a:gd name="T58" fmla="*/ 153 w 157"/>
                <a:gd name="T59" fmla="*/ 0 h 245"/>
                <a:gd name="T60" fmla="*/ 132 w 157"/>
                <a:gd name="T6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7" h="245">
                  <a:moveTo>
                    <a:pt x="132" y="0"/>
                  </a:moveTo>
                  <a:cubicBezTo>
                    <a:pt x="129" y="0"/>
                    <a:pt x="128" y="1"/>
                    <a:pt x="127" y="3"/>
                  </a:cubicBezTo>
                  <a:cubicBezTo>
                    <a:pt x="127" y="3"/>
                    <a:pt x="127" y="3"/>
                    <a:pt x="127" y="3"/>
                  </a:cubicBezTo>
                  <a:cubicBezTo>
                    <a:pt x="79" y="128"/>
                    <a:pt x="79" y="128"/>
                    <a:pt x="79" y="128"/>
                  </a:cubicBezTo>
                  <a:cubicBezTo>
                    <a:pt x="30" y="4"/>
                    <a:pt x="30" y="4"/>
                    <a:pt x="30" y="4"/>
                  </a:cubicBezTo>
                  <a:cubicBezTo>
                    <a:pt x="29" y="1"/>
                    <a:pt x="28" y="0"/>
                    <a:pt x="25" y="0"/>
                  </a:cubicBezTo>
                  <a:cubicBezTo>
                    <a:pt x="4" y="0"/>
                    <a:pt x="4" y="0"/>
                    <a:pt x="4" y="0"/>
                  </a:cubicBezTo>
                  <a:cubicBezTo>
                    <a:pt x="2" y="0"/>
                    <a:pt x="0" y="1"/>
                    <a:pt x="0" y="3"/>
                  </a:cubicBezTo>
                  <a:cubicBezTo>
                    <a:pt x="0" y="4"/>
                    <a:pt x="1" y="5"/>
                    <a:pt x="1" y="6"/>
                  </a:cubicBezTo>
                  <a:cubicBezTo>
                    <a:pt x="1" y="6"/>
                    <a:pt x="1" y="6"/>
                    <a:pt x="1" y="6"/>
                  </a:cubicBezTo>
                  <a:cubicBezTo>
                    <a:pt x="1" y="6"/>
                    <a:pt x="1" y="6"/>
                    <a:pt x="1" y="6"/>
                  </a:cubicBezTo>
                  <a:cubicBezTo>
                    <a:pt x="64" y="168"/>
                    <a:pt x="64" y="168"/>
                    <a:pt x="64" y="168"/>
                  </a:cubicBezTo>
                  <a:cubicBezTo>
                    <a:pt x="59" y="182"/>
                    <a:pt x="59" y="182"/>
                    <a:pt x="59" y="182"/>
                  </a:cubicBezTo>
                  <a:cubicBezTo>
                    <a:pt x="57" y="187"/>
                    <a:pt x="53" y="199"/>
                    <a:pt x="48" y="205"/>
                  </a:cubicBezTo>
                  <a:cubicBezTo>
                    <a:pt x="44" y="211"/>
                    <a:pt x="42" y="213"/>
                    <a:pt x="38" y="215"/>
                  </a:cubicBezTo>
                  <a:cubicBezTo>
                    <a:pt x="35" y="216"/>
                    <a:pt x="33" y="217"/>
                    <a:pt x="30" y="217"/>
                  </a:cubicBezTo>
                  <a:cubicBezTo>
                    <a:pt x="28" y="217"/>
                    <a:pt x="27" y="217"/>
                    <a:pt x="26" y="216"/>
                  </a:cubicBezTo>
                  <a:cubicBezTo>
                    <a:pt x="22" y="216"/>
                    <a:pt x="18" y="214"/>
                    <a:pt x="14" y="213"/>
                  </a:cubicBezTo>
                  <a:cubicBezTo>
                    <a:pt x="11" y="212"/>
                    <a:pt x="9" y="210"/>
                    <a:pt x="7" y="210"/>
                  </a:cubicBezTo>
                  <a:cubicBezTo>
                    <a:pt x="5" y="210"/>
                    <a:pt x="3" y="212"/>
                    <a:pt x="3" y="215"/>
                  </a:cubicBezTo>
                  <a:cubicBezTo>
                    <a:pt x="3" y="233"/>
                    <a:pt x="3" y="233"/>
                    <a:pt x="3" y="233"/>
                  </a:cubicBezTo>
                  <a:cubicBezTo>
                    <a:pt x="3" y="233"/>
                    <a:pt x="3" y="233"/>
                    <a:pt x="3" y="233"/>
                  </a:cubicBezTo>
                  <a:cubicBezTo>
                    <a:pt x="3" y="236"/>
                    <a:pt x="4" y="238"/>
                    <a:pt x="7" y="240"/>
                  </a:cubicBezTo>
                  <a:cubicBezTo>
                    <a:pt x="15" y="243"/>
                    <a:pt x="21" y="245"/>
                    <a:pt x="32" y="245"/>
                  </a:cubicBezTo>
                  <a:cubicBezTo>
                    <a:pt x="41" y="244"/>
                    <a:pt x="47" y="242"/>
                    <a:pt x="54" y="238"/>
                  </a:cubicBezTo>
                  <a:cubicBezTo>
                    <a:pt x="61" y="233"/>
                    <a:pt x="67" y="227"/>
                    <a:pt x="73" y="220"/>
                  </a:cubicBezTo>
                  <a:cubicBezTo>
                    <a:pt x="75" y="216"/>
                    <a:pt x="77" y="212"/>
                    <a:pt x="79" y="208"/>
                  </a:cubicBezTo>
                  <a:cubicBezTo>
                    <a:pt x="83" y="200"/>
                    <a:pt x="144" y="40"/>
                    <a:pt x="156" y="6"/>
                  </a:cubicBezTo>
                  <a:cubicBezTo>
                    <a:pt x="157" y="5"/>
                    <a:pt x="157" y="4"/>
                    <a:pt x="157" y="3"/>
                  </a:cubicBezTo>
                  <a:cubicBezTo>
                    <a:pt x="157" y="1"/>
                    <a:pt x="155" y="0"/>
                    <a:pt x="153" y="0"/>
                  </a:cubicBezTo>
                  <a:lnTo>
                    <a:pt x="1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a:p>
          </p:txBody>
        </p:sp>
        <p:sp>
          <p:nvSpPr>
            <p:cNvPr id="22" name="Freeform 8">
              <a:extLst>
                <a:ext uri="{FF2B5EF4-FFF2-40B4-BE49-F238E27FC236}">
                  <a16:creationId xmlns:a16="http://schemas.microsoft.com/office/drawing/2014/main" id="{3CC966A9-5262-4B35-BD90-9071D58403D1}"/>
                </a:ext>
              </a:extLst>
            </p:cNvPr>
            <p:cNvSpPr>
              <a:spLocks/>
            </p:cNvSpPr>
            <p:nvPr/>
          </p:nvSpPr>
          <p:spPr bwMode="auto">
            <a:xfrm>
              <a:off x="3457" y="1726"/>
              <a:ext cx="263" cy="322"/>
            </a:xfrm>
            <a:custGeom>
              <a:avLst/>
              <a:gdLst>
                <a:gd name="T0" fmla="*/ 28 w 139"/>
                <a:gd name="T1" fmla="*/ 21 h 170"/>
                <a:gd name="T2" fmla="*/ 28 w 139"/>
                <a:gd name="T3" fmla="*/ 6 h 170"/>
                <a:gd name="T4" fmla="*/ 25 w 139"/>
                <a:gd name="T5" fmla="*/ 3 h 170"/>
                <a:gd name="T6" fmla="*/ 4 w 139"/>
                <a:gd name="T7" fmla="*/ 3 h 170"/>
                <a:gd name="T8" fmla="*/ 0 w 139"/>
                <a:gd name="T9" fmla="*/ 6 h 170"/>
                <a:gd name="T10" fmla="*/ 0 w 139"/>
                <a:gd name="T11" fmla="*/ 167 h 170"/>
                <a:gd name="T12" fmla="*/ 4 w 139"/>
                <a:gd name="T13" fmla="*/ 170 h 170"/>
                <a:gd name="T14" fmla="*/ 25 w 139"/>
                <a:gd name="T15" fmla="*/ 170 h 170"/>
                <a:gd name="T16" fmla="*/ 28 w 139"/>
                <a:gd name="T17" fmla="*/ 167 h 170"/>
                <a:gd name="T18" fmla="*/ 28 w 139"/>
                <a:gd name="T19" fmla="*/ 68 h 170"/>
                <a:gd name="T20" fmla="*/ 70 w 139"/>
                <a:gd name="T21" fmla="*/ 28 h 170"/>
                <a:gd name="T22" fmla="*/ 111 w 139"/>
                <a:gd name="T23" fmla="*/ 68 h 170"/>
                <a:gd name="T24" fmla="*/ 111 w 139"/>
                <a:gd name="T25" fmla="*/ 167 h 170"/>
                <a:gd name="T26" fmla="*/ 111 w 139"/>
                <a:gd name="T27" fmla="*/ 167 h 170"/>
                <a:gd name="T28" fmla="*/ 114 w 139"/>
                <a:gd name="T29" fmla="*/ 170 h 170"/>
                <a:gd name="T30" fmla="*/ 136 w 139"/>
                <a:gd name="T31" fmla="*/ 170 h 170"/>
                <a:gd name="T32" fmla="*/ 139 w 139"/>
                <a:gd name="T33" fmla="*/ 167 h 170"/>
                <a:gd name="T34" fmla="*/ 139 w 139"/>
                <a:gd name="T35" fmla="*/ 68 h 170"/>
                <a:gd name="T36" fmla="*/ 139 w 139"/>
                <a:gd name="T37" fmla="*/ 68 h 170"/>
                <a:gd name="T38" fmla="*/ 139 w 139"/>
                <a:gd name="T39" fmla="*/ 68 h 170"/>
                <a:gd name="T40" fmla="*/ 120 w 139"/>
                <a:gd name="T41" fmla="*/ 20 h 170"/>
                <a:gd name="T42" fmla="*/ 70 w 139"/>
                <a:gd name="T43" fmla="*/ 0 h 170"/>
                <a:gd name="T44" fmla="*/ 28 w 139"/>
                <a:gd name="T45" fmla="*/ 2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170">
                  <a:moveTo>
                    <a:pt x="28" y="21"/>
                  </a:moveTo>
                  <a:cubicBezTo>
                    <a:pt x="28" y="6"/>
                    <a:pt x="28" y="6"/>
                    <a:pt x="28" y="6"/>
                  </a:cubicBezTo>
                  <a:cubicBezTo>
                    <a:pt x="28" y="4"/>
                    <a:pt x="27" y="3"/>
                    <a:pt x="25" y="3"/>
                  </a:cubicBezTo>
                  <a:cubicBezTo>
                    <a:pt x="4" y="3"/>
                    <a:pt x="4" y="3"/>
                    <a:pt x="4" y="3"/>
                  </a:cubicBezTo>
                  <a:cubicBezTo>
                    <a:pt x="1" y="3"/>
                    <a:pt x="0" y="4"/>
                    <a:pt x="0" y="6"/>
                  </a:cubicBezTo>
                  <a:cubicBezTo>
                    <a:pt x="0" y="167"/>
                    <a:pt x="0" y="167"/>
                    <a:pt x="0" y="167"/>
                  </a:cubicBezTo>
                  <a:cubicBezTo>
                    <a:pt x="0" y="169"/>
                    <a:pt x="1" y="170"/>
                    <a:pt x="4" y="170"/>
                  </a:cubicBezTo>
                  <a:cubicBezTo>
                    <a:pt x="25" y="170"/>
                    <a:pt x="25" y="170"/>
                    <a:pt x="25" y="170"/>
                  </a:cubicBezTo>
                  <a:cubicBezTo>
                    <a:pt x="27" y="170"/>
                    <a:pt x="28" y="169"/>
                    <a:pt x="28" y="167"/>
                  </a:cubicBezTo>
                  <a:cubicBezTo>
                    <a:pt x="28" y="68"/>
                    <a:pt x="28" y="68"/>
                    <a:pt x="28" y="68"/>
                  </a:cubicBezTo>
                  <a:cubicBezTo>
                    <a:pt x="28" y="49"/>
                    <a:pt x="42" y="28"/>
                    <a:pt x="70" y="28"/>
                  </a:cubicBezTo>
                  <a:cubicBezTo>
                    <a:pt x="97" y="28"/>
                    <a:pt x="111" y="49"/>
                    <a:pt x="111" y="68"/>
                  </a:cubicBezTo>
                  <a:cubicBezTo>
                    <a:pt x="111" y="167"/>
                    <a:pt x="111" y="167"/>
                    <a:pt x="111" y="167"/>
                  </a:cubicBezTo>
                  <a:cubicBezTo>
                    <a:pt x="111" y="167"/>
                    <a:pt x="111" y="167"/>
                    <a:pt x="111" y="167"/>
                  </a:cubicBezTo>
                  <a:cubicBezTo>
                    <a:pt x="111" y="169"/>
                    <a:pt x="112" y="170"/>
                    <a:pt x="114" y="170"/>
                  </a:cubicBezTo>
                  <a:cubicBezTo>
                    <a:pt x="136" y="170"/>
                    <a:pt x="136" y="170"/>
                    <a:pt x="136" y="170"/>
                  </a:cubicBezTo>
                  <a:cubicBezTo>
                    <a:pt x="138" y="170"/>
                    <a:pt x="139" y="169"/>
                    <a:pt x="139" y="167"/>
                  </a:cubicBezTo>
                  <a:cubicBezTo>
                    <a:pt x="139" y="68"/>
                    <a:pt x="139" y="68"/>
                    <a:pt x="139" y="68"/>
                  </a:cubicBezTo>
                  <a:cubicBezTo>
                    <a:pt x="139" y="68"/>
                    <a:pt x="139" y="68"/>
                    <a:pt x="139" y="68"/>
                  </a:cubicBezTo>
                  <a:cubicBezTo>
                    <a:pt x="139" y="68"/>
                    <a:pt x="139" y="68"/>
                    <a:pt x="139" y="68"/>
                  </a:cubicBezTo>
                  <a:cubicBezTo>
                    <a:pt x="139" y="51"/>
                    <a:pt x="133" y="35"/>
                    <a:pt x="120" y="20"/>
                  </a:cubicBezTo>
                  <a:cubicBezTo>
                    <a:pt x="109" y="7"/>
                    <a:pt x="88" y="0"/>
                    <a:pt x="70" y="0"/>
                  </a:cubicBezTo>
                  <a:cubicBezTo>
                    <a:pt x="41" y="0"/>
                    <a:pt x="28" y="21"/>
                    <a:pt x="28"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a:p>
          </p:txBody>
        </p:sp>
        <p:sp>
          <p:nvSpPr>
            <p:cNvPr id="23" name="Freeform 9">
              <a:extLst>
                <a:ext uri="{FF2B5EF4-FFF2-40B4-BE49-F238E27FC236}">
                  <a16:creationId xmlns:a16="http://schemas.microsoft.com/office/drawing/2014/main" id="{23C5DB05-ECFB-4013-AF19-CADD0AAF5628}"/>
                </a:ext>
              </a:extLst>
            </p:cNvPr>
            <p:cNvSpPr>
              <a:spLocks/>
            </p:cNvSpPr>
            <p:nvPr/>
          </p:nvSpPr>
          <p:spPr bwMode="auto">
            <a:xfrm>
              <a:off x="2264" y="1724"/>
              <a:ext cx="246" cy="328"/>
            </a:xfrm>
            <a:custGeom>
              <a:avLst/>
              <a:gdLst>
                <a:gd name="T0" fmla="*/ 4 w 130"/>
                <a:gd name="T1" fmla="*/ 48 h 173"/>
                <a:gd name="T2" fmla="*/ 56 w 130"/>
                <a:gd name="T3" fmla="*/ 97 h 173"/>
                <a:gd name="T4" fmla="*/ 57 w 130"/>
                <a:gd name="T5" fmla="*/ 98 h 173"/>
                <a:gd name="T6" fmla="*/ 101 w 130"/>
                <a:gd name="T7" fmla="*/ 124 h 173"/>
                <a:gd name="T8" fmla="*/ 66 w 130"/>
                <a:gd name="T9" fmla="*/ 146 h 173"/>
                <a:gd name="T10" fmla="*/ 30 w 130"/>
                <a:gd name="T11" fmla="*/ 118 h 173"/>
                <a:gd name="T12" fmla="*/ 26 w 130"/>
                <a:gd name="T13" fmla="*/ 114 h 173"/>
                <a:gd name="T14" fmla="*/ 5 w 130"/>
                <a:gd name="T15" fmla="*/ 114 h 173"/>
                <a:gd name="T16" fmla="*/ 0 w 130"/>
                <a:gd name="T17" fmla="*/ 118 h 173"/>
                <a:gd name="T18" fmla="*/ 65 w 130"/>
                <a:gd name="T19" fmla="*/ 173 h 173"/>
                <a:gd name="T20" fmla="*/ 130 w 130"/>
                <a:gd name="T21" fmla="*/ 120 h 173"/>
                <a:gd name="T22" fmla="*/ 72 w 130"/>
                <a:gd name="T23" fmla="*/ 74 h 173"/>
                <a:gd name="T24" fmla="*/ 32 w 130"/>
                <a:gd name="T25" fmla="*/ 48 h 173"/>
                <a:gd name="T26" fmla="*/ 63 w 130"/>
                <a:gd name="T27" fmla="*/ 27 h 173"/>
                <a:gd name="T28" fmla="*/ 97 w 130"/>
                <a:gd name="T29" fmla="*/ 49 h 173"/>
                <a:gd name="T30" fmla="*/ 102 w 130"/>
                <a:gd name="T31" fmla="*/ 53 h 173"/>
                <a:gd name="T32" fmla="*/ 120 w 130"/>
                <a:gd name="T33" fmla="*/ 53 h 173"/>
                <a:gd name="T34" fmla="*/ 125 w 130"/>
                <a:gd name="T35" fmla="*/ 48 h 173"/>
                <a:gd name="T36" fmla="*/ 63 w 130"/>
                <a:gd name="T37" fmla="*/ 0 h 173"/>
                <a:gd name="T38" fmla="*/ 4 w 130"/>
                <a:gd name="T39" fmla="*/ 4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173">
                  <a:moveTo>
                    <a:pt x="4" y="48"/>
                  </a:moveTo>
                  <a:cubicBezTo>
                    <a:pt x="4" y="77"/>
                    <a:pt x="19" y="91"/>
                    <a:pt x="56" y="97"/>
                  </a:cubicBezTo>
                  <a:cubicBezTo>
                    <a:pt x="57" y="98"/>
                    <a:pt x="57" y="98"/>
                    <a:pt x="57" y="98"/>
                  </a:cubicBezTo>
                  <a:cubicBezTo>
                    <a:pt x="83" y="102"/>
                    <a:pt x="101" y="105"/>
                    <a:pt x="101" y="124"/>
                  </a:cubicBezTo>
                  <a:cubicBezTo>
                    <a:pt x="101" y="139"/>
                    <a:pt x="83" y="146"/>
                    <a:pt x="66" y="146"/>
                  </a:cubicBezTo>
                  <a:cubicBezTo>
                    <a:pt x="46" y="146"/>
                    <a:pt x="33" y="136"/>
                    <a:pt x="30" y="118"/>
                  </a:cubicBezTo>
                  <a:cubicBezTo>
                    <a:pt x="30" y="116"/>
                    <a:pt x="29" y="114"/>
                    <a:pt x="26" y="114"/>
                  </a:cubicBezTo>
                  <a:cubicBezTo>
                    <a:pt x="5" y="114"/>
                    <a:pt x="5" y="114"/>
                    <a:pt x="5" y="114"/>
                  </a:cubicBezTo>
                  <a:cubicBezTo>
                    <a:pt x="2" y="114"/>
                    <a:pt x="0" y="116"/>
                    <a:pt x="0" y="118"/>
                  </a:cubicBezTo>
                  <a:cubicBezTo>
                    <a:pt x="0" y="150"/>
                    <a:pt x="27" y="173"/>
                    <a:pt x="65" y="173"/>
                  </a:cubicBezTo>
                  <a:cubicBezTo>
                    <a:pt x="104" y="173"/>
                    <a:pt x="130" y="151"/>
                    <a:pt x="130" y="120"/>
                  </a:cubicBezTo>
                  <a:cubicBezTo>
                    <a:pt x="130" y="86"/>
                    <a:pt x="100" y="79"/>
                    <a:pt x="72" y="74"/>
                  </a:cubicBezTo>
                  <a:cubicBezTo>
                    <a:pt x="37" y="68"/>
                    <a:pt x="32" y="58"/>
                    <a:pt x="32" y="48"/>
                  </a:cubicBezTo>
                  <a:cubicBezTo>
                    <a:pt x="32" y="32"/>
                    <a:pt x="49" y="27"/>
                    <a:pt x="63" y="27"/>
                  </a:cubicBezTo>
                  <a:cubicBezTo>
                    <a:pt x="82" y="27"/>
                    <a:pt x="94" y="34"/>
                    <a:pt x="97" y="49"/>
                  </a:cubicBezTo>
                  <a:cubicBezTo>
                    <a:pt x="98" y="51"/>
                    <a:pt x="98" y="53"/>
                    <a:pt x="102" y="53"/>
                  </a:cubicBezTo>
                  <a:cubicBezTo>
                    <a:pt x="120" y="53"/>
                    <a:pt x="120" y="53"/>
                    <a:pt x="120" y="53"/>
                  </a:cubicBezTo>
                  <a:cubicBezTo>
                    <a:pt x="123" y="53"/>
                    <a:pt x="125" y="51"/>
                    <a:pt x="125" y="48"/>
                  </a:cubicBezTo>
                  <a:cubicBezTo>
                    <a:pt x="125" y="19"/>
                    <a:pt x="100" y="0"/>
                    <a:pt x="63" y="0"/>
                  </a:cubicBezTo>
                  <a:cubicBezTo>
                    <a:pt x="22" y="0"/>
                    <a:pt x="4" y="25"/>
                    <a:pt x="4" y="4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a:p>
          </p:txBody>
        </p:sp>
        <p:sp>
          <p:nvSpPr>
            <p:cNvPr id="24" name="Freeform 10">
              <a:extLst>
                <a:ext uri="{FF2B5EF4-FFF2-40B4-BE49-F238E27FC236}">
                  <a16:creationId xmlns:a16="http://schemas.microsoft.com/office/drawing/2014/main" id="{3C12E145-2D62-49FE-8067-5C5DB1D45DA8}"/>
                </a:ext>
              </a:extLst>
            </p:cNvPr>
            <p:cNvSpPr>
              <a:spLocks/>
            </p:cNvSpPr>
            <p:nvPr/>
          </p:nvSpPr>
          <p:spPr bwMode="auto">
            <a:xfrm>
              <a:off x="3062" y="1722"/>
              <a:ext cx="312" cy="474"/>
            </a:xfrm>
            <a:custGeom>
              <a:avLst/>
              <a:gdLst>
                <a:gd name="T0" fmla="*/ 67 w 165"/>
                <a:gd name="T1" fmla="*/ 0 h 250"/>
                <a:gd name="T2" fmla="*/ 0 w 165"/>
                <a:gd name="T3" fmla="*/ 86 h 250"/>
                <a:gd name="T4" fmla="*/ 82 w 165"/>
                <a:gd name="T5" fmla="*/ 174 h 250"/>
                <a:gd name="T6" fmla="*/ 137 w 165"/>
                <a:gd name="T7" fmla="*/ 152 h 250"/>
                <a:gd name="T8" fmla="*/ 137 w 165"/>
                <a:gd name="T9" fmla="*/ 173 h 250"/>
                <a:gd name="T10" fmla="*/ 89 w 165"/>
                <a:gd name="T11" fmla="*/ 222 h 250"/>
                <a:gd name="T12" fmla="*/ 48 w 165"/>
                <a:gd name="T13" fmla="*/ 194 h 250"/>
                <a:gd name="T14" fmla="*/ 43 w 165"/>
                <a:gd name="T15" fmla="*/ 190 h 250"/>
                <a:gd name="T16" fmla="*/ 24 w 165"/>
                <a:gd name="T17" fmla="*/ 190 h 250"/>
                <a:gd name="T18" fmla="*/ 19 w 165"/>
                <a:gd name="T19" fmla="*/ 195 h 250"/>
                <a:gd name="T20" fmla="*/ 89 w 165"/>
                <a:gd name="T21" fmla="*/ 250 h 250"/>
                <a:gd name="T22" fmla="*/ 165 w 165"/>
                <a:gd name="T23" fmla="*/ 174 h 250"/>
                <a:gd name="T24" fmla="*/ 165 w 165"/>
                <a:gd name="T25" fmla="*/ 7 h 250"/>
                <a:gd name="T26" fmla="*/ 162 w 165"/>
                <a:gd name="T27" fmla="*/ 4 h 250"/>
                <a:gd name="T28" fmla="*/ 140 w 165"/>
                <a:gd name="T29" fmla="*/ 4 h 250"/>
                <a:gd name="T30" fmla="*/ 137 w 165"/>
                <a:gd name="T31" fmla="*/ 7 h 250"/>
                <a:gd name="T32" fmla="*/ 137 w 165"/>
                <a:gd name="T33" fmla="*/ 21 h 250"/>
                <a:gd name="T34" fmla="*/ 99 w 165"/>
                <a:gd name="T35" fmla="*/ 0 h 250"/>
                <a:gd name="T36" fmla="*/ 96 w 165"/>
                <a:gd name="T37" fmla="*/ 3 h 250"/>
                <a:gd name="T38" fmla="*/ 96 w 165"/>
                <a:gd name="T39" fmla="*/ 28 h 250"/>
                <a:gd name="T40" fmla="*/ 97 w 165"/>
                <a:gd name="T41" fmla="*/ 31 h 250"/>
                <a:gd name="T42" fmla="*/ 138 w 165"/>
                <a:gd name="T43" fmla="*/ 87 h 250"/>
                <a:gd name="T44" fmla="*/ 83 w 165"/>
                <a:gd name="T45" fmla="*/ 146 h 250"/>
                <a:gd name="T46" fmla="*/ 29 w 165"/>
                <a:gd name="T47" fmla="*/ 87 h 250"/>
                <a:gd name="T48" fmla="*/ 68 w 165"/>
                <a:gd name="T49" fmla="*/ 31 h 250"/>
                <a:gd name="T50" fmla="*/ 70 w 165"/>
                <a:gd name="T51" fmla="*/ 29 h 250"/>
                <a:gd name="T52" fmla="*/ 70 w 165"/>
                <a:gd name="T53" fmla="*/ 3 h 250"/>
                <a:gd name="T54" fmla="*/ 67 w 165"/>
                <a:gd name="T55" fmla="*/ 0 h 250"/>
                <a:gd name="T56" fmla="*/ 67 w 165"/>
                <a:gd name="T57"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5" h="250">
                  <a:moveTo>
                    <a:pt x="67" y="0"/>
                  </a:moveTo>
                  <a:cubicBezTo>
                    <a:pt x="29" y="8"/>
                    <a:pt x="0" y="44"/>
                    <a:pt x="0" y="86"/>
                  </a:cubicBezTo>
                  <a:cubicBezTo>
                    <a:pt x="0" y="135"/>
                    <a:pt x="37" y="174"/>
                    <a:pt x="82" y="174"/>
                  </a:cubicBezTo>
                  <a:cubicBezTo>
                    <a:pt x="103" y="174"/>
                    <a:pt x="122" y="166"/>
                    <a:pt x="137" y="152"/>
                  </a:cubicBezTo>
                  <a:cubicBezTo>
                    <a:pt x="137" y="173"/>
                    <a:pt x="137" y="173"/>
                    <a:pt x="137" y="173"/>
                  </a:cubicBezTo>
                  <a:cubicBezTo>
                    <a:pt x="137" y="205"/>
                    <a:pt x="120" y="222"/>
                    <a:pt x="89" y="222"/>
                  </a:cubicBezTo>
                  <a:cubicBezTo>
                    <a:pt x="66" y="222"/>
                    <a:pt x="52" y="213"/>
                    <a:pt x="48" y="194"/>
                  </a:cubicBezTo>
                  <a:cubicBezTo>
                    <a:pt x="47" y="192"/>
                    <a:pt x="46" y="190"/>
                    <a:pt x="43" y="190"/>
                  </a:cubicBezTo>
                  <a:cubicBezTo>
                    <a:pt x="24" y="190"/>
                    <a:pt x="24" y="190"/>
                    <a:pt x="24" y="190"/>
                  </a:cubicBezTo>
                  <a:cubicBezTo>
                    <a:pt x="21" y="190"/>
                    <a:pt x="19" y="192"/>
                    <a:pt x="19" y="195"/>
                  </a:cubicBezTo>
                  <a:cubicBezTo>
                    <a:pt x="22" y="228"/>
                    <a:pt x="51" y="250"/>
                    <a:pt x="89" y="250"/>
                  </a:cubicBezTo>
                  <a:cubicBezTo>
                    <a:pt x="135" y="250"/>
                    <a:pt x="165" y="219"/>
                    <a:pt x="165" y="174"/>
                  </a:cubicBezTo>
                  <a:cubicBezTo>
                    <a:pt x="165" y="7"/>
                    <a:pt x="165" y="7"/>
                    <a:pt x="165" y="7"/>
                  </a:cubicBezTo>
                  <a:cubicBezTo>
                    <a:pt x="165" y="5"/>
                    <a:pt x="164" y="4"/>
                    <a:pt x="162" y="4"/>
                  </a:cubicBezTo>
                  <a:cubicBezTo>
                    <a:pt x="140" y="4"/>
                    <a:pt x="140" y="4"/>
                    <a:pt x="140" y="4"/>
                  </a:cubicBezTo>
                  <a:cubicBezTo>
                    <a:pt x="138" y="4"/>
                    <a:pt x="137" y="5"/>
                    <a:pt x="137" y="7"/>
                  </a:cubicBezTo>
                  <a:cubicBezTo>
                    <a:pt x="137" y="21"/>
                    <a:pt x="137" y="21"/>
                    <a:pt x="137" y="21"/>
                  </a:cubicBezTo>
                  <a:cubicBezTo>
                    <a:pt x="126" y="11"/>
                    <a:pt x="113" y="4"/>
                    <a:pt x="99" y="0"/>
                  </a:cubicBezTo>
                  <a:cubicBezTo>
                    <a:pt x="97" y="0"/>
                    <a:pt x="96" y="1"/>
                    <a:pt x="96" y="3"/>
                  </a:cubicBezTo>
                  <a:cubicBezTo>
                    <a:pt x="96" y="28"/>
                    <a:pt x="96" y="28"/>
                    <a:pt x="96" y="28"/>
                  </a:cubicBezTo>
                  <a:cubicBezTo>
                    <a:pt x="96" y="29"/>
                    <a:pt x="96" y="30"/>
                    <a:pt x="97" y="31"/>
                  </a:cubicBezTo>
                  <a:cubicBezTo>
                    <a:pt x="121" y="37"/>
                    <a:pt x="138" y="60"/>
                    <a:pt x="138" y="87"/>
                  </a:cubicBezTo>
                  <a:cubicBezTo>
                    <a:pt x="138" y="119"/>
                    <a:pt x="114" y="146"/>
                    <a:pt x="83" y="146"/>
                  </a:cubicBezTo>
                  <a:cubicBezTo>
                    <a:pt x="53" y="146"/>
                    <a:pt x="29" y="119"/>
                    <a:pt x="29" y="87"/>
                  </a:cubicBezTo>
                  <a:cubicBezTo>
                    <a:pt x="29" y="61"/>
                    <a:pt x="45" y="38"/>
                    <a:pt x="68" y="31"/>
                  </a:cubicBezTo>
                  <a:cubicBezTo>
                    <a:pt x="69" y="31"/>
                    <a:pt x="70" y="30"/>
                    <a:pt x="70" y="29"/>
                  </a:cubicBezTo>
                  <a:cubicBezTo>
                    <a:pt x="70" y="3"/>
                    <a:pt x="70" y="3"/>
                    <a:pt x="70" y="3"/>
                  </a:cubicBezTo>
                  <a:cubicBezTo>
                    <a:pt x="70" y="1"/>
                    <a:pt x="69" y="0"/>
                    <a:pt x="67" y="0"/>
                  </a:cubicBezTo>
                  <a:cubicBezTo>
                    <a:pt x="67" y="0"/>
                    <a:pt x="67" y="0"/>
                    <a:pt x="6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a:p>
          </p:txBody>
        </p:sp>
        <p:sp>
          <p:nvSpPr>
            <p:cNvPr id="25" name="Oval 11">
              <a:extLst>
                <a:ext uri="{FF2B5EF4-FFF2-40B4-BE49-F238E27FC236}">
                  <a16:creationId xmlns:a16="http://schemas.microsoft.com/office/drawing/2014/main" id="{E7B1208F-6FFD-44A4-9370-67BDFDD3A829}"/>
                </a:ext>
              </a:extLst>
            </p:cNvPr>
            <p:cNvSpPr>
              <a:spLocks noChangeArrowheads="1"/>
            </p:cNvSpPr>
            <p:nvPr/>
          </p:nvSpPr>
          <p:spPr bwMode="auto">
            <a:xfrm>
              <a:off x="284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a:p>
          </p:txBody>
        </p:sp>
        <p:sp>
          <p:nvSpPr>
            <p:cNvPr id="26" name="Oval 12">
              <a:extLst>
                <a:ext uri="{FF2B5EF4-FFF2-40B4-BE49-F238E27FC236}">
                  <a16:creationId xmlns:a16="http://schemas.microsoft.com/office/drawing/2014/main" id="{1857F926-A560-4F90-93D2-013D8E9FA2DF}"/>
                </a:ext>
              </a:extLst>
            </p:cNvPr>
            <p:cNvSpPr>
              <a:spLocks noChangeArrowheads="1"/>
            </p:cNvSpPr>
            <p:nvPr/>
          </p:nvSpPr>
          <p:spPr bwMode="auto">
            <a:xfrm>
              <a:off x="387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a:p>
          </p:txBody>
        </p:sp>
        <p:sp>
          <p:nvSpPr>
            <p:cNvPr id="27" name="Freeform 13">
              <a:extLst>
                <a:ext uri="{FF2B5EF4-FFF2-40B4-BE49-F238E27FC236}">
                  <a16:creationId xmlns:a16="http://schemas.microsoft.com/office/drawing/2014/main" id="{2933BD75-C462-46CC-9B89-81330E41D962}"/>
                </a:ext>
              </a:extLst>
            </p:cNvPr>
            <p:cNvSpPr>
              <a:spLocks/>
            </p:cNvSpPr>
            <p:nvPr/>
          </p:nvSpPr>
          <p:spPr bwMode="auto">
            <a:xfrm>
              <a:off x="4062" y="1584"/>
              <a:ext cx="242" cy="462"/>
            </a:xfrm>
            <a:custGeom>
              <a:avLst/>
              <a:gdLst>
                <a:gd name="T0" fmla="*/ 39 w 128"/>
                <a:gd name="T1" fmla="*/ 55 h 244"/>
                <a:gd name="T2" fmla="*/ 39 w 128"/>
                <a:gd name="T3" fmla="*/ 76 h 244"/>
                <a:gd name="T4" fmla="*/ 4 w 128"/>
                <a:gd name="T5" fmla="*/ 76 h 244"/>
                <a:gd name="T6" fmla="*/ 0 w 128"/>
                <a:gd name="T7" fmla="*/ 81 h 244"/>
                <a:gd name="T8" fmla="*/ 0 w 128"/>
                <a:gd name="T9" fmla="*/ 99 h 244"/>
                <a:gd name="T10" fmla="*/ 4 w 128"/>
                <a:gd name="T11" fmla="*/ 103 h 244"/>
                <a:gd name="T12" fmla="*/ 39 w 128"/>
                <a:gd name="T13" fmla="*/ 103 h 244"/>
                <a:gd name="T14" fmla="*/ 39 w 128"/>
                <a:gd name="T15" fmla="*/ 239 h 244"/>
                <a:gd name="T16" fmla="*/ 44 w 128"/>
                <a:gd name="T17" fmla="*/ 244 h 244"/>
                <a:gd name="T18" fmla="*/ 62 w 128"/>
                <a:gd name="T19" fmla="*/ 244 h 244"/>
                <a:gd name="T20" fmla="*/ 67 w 128"/>
                <a:gd name="T21" fmla="*/ 239 h 244"/>
                <a:gd name="T22" fmla="*/ 67 w 128"/>
                <a:gd name="T23" fmla="*/ 103 h 244"/>
                <a:gd name="T24" fmla="*/ 120 w 128"/>
                <a:gd name="T25" fmla="*/ 103 h 244"/>
                <a:gd name="T26" fmla="*/ 125 w 128"/>
                <a:gd name="T27" fmla="*/ 99 h 244"/>
                <a:gd name="T28" fmla="*/ 125 w 128"/>
                <a:gd name="T29" fmla="*/ 81 h 244"/>
                <a:gd name="T30" fmla="*/ 120 w 128"/>
                <a:gd name="T31" fmla="*/ 76 h 244"/>
                <a:gd name="T32" fmla="*/ 67 w 128"/>
                <a:gd name="T33" fmla="*/ 76 h 244"/>
                <a:gd name="T34" fmla="*/ 67 w 128"/>
                <a:gd name="T35" fmla="*/ 55 h 244"/>
                <a:gd name="T36" fmla="*/ 91 w 128"/>
                <a:gd name="T37" fmla="*/ 27 h 244"/>
                <a:gd name="T38" fmla="*/ 122 w 128"/>
                <a:gd name="T39" fmla="*/ 37 h 244"/>
                <a:gd name="T40" fmla="*/ 125 w 128"/>
                <a:gd name="T41" fmla="*/ 38 h 244"/>
                <a:gd name="T42" fmla="*/ 128 w 128"/>
                <a:gd name="T43" fmla="*/ 33 h 244"/>
                <a:gd name="T44" fmla="*/ 128 w 128"/>
                <a:gd name="T45" fmla="*/ 16 h 244"/>
                <a:gd name="T46" fmla="*/ 125 w 128"/>
                <a:gd name="T47" fmla="*/ 9 h 244"/>
                <a:gd name="T48" fmla="*/ 89 w 128"/>
                <a:gd name="T49" fmla="*/ 0 h 244"/>
                <a:gd name="T50" fmla="*/ 39 w 128"/>
                <a:gd name="T51" fmla="*/ 5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244">
                  <a:moveTo>
                    <a:pt x="39" y="55"/>
                  </a:moveTo>
                  <a:cubicBezTo>
                    <a:pt x="39" y="76"/>
                    <a:pt x="39" y="76"/>
                    <a:pt x="39" y="76"/>
                  </a:cubicBezTo>
                  <a:cubicBezTo>
                    <a:pt x="4" y="76"/>
                    <a:pt x="4" y="76"/>
                    <a:pt x="4" y="76"/>
                  </a:cubicBezTo>
                  <a:cubicBezTo>
                    <a:pt x="1" y="76"/>
                    <a:pt x="0" y="78"/>
                    <a:pt x="0" y="81"/>
                  </a:cubicBezTo>
                  <a:cubicBezTo>
                    <a:pt x="0" y="99"/>
                    <a:pt x="0" y="99"/>
                    <a:pt x="0" y="99"/>
                  </a:cubicBezTo>
                  <a:cubicBezTo>
                    <a:pt x="0" y="102"/>
                    <a:pt x="1" y="103"/>
                    <a:pt x="4" y="103"/>
                  </a:cubicBezTo>
                  <a:cubicBezTo>
                    <a:pt x="39" y="103"/>
                    <a:pt x="39" y="103"/>
                    <a:pt x="39" y="103"/>
                  </a:cubicBezTo>
                  <a:cubicBezTo>
                    <a:pt x="39" y="239"/>
                    <a:pt x="39" y="239"/>
                    <a:pt x="39" y="239"/>
                  </a:cubicBezTo>
                  <a:cubicBezTo>
                    <a:pt x="39" y="242"/>
                    <a:pt x="41" y="244"/>
                    <a:pt x="44" y="244"/>
                  </a:cubicBezTo>
                  <a:cubicBezTo>
                    <a:pt x="62" y="244"/>
                    <a:pt x="62" y="244"/>
                    <a:pt x="62" y="244"/>
                  </a:cubicBezTo>
                  <a:cubicBezTo>
                    <a:pt x="65" y="244"/>
                    <a:pt x="67" y="242"/>
                    <a:pt x="67" y="239"/>
                  </a:cubicBezTo>
                  <a:cubicBezTo>
                    <a:pt x="67" y="103"/>
                    <a:pt x="67" y="103"/>
                    <a:pt x="67" y="103"/>
                  </a:cubicBezTo>
                  <a:cubicBezTo>
                    <a:pt x="120" y="103"/>
                    <a:pt x="120" y="103"/>
                    <a:pt x="120" y="103"/>
                  </a:cubicBezTo>
                  <a:cubicBezTo>
                    <a:pt x="123" y="103"/>
                    <a:pt x="125" y="102"/>
                    <a:pt x="125" y="99"/>
                  </a:cubicBezTo>
                  <a:cubicBezTo>
                    <a:pt x="125" y="81"/>
                    <a:pt x="125" y="81"/>
                    <a:pt x="125" y="81"/>
                  </a:cubicBezTo>
                  <a:cubicBezTo>
                    <a:pt x="125" y="78"/>
                    <a:pt x="123" y="76"/>
                    <a:pt x="120" y="76"/>
                  </a:cubicBezTo>
                  <a:cubicBezTo>
                    <a:pt x="67" y="76"/>
                    <a:pt x="67" y="76"/>
                    <a:pt x="67" y="76"/>
                  </a:cubicBezTo>
                  <a:cubicBezTo>
                    <a:pt x="67" y="55"/>
                    <a:pt x="67" y="55"/>
                    <a:pt x="67" y="55"/>
                  </a:cubicBezTo>
                  <a:cubicBezTo>
                    <a:pt x="67" y="38"/>
                    <a:pt x="76" y="27"/>
                    <a:pt x="91" y="27"/>
                  </a:cubicBezTo>
                  <a:cubicBezTo>
                    <a:pt x="102" y="27"/>
                    <a:pt x="110" y="30"/>
                    <a:pt x="122" y="37"/>
                  </a:cubicBezTo>
                  <a:cubicBezTo>
                    <a:pt x="123" y="38"/>
                    <a:pt x="124" y="38"/>
                    <a:pt x="125" y="38"/>
                  </a:cubicBezTo>
                  <a:cubicBezTo>
                    <a:pt x="127" y="38"/>
                    <a:pt x="128" y="36"/>
                    <a:pt x="128" y="33"/>
                  </a:cubicBezTo>
                  <a:cubicBezTo>
                    <a:pt x="128" y="16"/>
                    <a:pt x="128" y="16"/>
                    <a:pt x="128" y="16"/>
                  </a:cubicBezTo>
                  <a:cubicBezTo>
                    <a:pt x="128" y="13"/>
                    <a:pt x="128" y="11"/>
                    <a:pt x="125" y="9"/>
                  </a:cubicBezTo>
                  <a:cubicBezTo>
                    <a:pt x="114" y="3"/>
                    <a:pt x="103" y="0"/>
                    <a:pt x="89" y="0"/>
                  </a:cubicBezTo>
                  <a:cubicBezTo>
                    <a:pt x="54" y="0"/>
                    <a:pt x="39" y="29"/>
                    <a:pt x="39"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a:p>
          </p:txBody>
        </p:sp>
        <p:sp>
          <p:nvSpPr>
            <p:cNvPr id="28" name="Freeform 14">
              <a:extLst>
                <a:ext uri="{FF2B5EF4-FFF2-40B4-BE49-F238E27FC236}">
                  <a16:creationId xmlns:a16="http://schemas.microsoft.com/office/drawing/2014/main" id="{36A1BBA5-D4FE-4780-80EA-8E874C40C0CC}"/>
                </a:ext>
              </a:extLst>
            </p:cNvPr>
            <p:cNvSpPr>
              <a:spLocks/>
            </p:cNvSpPr>
            <p:nvPr/>
          </p:nvSpPr>
          <p:spPr bwMode="auto">
            <a:xfrm>
              <a:off x="2071" y="1578"/>
              <a:ext cx="632" cy="631"/>
            </a:xfrm>
            <a:custGeom>
              <a:avLst/>
              <a:gdLst>
                <a:gd name="T0" fmla="*/ 181 w 334"/>
                <a:gd name="T1" fmla="*/ 1 h 333"/>
                <a:gd name="T2" fmla="*/ 180 w 334"/>
                <a:gd name="T3" fmla="*/ 4 h 333"/>
                <a:gd name="T4" fmla="*/ 180 w 334"/>
                <a:gd name="T5" fmla="*/ 26 h 333"/>
                <a:gd name="T6" fmla="*/ 180 w 334"/>
                <a:gd name="T7" fmla="*/ 26 h 333"/>
                <a:gd name="T8" fmla="*/ 182 w 334"/>
                <a:gd name="T9" fmla="*/ 28 h 333"/>
                <a:gd name="T10" fmla="*/ 306 w 334"/>
                <a:gd name="T11" fmla="*/ 166 h 333"/>
                <a:gd name="T12" fmla="*/ 167 w 334"/>
                <a:gd name="T13" fmla="*/ 305 h 333"/>
                <a:gd name="T14" fmla="*/ 28 w 334"/>
                <a:gd name="T15" fmla="*/ 166 h 333"/>
                <a:gd name="T16" fmla="*/ 152 w 334"/>
                <a:gd name="T17" fmla="*/ 28 h 333"/>
                <a:gd name="T18" fmla="*/ 154 w 334"/>
                <a:gd name="T19" fmla="*/ 26 h 333"/>
                <a:gd name="T20" fmla="*/ 154 w 334"/>
                <a:gd name="T21" fmla="*/ 26 h 333"/>
                <a:gd name="T22" fmla="*/ 154 w 334"/>
                <a:gd name="T23" fmla="*/ 4 h 333"/>
                <a:gd name="T24" fmla="*/ 153 w 334"/>
                <a:gd name="T25" fmla="*/ 1 h 333"/>
                <a:gd name="T26" fmla="*/ 150 w 334"/>
                <a:gd name="T27" fmla="*/ 0 h 333"/>
                <a:gd name="T28" fmla="*/ 149 w 334"/>
                <a:gd name="T29" fmla="*/ 0 h 333"/>
                <a:gd name="T30" fmla="*/ 149 w 334"/>
                <a:gd name="T31" fmla="*/ 0 h 333"/>
                <a:gd name="T32" fmla="*/ 0 w 334"/>
                <a:gd name="T33" fmla="*/ 166 h 333"/>
                <a:gd name="T34" fmla="*/ 167 w 334"/>
                <a:gd name="T35" fmla="*/ 333 h 333"/>
                <a:gd name="T36" fmla="*/ 334 w 334"/>
                <a:gd name="T37" fmla="*/ 166 h 333"/>
                <a:gd name="T38" fmla="*/ 185 w 334"/>
                <a:gd name="T39" fmla="*/ 0 h 333"/>
                <a:gd name="T40" fmla="*/ 185 w 334"/>
                <a:gd name="T41" fmla="*/ 0 h 333"/>
                <a:gd name="T42" fmla="*/ 184 w 334"/>
                <a:gd name="T43" fmla="*/ 0 h 333"/>
                <a:gd name="T44" fmla="*/ 181 w 334"/>
                <a:gd name="T45" fmla="*/ 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4" h="333">
                  <a:moveTo>
                    <a:pt x="181" y="1"/>
                  </a:moveTo>
                  <a:cubicBezTo>
                    <a:pt x="180" y="2"/>
                    <a:pt x="180" y="3"/>
                    <a:pt x="180" y="4"/>
                  </a:cubicBezTo>
                  <a:cubicBezTo>
                    <a:pt x="180" y="26"/>
                    <a:pt x="180" y="26"/>
                    <a:pt x="180" y="26"/>
                  </a:cubicBezTo>
                  <a:cubicBezTo>
                    <a:pt x="180" y="26"/>
                    <a:pt x="180" y="26"/>
                    <a:pt x="180" y="26"/>
                  </a:cubicBezTo>
                  <a:cubicBezTo>
                    <a:pt x="180" y="27"/>
                    <a:pt x="181" y="28"/>
                    <a:pt x="182" y="28"/>
                  </a:cubicBezTo>
                  <a:cubicBezTo>
                    <a:pt x="251" y="35"/>
                    <a:pt x="306" y="94"/>
                    <a:pt x="306" y="166"/>
                  </a:cubicBezTo>
                  <a:cubicBezTo>
                    <a:pt x="306" y="243"/>
                    <a:pt x="244" y="305"/>
                    <a:pt x="167" y="305"/>
                  </a:cubicBezTo>
                  <a:cubicBezTo>
                    <a:pt x="90" y="305"/>
                    <a:pt x="28" y="243"/>
                    <a:pt x="28" y="166"/>
                  </a:cubicBezTo>
                  <a:cubicBezTo>
                    <a:pt x="28" y="94"/>
                    <a:pt x="82" y="35"/>
                    <a:pt x="152" y="28"/>
                  </a:cubicBezTo>
                  <a:cubicBezTo>
                    <a:pt x="153" y="28"/>
                    <a:pt x="154" y="27"/>
                    <a:pt x="154" y="26"/>
                  </a:cubicBezTo>
                  <a:cubicBezTo>
                    <a:pt x="154" y="26"/>
                    <a:pt x="154" y="26"/>
                    <a:pt x="154" y="26"/>
                  </a:cubicBezTo>
                  <a:cubicBezTo>
                    <a:pt x="154" y="4"/>
                    <a:pt x="154" y="4"/>
                    <a:pt x="154" y="4"/>
                  </a:cubicBezTo>
                  <a:cubicBezTo>
                    <a:pt x="154" y="3"/>
                    <a:pt x="154" y="2"/>
                    <a:pt x="153" y="1"/>
                  </a:cubicBezTo>
                  <a:cubicBezTo>
                    <a:pt x="152" y="0"/>
                    <a:pt x="151" y="0"/>
                    <a:pt x="150" y="0"/>
                  </a:cubicBezTo>
                  <a:cubicBezTo>
                    <a:pt x="149" y="0"/>
                    <a:pt x="149" y="0"/>
                    <a:pt x="149" y="0"/>
                  </a:cubicBezTo>
                  <a:cubicBezTo>
                    <a:pt x="149" y="0"/>
                    <a:pt x="149" y="0"/>
                    <a:pt x="149" y="0"/>
                  </a:cubicBezTo>
                  <a:cubicBezTo>
                    <a:pt x="65" y="9"/>
                    <a:pt x="0" y="80"/>
                    <a:pt x="0" y="166"/>
                  </a:cubicBezTo>
                  <a:cubicBezTo>
                    <a:pt x="0" y="258"/>
                    <a:pt x="75" y="333"/>
                    <a:pt x="167" y="333"/>
                  </a:cubicBezTo>
                  <a:cubicBezTo>
                    <a:pt x="259" y="333"/>
                    <a:pt x="334" y="258"/>
                    <a:pt x="334" y="166"/>
                  </a:cubicBezTo>
                  <a:cubicBezTo>
                    <a:pt x="334" y="80"/>
                    <a:pt x="269" y="9"/>
                    <a:pt x="185" y="0"/>
                  </a:cubicBezTo>
                  <a:cubicBezTo>
                    <a:pt x="185" y="0"/>
                    <a:pt x="185" y="0"/>
                    <a:pt x="185" y="0"/>
                  </a:cubicBezTo>
                  <a:cubicBezTo>
                    <a:pt x="185" y="0"/>
                    <a:pt x="184" y="0"/>
                    <a:pt x="184" y="0"/>
                  </a:cubicBezTo>
                  <a:cubicBezTo>
                    <a:pt x="183" y="0"/>
                    <a:pt x="182" y="0"/>
                    <a:pt x="18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a:p>
          </p:txBody>
        </p:sp>
      </p:grpSp>
    </p:spTree>
    <p:extLst>
      <p:ext uri="{BB962C8B-B14F-4D97-AF65-F5344CB8AC3E}">
        <p14:creationId xmlns:p14="http://schemas.microsoft.com/office/powerpoint/2010/main" val="50260615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title" preserve="1">
  <p:cSld name="Title Slide Dark">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806139"/>
            <a:ext cx="9144001" cy="3245724"/>
          </a:xfrm>
        </p:spPr>
        <p:txBody>
          <a:bodyPr anchor="ctr"/>
          <a:lstStyle>
            <a:lvl1pPr algn="ctr">
              <a:defRPr sz="4000">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524000" y="5714325"/>
            <a:ext cx="9144001" cy="453754"/>
          </a:xfrm>
        </p:spPr>
        <p:txBody>
          <a:bodyPr/>
          <a:lstStyle>
            <a:lvl1pPr marL="0" indent="0" algn="ctr">
              <a:buNone/>
              <a:defRPr sz="2400">
                <a:solidFill>
                  <a:schemeClr val="bg1"/>
                </a:solidFill>
              </a:defRPr>
            </a:lvl1pPr>
            <a:lvl2pPr marL="521258" indent="0" algn="ctr">
              <a:buNone/>
              <a:defRPr sz="2280"/>
            </a:lvl2pPr>
            <a:lvl3pPr marL="1042512" indent="0" algn="ctr">
              <a:buNone/>
              <a:defRPr sz="2052"/>
            </a:lvl3pPr>
            <a:lvl4pPr marL="1563773" indent="0" algn="ctr">
              <a:buNone/>
              <a:defRPr sz="1824"/>
            </a:lvl4pPr>
            <a:lvl5pPr marL="2085031" indent="0" algn="ctr">
              <a:buNone/>
              <a:defRPr sz="1824"/>
            </a:lvl5pPr>
            <a:lvl6pPr marL="2606285" indent="0" algn="ctr">
              <a:buNone/>
              <a:defRPr sz="1824"/>
            </a:lvl6pPr>
            <a:lvl7pPr marL="3127543" indent="0" algn="ctr">
              <a:buNone/>
              <a:defRPr sz="1824"/>
            </a:lvl7pPr>
            <a:lvl8pPr marL="3648803" indent="0" algn="ctr">
              <a:buNone/>
              <a:defRPr sz="1824"/>
            </a:lvl8pPr>
            <a:lvl9pPr marL="4170060" indent="0" algn="ctr">
              <a:buNone/>
              <a:defRPr sz="1824"/>
            </a:lvl9pPr>
          </a:lstStyle>
          <a:p>
            <a:r>
              <a:rPr lang="en-US"/>
              <a:t>Click to edit Master subtitle style</a:t>
            </a:r>
            <a:endParaRPr lang="en-US" dirty="0"/>
          </a:p>
        </p:txBody>
      </p:sp>
      <p:grpSp>
        <p:nvGrpSpPr>
          <p:cNvPr id="18" name="Group 4">
            <a:extLst>
              <a:ext uri="{FF2B5EF4-FFF2-40B4-BE49-F238E27FC236}">
                <a16:creationId xmlns:a16="http://schemas.microsoft.com/office/drawing/2014/main" id="{8FDBE2B1-3DA3-43D4-9DC3-2E772835078F}"/>
              </a:ext>
            </a:extLst>
          </p:cNvPr>
          <p:cNvGrpSpPr>
            <a:grpSpLocks noChangeAspect="1"/>
          </p:cNvGrpSpPr>
          <p:nvPr/>
        </p:nvGrpSpPr>
        <p:grpSpPr bwMode="auto">
          <a:xfrm>
            <a:off x="5155508" y="685816"/>
            <a:ext cx="1880984" cy="458559"/>
            <a:chOff x="2071" y="1578"/>
            <a:chExt cx="2587" cy="631"/>
          </a:xfrm>
          <a:gradFill>
            <a:gsLst>
              <a:gs pos="50000">
                <a:srgbClr val="00E487"/>
              </a:gs>
              <a:gs pos="100000">
                <a:srgbClr val="1ECBD0"/>
              </a:gs>
            </a:gsLst>
            <a:lin ang="18900000" scaled="0"/>
          </a:gradFill>
        </p:grpSpPr>
        <p:sp>
          <p:nvSpPr>
            <p:cNvPr id="19" name="Freeform 5">
              <a:extLst>
                <a:ext uri="{FF2B5EF4-FFF2-40B4-BE49-F238E27FC236}">
                  <a16:creationId xmlns:a16="http://schemas.microsoft.com/office/drawing/2014/main" id="{7FB346E6-4510-4BED-AA2E-6743A40A5077}"/>
                </a:ext>
              </a:extLst>
            </p:cNvPr>
            <p:cNvSpPr>
              <a:spLocks/>
            </p:cNvSpPr>
            <p:nvPr/>
          </p:nvSpPr>
          <p:spPr bwMode="auto">
            <a:xfrm>
              <a:off x="2765" y="1728"/>
              <a:ext cx="244" cy="318"/>
            </a:xfrm>
            <a:custGeom>
              <a:avLst/>
              <a:gdLst>
                <a:gd name="T0" fmla="*/ 12 w 129"/>
                <a:gd name="T1" fmla="*/ 0 h 168"/>
                <a:gd name="T2" fmla="*/ 8 w 129"/>
                <a:gd name="T3" fmla="*/ 4 h 168"/>
                <a:gd name="T4" fmla="*/ 8 w 129"/>
                <a:gd name="T5" fmla="*/ 25 h 168"/>
                <a:gd name="T6" fmla="*/ 12 w 129"/>
                <a:gd name="T7" fmla="*/ 29 h 168"/>
                <a:gd name="T8" fmla="*/ 48 w 129"/>
                <a:gd name="T9" fmla="*/ 29 h 168"/>
                <a:gd name="T10" fmla="*/ 48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2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2" y="0"/>
                  </a:moveTo>
                  <a:cubicBezTo>
                    <a:pt x="9" y="0"/>
                    <a:pt x="8" y="1"/>
                    <a:pt x="8" y="4"/>
                  </a:cubicBezTo>
                  <a:cubicBezTo>
                    <a:pt x="8" y="25"/>
                    <a:pt x="8" y="25"/>
                    <a:pt x="8" y="25"/>
                  </a:cubicBezTo>
                  <a:cubicBezTo>
                    <a:pt x="8" y="27"/>
                    <a:pt x="9" y="29"/>
                    <a:pt x="12" y="29"/>
                  </a:cubicBezTo>
                  <a:cubicBezTo>
                    <a:pt x="48" y="29"/>
                    <a:pt x="48" y="29"/>
                    <a:pt x="48" y="29"/>
                  </a:cubicBezTo>
                  <a:cubicBezTo>
                    <a:pt x="48" y="140"/>
                    <a:pt x="48" y="140"/>
                    <a:pt x="48"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8" y="140"/>
                    <a:pt x="125" y="140"/>
                  </a:cubicBezTo>
                  <a:cubicBezTo>
                    <a:pt x="76" y="140"/>
                    <a:pt x="76" y="140"/>
                    <a:pt x="76" y="140"/>
                  </a:cubicBezTo>
                  <a:cubicBezTo>
                    <a:pt x="76" y="4"/>
                    <a:pt x="76" y="4"/>
                    <a:pt x="76" y="4"/>
                  </a:cubicBezTo>
                  <a:cubicBezTo>
                    <a:pt x="76" y="1"/>
                    <a:pt x="75" y="0"/>
                    <a:pt x="72" y="0"/>
                  </a:cubicBez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20" name="Freeform 6">
              <a:extLst>
                <a:ext uri="{FF2B5EF4-FFF2-40B4-BE49-F238E27FC236}">
                  <a16:creationId xmlns:a16="http://schemas.microsoft.com/office/drawing/2014/main" id="{1653ECA1-3AB4-47BE-A42E-29B1E3B7D882}"/>
                </a:ext>
              </a:extLst>
            </p:cNvPr>
            <p:cNvSpPr>
              <a:spLocks/>
            </p:cNvSpPr>
            <p:nvPr/>
          </p:nvSpPr>
          <p:spPr bwMode="auto">
            <a:xfrm>
              <a:off x="3798" y="1728"/>
              <a:ext cx="244" cy="318"/>
            </a:xfrm>
            <a:custGeom>
              <a:avLst/>
              <a:gdLst>
                <a:gd name="T0" fmla="*/ 11 w 129"/>
                <a:gd name="T1" fmla="*/ 0 h 168"/>
                <a:gd name="T2" fmla="*/ 8 w 129"/>
                <a:gd name="T3" fmla="*/ 4 h 168"/>
                <a:gd name="T4" fmla="*/ 8 w 129"/>
                <a:gd name="T5" fmla="*/ 25 h 168"/>
                <a:gd name="T6" fmla="*/ 11 w 129"/>
                <a:gd name="T7" fmla="*/ 29 h 168"/>
                <a:gd name="T8" fmla="*/ 47 w 129"/>
                <a:gd name="T9" fmla="*/ 29 h 168"/>
                <a:gd name="T10" fmla="*/ 47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1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1" y="0"/>
                  </a:moveTo>
                  <a:cubicBezTo>
                    <a:pt x="9" y="0"/>
                    <a:pt x="8" y="1"/>
                    <a:pt x="8" y="4"/>
                  </a:cubicBezTo>
                  <a:cubicBezTo>
                    <a:pt x="8" y="25"/>
                    <a:pt x="8" y="25"/>
                    <a:pt x="8" y="25"/>
                  </a:cubicBezTo>
                  <a:cubicBezTo>
                    <a:pt x="8" y="27"/>
                    <a:pt x="9" y="29"/>
                    <a:pt x="11" y="29"/>
                  </a:cubicBezTo>
                  <a:cubicBezTo>
                    <a:pt x="47" y="29"/>
                    <a:pt x="47" y="29"/>
                    <a:pt x="47" y="29"/>
                  </a:cubicBezTo>
                  <a:cubicBezTo>
                    <a:pt x="47" y="140"/>
                    <a:pt x="47" y="140"/>
                    <a:pt x="47"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7" y="140"/>
                    <a:pt x="125" y="140"/>
                  </a:cubicBezTo>
                  <a:cubicBezTo>
                    <a:pt x="76" y="140"/>
                    <a:pt x="76" y="140"/>
                    <a:pt x="76" y="140"/>
                  </a:cubicBezTo>
                  <a:cubicBezTo>
                    <a:pt x="76" y="4"/>
                    <a:pt x="76" y="4"/>
                    <a:pt x="76" y="4"/>
                  </a:cubicBezTo>
                  <a:cubicBezTo>
                    <a:pt x="75" y="1"/>
                    <a:pt x="74" y="0"/>
                    <a:pt x="72" y="0"/>
                  </a:cubicBez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21" name="Freeform 7">
              <a:extLst>
                <a:ext uri="{FF2B5EF4-FFF2-40B4-BE49-F238E27FC236}">
                  <a16:creationId xmlns:a16="http://schemas.microsoft.com/office/drawing/2014/main" id="{0D986EC0-5473-4884-81B3-875C9DA7C543}"/>
                </a:ext>
              </a:extLst>
            </p:cNvPr>
            <p:cNvSpPr>
              <a:spLocks/>
            </p:cNvSpPr>
            <p:nvPr/>
          </p:nvSpPr>
          <p:spPr bwMode="auto">
            <a:xfrm>
              <a:off x="4361" y="1728"/>
              <a:ext cx="297" cy="464"/>
            </a:xfrm>
            <a:custGeom>
              <a:avLst/>
              <a:gdLst>
                <a:gd name="T0" fmla="*/ 132 w 157"/>
                <a:gd name="T1" fmla="*/ 0 h 245"/>
                <a:gd name="T2" fmla="*/ 127 w 157"/>
                <a:gd name="T3" fmla="*/ 3 h 245"/>
                <a:gd name="T4" fmla="*/ 127 w 157"/>
                <a:gd name="T5" fmla="*/ 3 h 245"/>
                <a:gd name="T6" fmla="*/ 79 w 157"/>
                <a:gd name="T7" fmla="*/ 128 h 245"/>
                <a:gd name="T8" fmla="*/ 30 w 157"/>
                <a:gd name="T9" fmla="*/ 4 h 245"/>
                <a:gd name="T10" fmla="*/ 25 w 157"/>
                <a:gd name="T11" fmla="*/ 0 h 245"/>
                <a:gd name="T12" fmla="*/ 4 w 157"/>
                <a:gd name="T13" fmla="*/ 0 h 245"/>
                <a:gd name="T14" fmla="*/ 0 w 157"/>
                <a:gd name="T15" fmla="*/ 3 h 245"/>
                <a:gd name="T16" fmla="*/ 1 w 157"/>
                <a:gd name="T17" fmla="*/ 6 h 245"/>
                <a:gd name="T18" fmla="*/ 1 w 157"/>
                <a:gd name="T19" fmla="*/ 6 h 245"/>
                <a:gd name="T20" fmla="*/ 1 w 157"/>
                <a:gd name="T21" fmla="*/ 6 h 245"/>
                <a:gd name="T22" fmla="*/ 64 w 157"/>
                <a:gd name="T23" fmla="*/ 168 h 245"/>
                <a:gd name="T24" fmla="*/ 59 w 157"/>
                <a:gd name="T25" fmla="*/ 182 h 245"/>
                <a:gd name="T26" fmla="*/ 48 w 157"/>
                <a:gd name="T27" fmla="*/ 205 h 245"/>
                <a:gd name="T28" fmla="*/ 38 w 157"/>
                <a:gd name="T29" fmla="*/ 215 h 245"/>
                <a:gd name="T30" fmla="*/ 30 w 157"/>
                <a:gd name="T31" fmla="*/ 217 h 245"/>
                <a:gd name="T32" fmla="*/ 26 w 157"/>
                <a:gd name="T33" fmla="*/ 216 h 245"/>
                <a:gd name="T34" fmla="*/ 14 w 157"/>
                <a:gd name="T35" fmla="*/ 213 h 245"/>
                <a:gd name="T36" fmla="*/ 7 w 157"/>
                <a:gd name="T37" fmla="*/ 210 h 245"/>
                <a:gd name="T38" fmla="*/ 3 w 157"/>
                <a:gd name="T39" fmla="*/ 215 h 245"/>
                <a:gd name="T40" fmla="*/ 3 w 157"/>
                <a:gd name="T41" fmla="*/ 233 h 245"/>
                <a:gd name="T42" fmla="*/ 3 w 157"/>
                <a:gd name="T43" fmla="*/ 233 h 245"/>
                <a:gd name="T44" fmla="*/ 7 w 157"/>
                <a:gd name="T45" fmla="*/ 240 h 245"/>
                <a:gd name="T46" fmla="*/ 32 w 157"/>
                <a:gd name="T47" fmla="*/ 245 h 245"/>
                <a:gd name="T48" fmla="*/ 54 w 157"/>
                <a:gd name="T49" fmla="*/ 238 h 245"/>
                <a:gd name="T50" fmla="*/ 73 w 157"/>
                <a:gd name="T51" fmla="*/ 220 h 245"/>
                <a:gd name="T52" fmla="*/ 79 w 157"/>
                <a:gd name="T53" fmla="*/ 208 h 245"/>
                <a:gd name="T54" fmla="*/ 156 w 157"/>
                <a:gd name="T55" fmla="*/ 6 h 245"/>
                <a:gd name="T56" fmla="*/ 157 w 157"/>
                <a:gd name="T57" fmla="*/ 3 h 245"/>
                <a:gd name="T58" fmla="*/ 153 w 157"/>
                <a:gd name="T59" fmla="*/ 0 h 245"/>
                <a:gd name="T60" fmla="*/ 132 w 157"/>
                <a:gd name="T6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7" h="245">
                  <a:moveTo>
                    <a:pt x="132" y="0"/>
                  </a:moveTo>
                  <a:cubicBezTo>
                    <a:pt x="129" y="0"/>
                    <a:pt x="128" y="1"/>
                    <a:pt x="127" y="3"/>
                  </a:cubicBezTo>
                  <a:cubicBezTo>
                    <a:pt x="127" y="3"/>
                    <a:pt x="127" y="3"/>
                    <a:pt x="127" y="3"/>
                  </a:cubicBezTo>
                  <a:cubicBezTo>
                    <a:pt x="79" y="128"/>
                    <a:pt x="79" y="128"/>
                    <a:pt x="79" y="128"/>
                  </a:cubicBezTo>
                  <a:cubicBezTo>
                    <a:pt x="30" y="4"/>
                    <a:pt x="30" y="4"/>
                    <a:pt x="30" y="4"/>
                  </a:cubicBezTo>
                  <a:cubicBezTo>
                    <a:pt x="29" y="1"/>
                    <a:pt x="28" y="0"/>
                    <a:pt x="25" y="0"/>
                  </a:cubicBezTo>
                  <a:cubicBezTo>
                    <a:pt x="4" y="0"/>
                    <a:pt x="4" y="0"/>
                    <a:pt x="4" y="0"/>
                  </a:cubicBezTo>
                  <a:cubicBezTo>
                    <a:pt x="2" y="0"/>
                    <a:pt x="0" y="1"/>
                    <a:pt x="0" y="3"/>
                  </a:cubicBezTo>
                  <a:cubicBezTo>
                    <a:pt x="0" y="4"/>
                    <a:pt x="1" y="5"/>
                    <a:pt x="1" y="6"/>
                  </a:cubicBezTo>
                  <a:cubicBezTo>
                    <a:pt x="1" y="6"/>
                    <a:pt x="1" y="6"/>
                    <a:pt x="1" y="6"/>
                  </a:cubicBezTo>
                  <a:cubicBezTo>
                    <a:pt x="1" y="6"/>
                    <a:pt x="1" y="6"/>
                    <a:pt x="1" y="6"/>
                  </a:cubicBezTo>
                  <a:cubicBezTo>
                    <a:pt x="64" y="168"/>
                    <a:pt x="64" y="168"/>
                    <a:pt x="64" y="168"/>
                  </a:cubicBezTo>
                  <a:cubicBezTo>
                    <a:pt x="59" y="182"/>
                    <a:pt x="59" y="182"/>
                    <a:pt x="59" y="182"/>
                  </a:cubicBezTo>
                  <a:cubicBezTo>
                    <a:pt x="57" y="187"/>
                    <a:pt x="53" y="199"/>
                    <a:pt x="48" y="205"/>
                  </a:cubicBezTo>
                  <a:cubicBezTo>
                    <a:pt x="44" y="211"/>
                    <a:pt x="42" y="213"/>
                    <a:pt x="38" y="215"/>
                  </a:cubicBezTo>
                  <a:cubicBezTo>
                    <a:pt x="35" y="216"/>
                    <a:pt x="33" y="217"/>
                    <a:pt x="30" y="217"/>
                  </a:cubicBezTo>
                  <a:cubicBezTo>
                    <a:pt x="28" y="217"/>
                    <a:pt x="27" y="217"/>
                    <a:pt x="26" y="216"/>
                  </a:cubicBezTo>
                  <a:cubicBezTo>
                    <a:pt x="22" y="216"/>
                    <a:pt x="18" y="214"/>
                    <a:pt x="14" y="213"/>
                  </a:cubicBezTo>
                  <a:cubicBezTo>
                    <a:pt x="11" y="212"/>
                    <a:pt x="9" y="210"/>
                    <a:pt x="7" y="210"/>
                  </a:cubicBezTo>
                  <a:cubicBezTo>
                    <a:pt x="5" y="210"/>
                    <a:pt x="3" y="212"/>
                    <a:pt x="3" y="215"/>
                  </a:cubicBezTo>
                  <a:cubicBezTo>
                    <a:pt x="3" y="233"/>
                    <a:pt x="3" y="233"/>
                    <a:pt x="3" y="233"/>
                  </a:cubicBezTo>
                  <a:cubicBezTo>
                    <a:pt x="3" y="233"/>
                    <a:pt x="3" y="233"/>
                    <a:pt x="3" y="233"/>
                  </a:cubicBezTo>
                  <a:cubicBezTo>
                    <a:pt x="3" y="236"/>
                    <a:pt x="4" y="238"/>
                    <a:pt x="7" y="240"/>
                  </a:cubicBezTo>
                  <a:cubicBezTo>
                    <a:pt x="15" y="243"/>
                    <a:pt x="21" y="245"/>
                    <a:pt x="32" y="245"/>
                  </a:cubicBezTo>
                  <a:cubicBezTo>
                    <a:pt x="41" y="244"/>
                    <a:pt x="47" y="242"/>
                    <a:pt x="54" y="238"/>
                  </a:cubicBezTo>
                  <a:cubicBezTo>
                    <a:pt x="61" y="233"/>
                    <a:pt x="67" y="227"/>
                    <a:pt x="73" y="220"/>
                  </a:cubicBezTo>
                  <a:cubicBezTo>
                    <a:pt x="75" y="216"/>
                    <a:pt x="77" y="212"/>
                    <a:pt x="79" y="208"/>
                  </a:cubicBezTo>
                  <a:cubicBezTo>
                    <a:pt x="83" y="200"/>
                    <a:pt x="144" y="40"/>
                    <a:pt x="156" y="6"/>
                  </a:cubicBezTo>
                  <a:cubicBezTo>
                    <a:pt x="157" y="5"/>
                    <a:pt x="157" y="4"/>
                    <a:pt x="157" y="3"/>
                  </a:cubicBezTo>
                  <a:cubicBezTo>
                    <a:pt x="157" y="1"/>
                    <a:pt x="155" y="0"/>
                    <a:pt x="153" y="0"/>
                  </a:cubicBezTo>
                  <a:lnTo>
                    <a:pt x="1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22" name="Freeform 8">
              <a:extLst>
                <a:ext uri="{FF2B5EF4-FFF2-40B4-BE49-F238E27FC236}">
                  <a16:creationId xmlns:a16="http://schemas.microsoft.com/office/drawing/2014/main" id="{CEAC8C8C-A319-4A4F-95A2-5FFCE55E3ADF}"/>
                </a:ext>
              </a:extLst>
            </p:cNvPr>
            <p:cNvSpPr>
              <a:spLocks/>
            </p:cNvSpPr>
            <p:nvPr/>
          </p:nvSpPr>
          <p:spPr bwMode="auto">
            <a:xfrm>
              <a:off x="3457" y="1726"/>
              <a:ext cx="263" cy="322"/>
            </a:xfrm>
            <a:custGeom>
              <a:avLst/>
              <a:gdLst>
                <a:gd name="T0" fmla="*/ 28 w 139"/>
                <a:gd name="T1" fmla="*/ 21 h 170"/>
                <a:gd name="T2" fmla="*/ 28 w 139"/>
                <a:gd name="T3" fmla="*/ 6 h 170"/>
                <a:gd name="T4" fmla="*/ 25 w 139"/>
                <a:gd name="T5" fmla="*/ 3 h 170"/>
                <a:gd name="T6" fmla="*/ 4 w 139"/>
                <a:gd name="T7" fmla="*/ 3 h 170"/>
                <a:gd name="T8" fmla="*/ 0 w 139"/>
                <a:gd name="T9" fmla="*/ 6 h 170"/>
                <a:gd name="T10" fmla="*/ 0 w 139"/>
                <a:gd name="T11" fmla="*/ 167 h 170"/>
                <a:gd name="T12" fmla="*/ 4 w 139"/>
                <a:gd name="T13" fmla="*/ 170 h 170"/>
                <a:gd name="T14" fmla="*/ 25 w 139"/>
                <a:gd name="T15" fmla="*/ 170 h 170"/>
                <a:gd name="T16" fmla="*/ 28 w 139"/>
                <a:gd name="T17" fmla="*/ 167 h 170"/>
                <a:gd name="T18" fmla="*/ 28 w 139"/>
                <a:gd name="T19" fmla="*/ 68 h 170"/>
                <a:gd name="T20" fmla="*/ 70 w 139"/>
                <a:gd name="T21" fmla="*/ 28 h 170"/>
                <a:gd name="T22" fmla="*/ 111 w 139"/>
                <a:gd name="T23" fmla="*/ 68 h 170"/>
                <a:gd name="T24" fmla="*/ 111 w 139"/>
                <a:gd name="T25" fmla="*/ 167 h 170"/>
                <a:gd name="T26" fmla="*/ 111 w 139"/>
                <a:gd name="T27" fmla="*/ 167 h 170"/>
                <a:gd name="T28" fmla="*/ 114 w 139"/>
                <a:gd name="T29" fmla="*/ 170 h 170"/>
                <a:gd name="T30" fmla="*/ 136 w 139"/>
                <a:gd name="T31" fmla="*/ 170 h 170"/>
                <a:gd name="T32" fmla="*/ 139 w 139"/>
                <a:gd name="T33" fmla="*/ 167 h 170"/>
                <a:gd name="T34" fmla="*/ 139 w 139"/>
                <a:gd name="T35" fmla="*/ 68 h 170"/>
                <a:gd name="T36" fmla="*/ 139 w 139"/>
                <a:gd name="T37" fmla="*/ 68 h 170"/>
                <a:gd name="T38" fmla="*/ 139 w 139"/>
                <a:gd name="T39" fmla="*/ 68 h 170"/>
                <a:gd name="T40" fmla="*/ 120 w 139"/>
                <a:gd name="T41" fmla="*/ 20 h 170"/>
                <a:gd name="T42" fmla="*/ 70 w 139"/>
                <a:gd name="T43" fmla="*/ 0 h 170"/>
                <a:gd name="T44" fmla="*/ 28 w 139"/>
                <a:gd name="T45" fmla="*/ 2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170">
                  <a:moveTo>
                    <a:pt x="28" y="21"/>
                  </a:moveTo>
                  <a:cubicBezTo>
                    <a:pt x="28" y="6"/>
                    <a:pt x="28" y="6"/>
                    <a:pt x="28" y="6"/>
                  </a:cubicBezTo>
                  <a:cubicBezTo>
                    <a:pt x="28" y="4"/>
                    <a:pt x="27" y="3"/>
                    <a:pt x="25" y="3"/>
                  </a:cubicBezTo>
                  <a:cubicBezTo>
                    <a:pt x="4" y="3"/>
                    <a:pt x="4" y="3"/>
                    <a:pt x="4" y="3"/>
                  </a:cubicBezTo>
                  <a:cubicBezTo>
                    <a:pt x="1" y="3"/>
                    <a:pt x="0" y="4"/>
                    <a:pt x="0" y="6"/>
                  </a:cubicBezTo>
                  <a:cubicBezTo>
                    <a:pt x="0" y="167"/>
                    <a:pt x="0" y="167"/>
                    <a:pt x="0" y="167"/>
                  </a:cubicBezTo>
                  <a:cubicBezTo>
                    <a:pt x="0" y="169"/>
                    <a:pt x="1" y="170"/>
                    <a:pt x="4" y="170"/>
                  </a:cubicBezTo>
                  <a:cubicBezTo>
                    <a:pt x="25" y="170"/>
                    <a:pt x="25" y="170"/>
                    <a:pt x="25" y="170"/>
                  </a:cubicBezTo>
                  <a:cubicBezTo>
                    <a:pt x="27" y="170"/>
                    <a:pt x="28" y="169"/>
                    <a:pt x="28" y="167"/>
                  </a:cubicBezTo>
                  <a:cubicBezTo>
                    <a:pt x="28" y="68"/>
                    <a:pt x="28" y="68"/>
                    <a:pt x="28" y="68"/>
                  </a:cubicBezTo>
                  <a:cubicBezTo>
                    <a:pt x="28" y="49"/>
                    <a:pt x="42" y="28"/>
                    <a:pt x="70" y="28"/>
                  </a:cubicBezTo>
                  <a:cubicBezTo>
                    <a:pt x="97" y="28"/>
                    <a:pt x="111" y="49"/>
                    <a:pt x="111" y="68"/>
                  </a:cubicBezTo>
                  <a:cubicBezTo>
                    <a:pt x="111" y="167"/>
                    <a:pt x="111" y="167"/>
                    <a:pt x="111" y="167"/>
                  </a:cubicBezTo>
                  <a:cubicBezTo>
                    <a:pt x="111" y="167"/>
                    <a:pt x="111" y="167"/>
                    <a:pt x="111" y="167"/>
                  </a:cubicBezTo>
                  <a:cubicBezTo>
                    <a:pt x="111" y="169"/>
                    <a:pt x="112" y="170"/>
                    <a:pt x="114" y="170"/>
                  </a:cubicBezTo>
                  <a:cubicBezTo>
                    <a:pt x="136" y="170"/>
                    <a:pt x="136" y="170"/>
                    <a:pt x="136" y="170"/>
                  </a:cubicBezTo>
                  <a:cubicBezTo>
                    <a:pt x="138" y="170"/>
                    <a:pt x="139" y="169"/>
                    <a:pt x="139" y="167"/>
                  </a:cubicBezTo>
                  <a:cubicBezTo>
                    <a:pt x="139" y="68"/>
                    <a:pt x="139" y="68"/>
                    <a:pt x="139" y="68"/>
                  </a:cubicBezTo>
                  <a:cubicBezTo>
                    <a:pt x="139" y="68"/>
                    <a:pt x="139" y="68"/>
                    <a:pt x="139" y="68"/>
                  </a:cubicBezTo>
                  <a:cubicBezTo>
                    <a:pt x="139" y="68"/>
                    <a:pt x="139" y="68"/>
                    <a:pt x="139" y="68"/>
                  </a:cubicBezTo>
                  <a:cubicBezTo>
                    <a:pt x="139" y="51"/>
                    <a:pt x="133" y="35"/>
                    <a:pt x="120" y="20"/>
                  </a:cubicBezTo>
                  <a:cubicBezTo>
                    <a:pt x="109" y="7"/>
                    <a:pt x="88" y="0"/>
                    <a:pt x="70" y="0"/>
                  </a:cubicBezTo>
                  <a:cubicBezTo>
                    <a:pt x="41" y="0"/>
                    <a:pt x="28" y="21"/>
                    <a:pt x="28"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23" name="Freeform 9">
              <a:extLst>
                <a:ext uri="{FF2B5EF4-FFF2-40B4-BE49-F238E27FC236}">
                  <a16:creationId xmlns:a16="http://schemas.microsoft.com/office/drawing/2014/main" id="{F28C50EA-77B2-44BA-85E0-41720CE671B9}"/>
                </a:ext>
              </a:extLst>
            </p:cNvPr>
            <p:cNvSpPr>
              <a:spLocks/>
            </p:cNvSpPr>
            <p:nvPr/>
          </p:nvSpPr>
          <p:spPr bwMode="auto">
            <a:xfrm>
              <a:off x="2264" y="1724"/>
              <a:ext cx="246" cy="328"/>
            </a:xfrm>
            <a:custGeom>
              <a:avLst/>
              <a:gdLst>
                <a:gd name="T0" fmla="*/ 4 w 130"/>
                <a:gd name="T1" fmla="*/ 48 h 173"/>
                <a:gd name="T2" fmla="*/ 56 w 130"/>
                <a:gd name="T3" fmla="*/ 97 h 173"/>
                <a:gd name="T4" fmla="*/ 57 w 130"/>
                <a:gd name="T5" fmla="*/ 98 h 173"/>
                <a:gd name="T6" fmla="*/ 101 w 130"/>
                <a:gd name="T7" fmla="*/ 124 h 173"/>
                <a:gd name="T8" fmla="*/ 66 w 130"/>
                <a:gd name="T9" fmla="*/ 146 h 173"/>
                <a:gd name="T10" fmla="*/ 30 w 130"/>
                <a:gd name="T11" fmla="*/ 118 h 173"/>
                <a:gd name="T12" fmla="*/ 26 w 130"/>
                <a:gd name="T13" fmla="*/ 114 h 173"/>
                <a:gd name="T14" fmla="*/ 5 w 130"/>
                <a:gd name="T15" fmla="*/ 114 h 173"/>
                <a:gd name="T16" fmla="*/ 0 w 130"/>
                <a:gd name="T17" fmla="*/ 118 h 173"/>
                <a:gd name="T18" fmla="*/ 65 w 130"/>
                <a:gd name="T19" fmla="*/ 173 h 173"/>
                <a:gd name="T20" fmla="*/ 130 w 130"/>
                <a:gd name="T21" fmla="*/ 120 h 173"/>
                <a:gd name="T22" fmla="*/ 72 w 130"/>
                <a:gd name="T23" fmla="*/ 74 h 173"/>
                <a:gd name="T24" fmla="*/ 32 w 130"/>
                <a:gd name="T25" fmla="*/ 48 h 173"/>
                <a:gd name="T26" fmla="*/ 63 w 130"/>
                <a:gd name="T27" fmla="*/ 27 h 173"/>
                <a:gd name="T28" fmla="*/ 97 w 130"/>
                <a:gd name="T29" fmla="*/ 49 h 173"/>
                <a:gd name="T30" fmla="*/ 102 w 130"/>
                <a:gd name="T31" fmla="*/ 53 h 173"/>
                <a:gd name="T32" fmla="*/ 120 w 130"/>
                <a:gd name="T33" fmla="*/ 53 h 173"/>
                <a:gd name="T34" fmla="*/ 125 w 130"/>
                <a:gd name="T35" fmla="*/ 48 h 173"/>
                <a:gd name="T36" fmla="*/ 63 w 130"/>
                <a:gd name="T37" fmla="*/ 0 h 173"/>
                <a:gd name="T38" fmla="*/ 4 w 130"/>
                <a:gd name="T39" fmla="*/ 4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173">
                  <a:moveTo>
                    <a:pt x="4" y="48"/>
                  </a:moveTo>
                  <a:cubicBezTo>
                    <a:pt x="4" y="77"/>
                    <a:pt x="19" y="91"/>
                    <a:pt x="56" y="97"/>
                  </a:cubicBezTo>
                  <a:cubicBezTo>
                    <a:pt x="57" y="98"/>
                    <a:pt x="57" y="98"/>
                    <a:pt x="57" y="98"/>
                  </a:cubicBezTo>
                  <a:cubicBezTo>
                    <a:pt x="83" y="102"/>
                    <a:pt x="101" y="105"/>
                    <a:pt x="101" y="124"/>
                  </a:cubicBezTo>
                  <a:cubicBezTo>
                    <a:pt x="101" y="139"/>
                    <a:pt x="83" y="146"/>
                    <a:pt x="66" y="146"/>
                  </a:cubicBezTo>
                  <a:cubicBezTo>
                    <a:pt x="46" y="146"/>
                    <a:pt x="33" y="136"/>
                    <a:pt x="30" y="118"/>
                  </a:cubicBezTo>
                  <a:cubicBezTo>
                    <a:pt x="30" y="116"/>
                    <a:pt x="29" y="114"/>
                    <a:pt x="26" y="114"/>
                  </a:cubicBezTo>
                  <a:cubicBezTo>
                    <a:pt x="5" y="114"/>
                    <a:pt x="5" y="114"/>
                    <a:pt x="5" y="114"/>
                  </a:cubicBezTo>
                  <a:cubicBezTo>
                    <a:pt x="2" y="114"/>
                    <a:pt x="0" y="116"/>
                    <a:pt x="0" y="118"/>
                  </a:cubicBezTo>
                  <a:cubicBezTo>
                    <a:pt x="0" y="150"/>
                    <a:pt x="27" y="173"/>
                    <a:pt x="65" y="173"/>
                  </a:cubicBezTo>
                  <a:cubicBezTo>
                    <a:pt x="104" y="173"/>
                    <a:pt x="130" y="151"/>
                    <a:pt x="130" y="120"/>
                  </a:cubicBezTo>
                  <a:cubicBezTo>
                    <a:pt x="130" y="86"/>
                    <a:pt x="100" y="79"/>
                    <a:pt x="72" y="74"/>
                  </a:cubicBezTo>
                  <a:cubicBezTo>
                    <a:pt x="37" y="68"/>
                    <a:pt x="32" y="58"/>
                    <a:pt x="32" y="48"/>
                  </a:cubicBezTo>
                  <a:cubicBezTo>
                    <a:pt x="32" y="32"/>
                    <a:pt x="49" y="27"/>
                    <a:pt x="63" y="27"/>
                  </a:cubicBezTo>
                  <a:cubicBezTo>
                    <a:pt x="82" y="27"/>
                    <a:pt x="94" y="34"/>
                    <a:pt x="97" y="49"/>
                  </a:cubicBezTo>
                  <a:cubicBezTo>
                    <a:pt x="98" y="51"/>
                    <a:pt x="98" y="53"/>
                    <a:pt x="102" y="53"/>
                  </a:cubicBezTo>
                  <a:cubicBezTo>
                    <a:pt x="120" y="53"/>
                    <a:pt x="120" y="53"/>
                    <a:pt x="120" y="53"/>
                  </a:cubicBezTo>
                  <a:cubicBezTo>
                    <a:pt x="123" y="53"/>
                    <a:pt x="125" y="51"/>
                    <a:pt x="125" y="48"/>
                  </a:cubicBezTo>
                  <a:cubicBezTo>
                    <a:pt x="125" y="19"/>
                    <a:pt x="100" y="0"/>
                    <a:pt x="63" y="0"/>
                  </a:cubicBezTo>
                  <a:cubicBezTo>
                    <a:pt x="22" y="0"/>
                    <a:pt x="4" y="25"/>
                    <a:pt x="4" y="4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24" name="Freeform 10">
              <a:extLst>
                <a:ext uri="{FF2B5EF4-FFF2-40B4-BE49-F238E27FC236}">
                  <a16:creationId xmlns:a16="http://schemas.microsoft.com/office/drawing/2014/main" id="{29C9869C-B6EC-4057-A952-E2CE4A44C368}"/>
                </a:ext>
              </a:extLst>
            </p:cNvPr>
            <p:cNvSpPr>
              <a:spLocks/>
            </p:cNvSpPr>
            <p:nvPr/>
          </p:nvSpPr>
          <p:spPr bwMode="auto">
            <a:xfrm>
              <a:off x="3062" y="1722"/>
              <a:ext cx="312" cy="474"/>
            </a:xfrm>
            <a:custGeom>
              <a:avLst/>
              <a:gdLst>
                <a:gd name="T0" fmla="*/ 67 w 165"/>
                <a:gd name="T1" fmla="*/ 0 h 250"/>
                <a:gd name="T2" fmla="*/ 0 w 165"/>
                <a:gd name="T3" fmla="*/ 86 h 250"/>
                <a:gd name="T4" fmla="*/ 82 w 165"/>
                <a:gd name="T5" fmla="*/ 174 h 250"/>
                <a:gd name="T6" fmla="*/ 137 w 165"/>
                <a:gd name="T7" fmla="*/ 152 h 250"/>
                <a:gd name="T8" fmla="*/ 137 w 165"/>
                <a:gd name="T9" fmla="*/ 173 h 250"/>
                <a:gd name="T10" fmla="*/ 89 w 165"/>
                <a:gd name="T11" fmla="*/ 222 h 250"/>
                <a:gd name="T12" fmla="*/ 48 w 165"/>
                <a:gd name="T13" fmla="*/ 194 h 250"/>
                <a:gd name="T14" fmla="*/ 43 w 165"/>
                <a:gd name="T15" fmla="*/ 190 h 250"/>
                <a:gd name="T16" fmla="*/ 24 w 165"/>
                <a:gd name="T17" fmla="*/ 190 h 250"/>
                <a:gd name="T18" fmla="*/ 19 w 165"/>
                <a:gd name="T19" fmla="*/ 195 h 250"/>
                <a:gd name="T20" fmla="*/ 89 w 165"/>
                <a:gd name="T21" fmla="*/ 250 h 250"/>
                <a:gd name="T22" fmla="*/ 165 w 165"/>
                <a:gd name="T23" fmla="*/ 174 h 250"/>
                <a:gd name="T24" fmla="*/ 165 w 165"/>
                <a:gd name="T25" fmla="*/ 7 h 250"/>
                <a:gd name="T26" fmla="*/ 162 w 165"/>
                <a:gd name="T27" fmla="*/ 4 h 250"/>
                <a:gd name="T28" fmla="*/ 140 w 165"/>
                <a:gd name="T29" fmla="*/ 4 h 250"/>
                <a:gd name="T30" fmla="*/ 137 w 165"/>
                <a:gd name="T31" fmla="*/ 7 h 250"/>
                <a:gd name="T32" fmla="*/ 137 w 165"/>
                <a:gd name="T33" fmla="*/ 21 h 250"/>
                <a:gd name="T34" fmla="*/ 99 w 165"/>
                <a:gd name="T35" fmla="*/ 0 h 250"/>
                <a:gd name="T36" fmla="*/ 96 w 165"/>
                <a:gd name="T37" fmla="*/ 3 h 250"/>
                <a:gd name="T38" fmla="*/ 96 w 165"/>
                <a:gd name="T39" fmla="*/ 28 h 250"/>
                <a:gd name="T40" fmla="*/ 97 w 165"/>
                <a:gd name="T41" fmla="*/ 31 h 250"/>
                <a:gd name="T42" fmla="*/ 138 w 165"/>
                <a:gd name="T43" fmla="*/ 87 h 250"/>
                <a:gd name="T44" fmla="*/ 83 w 165"/>
                <a:gd name="T45" fmla="*/ 146 h 250"/>
                <a:gd name="T46" fmla="*/ 29 w 165"/>
                <a:gd name="T47" fmla="*/ 87 h 250"/>
                <a:gd name="T48" fmla="*/ 68 w 165"/>
                <a:gd name="T49" fmla="*/ 31 h 250"/>
                <a:gd name="T50" fmla="*/ 70 w 165"/>
                <a:gd name="T51" fmla="*/ 29 h 250"/>
                <a:gd name="T52" fmla="*/ 70 w 165"/>
                <a:gd name="T53" fmla="*/ 3 h 250"/>
                <a:gd name="T54" fmla="*/ 67 w 165"/>
                <a:gd name="T55" fmla="*/ 0 h 250"/>
                <a:gd name="T56" fmla="*/ 67 w 165"/>
                <a:gd name="T57"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5" h="250">
                  <a:moveTo>
                    <a:pt x="67" y="0"/>
                  </a:moveTo>
                  <a:cubicBezTo>
                    <a:pt x="29" y="8"/>
                    <a:pt x="0" y="44"/>
                    <a:pt x="0" y="86"/>
                  </a:cubicBezTo>
                  <a:cubicBezTo>
                    <a:pt x="0" y="135"/>
                    <a:pt x="37" y="174"/>
                    <a:pt x="82" y="174"/>
                  </a:cubicBezTo>
                  <a:cubicBezTo>
                    <a:pt x="103" y="174"/>
                    <a:pt x="122" y="166"/>
                    <a:pt x="137" y="152"/>
                  </a:cubicBezTo>
                  <a:cubicBezTo>
                    <a:pt x="137" y="173"/>
                    <a:pt x="137" y="173"/>
                    <a:pt x="137" y="173"/>
                  </a:cubicBezTo>
                  <a:cubicBezTo>
                    <a:pt x="137" y="205"/>
                    <a:pt x="120" y="222"/>
                    <a:pt x="89" y="222"/>
                  </a:cubicBezTo>
                  <a:cubicBezTo>
                    <a:pt x="66" y="222"/>
                    <a:pt x="52" y="213"/>
                    <a:pt x="48" y="194"/>
                  </a:cubicBezTo>
                  <a:cubicBezTo>
                    <a:pt x="47" y="192"/>
                    <a:pt x="46" y="190"/>
                    <a:pt x="43" y="190"/>
                  </a:cubicBezTo>
                  <a:cubicBezTo>
                    <a:pt x="24" y="190"/>
                    <a:pt x="24" y="190"/>
                    <a:pt x="24" y="190"/>
                  </a:cubicBezTo>
                  <a:cubicBezTo>
                    <a:pt x="21" y="190"/>
                    <a:pt x="19" y="192"/>
                    <a:pt x="19" y="195"/>
                  </a:cubicBezTo>
                  <a:cubicBezTo>
                    <a:pt x="22" y="228"/>
                    <a:pt x="51" y="250"/>
                    <a:pt x="89" y="250"/>
                  </a:cubicBezTo>
                  <a:cubicBezTo>
                    <a:pt x="135" y="250"/>
                    <a:pt x="165" y="219"/>
                    <a:pt x="165" y="174"/>
                  </a:cubicBezTo>
                  <a:cubicBezTo>
                    <a:pt x="165" y="7"/>
                    <a:pt x="165" y="7"/>
                    <a:pt x="165" y="7"/>
                  </a:cubicBezTo>
                  <a:cubicBezTo>
                    <a:pt x="165" y="5"/>
                    <a:pt x="164" y="4"/>
                    <a:pt x="162" y="4"/>
                  </a:cubicBezTo>
                  <a:cubicBezTo>
                    <a:pt x="140" y="4"/>
                    <a:pt x="140" y="4"/>
                    <a:pt x="140" y="4"/>
                  </a:cubicBezTo>
                  <a:cubicBezTo>
                    <a:pt x="138" y="4"/>
                    <a:pt x="137" y="5"/>
                    <a:pt x="137" y="7"/>
                  </a:cubicBezTo>
                  <a:cubicBezTo>
                    <a:pt x="137" y="21"/>
                    <a:pt x="137" y="21"/>
                    <a:pt x="137" y="21"/>
                  </a:cubicBezTo>
                  <a:cubicBezTo>
                    <a:pt x="126" y="11"/>
                    <a:pt x="113" y="4"/>
                    <a:pt x="99" y="0"/>
                  </a:cubicBezTo>
                  <a:cubicBezTo>
                    <a:pt x="97" y="0"/>
                    <a:pt x="96" y="1"/>
                    <a:pt x="96" y="3"/>
                  </a:cubicBezTo>
                  <a:cubicBezTo>
                    <a:pt x="96" y="28"/>
                    <a:pt x="96" y="28"/>
                    <a:pt x="96" y="28"/>
                  </a:cubicBezTo>
                  <a:cubicBezTo>
                    <a:pt x="96" y="29"/>
                    <a:pt x="96" y="30"/>
                    <a:pt x="97" y="31"/>
                  </a:cubicBezTo>
                  <a:cubicBezTo>
                    <a:pt x="121" y="37"/>
                    <a:pt x="138" y="60"/>
                    <a:pt x="138" y="87"/>
                  </a:cubicBezTo>
                  <a:cubicBezTo>
                    <a:pt x="138" y="119"/>
                    <a:pt x="114" y="146"/>
                    <a:pt x="83" y="146"/>
                  </a:cubicBezTo>
                  <a:cubicBezTo>
                    <a:pt x="53" y="146"/>
                    <a:pt x="29" y="119"/>
                    <a:pt x="29" y="87"/>
                  </a:cubicBezTo>
                  <a:cubicBezTo>
                    <a:pt x="29" y="61"/>
                    <a:pt x="45" y="38"/>
                    <a:pt x="68" y="31"/>
                  </a:cubicBezTo>
                  <a:cubicBezTo>
                    <a:pt x="69" y="31"/>
                    <a:pt x="70" y="30"/>
                    <a:pt x="70" y="29"/>
                  </a:cubicBezTo>
                  <a:cubicBezTo>
                    <a:pt x="70" y="3"/>
                    <a:pt x="70" y="3"/>
                    <a:pt x="70" y="3"/>
                  </a:cubicBezTo>
                  <a:cubicBezTo>
                    <a:pt x="70" y="1"/>
                    <a:pt x="69" y="0"/>
                    <a:pt x="67" y="0"/>
                  </a:cubicBezTo>
                  <a:cubicBezTo>
                    <a:pt x="67" y="0"/>
                    <a:pt x="67" y="0"/>
                    <a:pt x="6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25" name="Oval 11">
              <a:extLst>
                <a:ext uri="{FF2B5EF4-FFF2-40B4-BE49-F238E27FC236}">
                  <a16:creationId xmlns:a16="http://schemas.microsoft.com/office/drawing/2014/main" id="{873AF13F-0640-4C6D-8CAF-BB8A2322C17A}"/>
                </a:ext>
              </a:extLst>
            </p:cNvPr>
            <p:cNvSpPr>
              <a:spLocks noChangeArrowheads="1"/>
            </p:cNvSpPr>
            <p:nvPr/>
          </p:nvSpPr>
          <p:spPr bwMode="auto">
            <a:xfrm>
              <a:off x="284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26" name="Oval 12">
              <a:extLst>
                <a:ext uri="{FF2B5EF4-FFF2-40B4-BE49-F238E27FC236}">
                  <a16:creationId xmlns:a16="http://schemas.microsoft.com/office/drawing/2014/main" id="{982EC9D7-A8C0-4B37-9B60-32F310D91764}"/>
                </a:ext>
              </a:extLst>
            </p:cNvPr>
            <p:cNvSpPr>
              <a:spLocks noChangeArrowheads="1"/>
            </p:cNvSpPr>
            <p:nvPr/>
          </p:nvSpPr>
          <p:spPr bwMode="auto">
            <a:xfrm>
              <a:off x="387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27" name="Freeform 13">
              <a:extLst>
                <a:ext uri="{FF2B5EF4-FFF2-40B4-BE49-F238E27FC236}">
                  <a16:creationId xmlns:a16="http://schemas.microsoft.com/office/drawing/2014/main" id="{7D1A8101-5969-46D3-86E7-3F858A3779AD}"/>
                </a:ext>
              </a:extLst>
            </p:cNvPr>
            <p:cNvSpPr>
              <a:spLocks/>
            </p:cNvSpPr>
            <p:nvPr/>
          </p:nvSpPr>
          <p:spPr bwMode="auto">
            <a:xfrm>
              <a:off x="4062" y="1584"/>
              <a:ext cx="242" cy="462"/>
            </a:xfrm>
            <a:custGeom>
              <a:avLst/>
              <a:gdLst>
                <a:gd name="T0" fmla="*/ 39 w 128"/>
                <a:gd name="T1" fmla="*/ 55 h 244"/>
                <a:gd name="T2" fmla="*/ 39 w 128"/>
                <a:gd name="T3" fmla="*/ 76 h 244"/>
                <a:gd name="T4" fmla="*/ 4 w 128"/>
                <a:gd name="T5" fmla="*/ 76 h 244"/>
                <a:gd name="T6" fmla="*/ 0 w 128"/>
                <a:gd name="T7" fmla="*/ 81 h 244"/>
                <a:gd name="T8" fmla="*/ 0 w 128"/>
                <a:gd name="T9" fmla="*/ 99 h 244"/>
                <a:gd name="T10" fmla="*/ 4 w 128"/>
                <a:gd name="T11" fmla="*/ 103 h 244"/>
                <a:gd name="T12" fmla="*/ 39 w 128"/>
                <a:gd name="T13" fmla="*/ 103 h 244"/>
                <a:gd name="T14" fmla="*/ 39 w 128"/>
                <a:gd name="T15" fmla="*/ 239 h 244"/>
                <a:gd name="T16" fmla="*/ 44 w 128"/>
                <a:gd name="T17" fmla="*/ 244 h 244"/>
                <a:gd name="T18" fmla="*/ 62 w 128"/>
                <a:gd name="T19" fmla="*/ 244 h 244"/>
                <a:gd name="T20" fmla="*/ 67 w 128"/>
                <a:gd name="T21" fmla="*/ 239 h 244"/>
                <a:gd name="T22" fmla="*/ 67 w 128"/>
                <a:gd name="T23" fmla="*/ 103 h 244"/>
                <a:gd name="T24" fmla="*/ 120 w 128"/>
                <a:gd name="T25" fmla="*/ 103 h 244"/>
                <a:gd name="T26" fmla="*/ 125 w 128"/>
                <a:gd name="T27" fmla="*/ 99 h 244"/>
                <a:gd name="T28" fmla="*/ 125 w 128"/>
                <a:gd name="T29" fmla="*/ 81 h 244"/>
                <a:gd name="T30" fmla="*/ 120 w 128"/>
                <a:gd name="T31" fmla="*/ 76 h 244"/>
                <a:gd name="T32" fmla="*/ 67 w 128"/>
                <a:gd name="T33" fmla="*/ 76 h 244"/>
                <a:gd name="T34" fmla="*/ 67 w 128"/>
                <a:gd name="T35" fmla="*/ 55 h 244"/>
                <a:gd name="T36" fmla="*/ 91 w 128"/>
                <a:gd name="T37" fmla="*/ 27 h 244"/>
                <a:gd name="T38" fmla="*/ 122 w 128"/>
                <a:gd name="T39" fmla="*/ 37 h 244"/>
                <a:gd name="T40" fmla="*/ 125 w 128"/>
                <a:gd name="T41" fmla="*/ 38 h 244"/>
                <a:gd name="T42" fmla="*/ 128 w 128"/>
                <a:gd name="T43" fmla="*/ 33 h 244"/>
                <a:gd name="T44" fmla="*/ 128 w 128"/>
                <a:gd name="T45" fmla="*/ 16 h 244"/>
                <a:gd name="T46" fmla="*/ 125 w 128"/>
                <a:gd name="T47" fmla="*/ 9 h 244"/>
                <a:gd name="T48" fmla="*/ 89 w 128"/>
                <a:gd name="T49" fmla="*/ 0 h 244"/>
                <a:gd name="T50" fmla="*/ 39 w 128"/>
                <a:gd name="T51" fmla="*/ 5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244">
                  <a:moveTo>
                    <a:pt x="39" y="55"/>
                  </a:moveTo>
                  <a:cubicBezTo>
                    <a:pt x="39" y="76"/>
                    <a:pt x="39" y="76"/>
                    <a:pt x="39" y="76"/>
                  </a:cubicBezTo>
                  <a:cubicBezTo>
                    <a:pt x="4" y="76"/>
                    <a:pt x="4" y="76"/>
                    <a:pt x="4" y="76"/>
                  </a:cubicBezTo>
                  <a:cubicBezTo>
                    <a:pt x="1" y="76"/>
                    <a:pt x="0" y="78"/>
                    <a:pt x="0" y="81"/>
                  </a:cubicBezTo>
                  <a:cubicBezTo>
                    <a:pt x="0" y="99"/>
                    <a:pt x="0" y="99"/>
                    <a:pt x="0" y="99"/>
                  </a:cubicBezTo>
                  <a:cubicBezTo>
                    <a:pt x="0" y="102"/>
                    <a:pt x="1" y="103"/>
                    <a:pt x="4" y="103"/>
                  </a:cubicBezTo>
                  <a:cubicBezTo>
                    <a:pt x="39" y="103"/>
                    <a:pt x="39" y="103"/>
                    <a:pt x="39" y="103"/>
                  </a:cubicBezTo>
                  <a:cubicBezTo>
                    <a:pt x="39" y="239"/>
                    <a:pt x="39" y="239"/>
                    <a:pt x="39" y="239"/>
                  </a:cubicBezTo>
                  <a:cubicBezTo>
                    <a:pt x="39" y="242"/>
                    <a:pt x="41" y="244"/>
                    <a:pt x="44" y="244"/>
                  </a:cubicBezTo>
                  <a:cubicBezTo>
                    <a:pt x="62" y="244"/>
                    <a:pt x="62" y="244"/>
                    <a:pt x="62" y="244"/>
                  </a:cubicBezTo>
                  <a:cubicBezTo>
                    <a:pt x="65" y="244"/>
                    <a:pt x="67" y="242"/>
                    <a:pt x="67" y="239"/>
                  </a:cubicBezTo>
                  <a:cubicBezTo>
                    <a:pt x="67" y="103"/>
                    <a:pt x="67" y="103"/>
                    <a:pt x="67" y="103"/>
                  </a:cubicBezTo>
                  <a:cubicBezTo>
                    <a:pt x="120" y="103"/>
                    <a:pt x="120" y="103"/>
                    <a:pt x="120" y="103"/>
                  </a:cubicBezTo>
                  <a:cubicBezTo>
                    <a:pt x="123" y="103"/>
                    <a:pt x="125" y="102"/>
                    <a:pt x="125" y="99"/>
                  </a:cubicBezTo>
                  <a:cubicBezTo>
                    <a:pt x="125" y="81"/>
                    <a:pt x="125" y="81"/>
                    <a:pt x="125" y="81"/>
                  </a:cubicBezTo>
                  <a:cubicBezTo>
                    <a:pt x="125" y="78"/>
                    <a:pt x="123" y="76"/>
                    <a:pt x="120" y="76"/>
                  </a:cubicBezTo>
                  <a:cubicBezTo>
                    <a:pt x="67" y="76"/>
                    <a:pt x="67" y="76"/>
                    <a:pt x="67" y="76"/>
                  </a:cubicBezTo>
                  <a:cubicBezTo>
                    <a:pt x="67" y="55"/>
                    <a:pt x="67" y="55"/>
                    <a:pt x="67" y="55"/>
                  </a:cubicBezTo>
                  <a:cubicBezTo>
                    <a:pt x="67" y="38"/>
                    <a:pt x="76" y="27"/>
                    <a:pt x="91" y="27"/>
                  </a:cubicBezTo>
                  <a:cubicBezTo>
                    <a:pt x="102" y="27"/>
                    <a:pt x="110" y="30"/>
                    <a:pt x="122" y="37"/>
                  </a:cubicBezTo>
                  <a:cubicBezTo>
                    <a:pt x="123" y="38"/>
                    <a:pt x="124" y="38"/>
                    <a:pt x="125" y="38"/>
                  </a:cubicBezTo>
                  <a:cubicBezTo>
                    <a:pt x="127" y="38"/>
                    <a:pt x="128" y="36"/>
                    <a:pt x="128" y="33"/>
                  </a:cubicBezTo>
                  <a:cubicBezTo>
                    <a:pt x="128" y="16"/>
                    <a:pt x="128" y="16"/>
                    <a:pt x="128" y="16"/>
                  </a:cubicBezTo>
                  <a:cubicBezTo>
                    <a:pt x="128" y="13"/>
                    <a:pt x="128" y="11"/>
                    <a:pt x="125" y="9"/>
                  </a:cubicBezTo>
                  <a:cubicBezTo>
                    <a:pt x="114" y="3"/>
                    <a:pt x="103" y="0"/>
                    <a:pt x="89" y="0"/>
                  </a:cubicBezTo>
                  <a:cubicBezTo>
                    <a:pt x="54" y="0"/>
                    <a:pt x="39" y="29"/>
                    <a:pt x="39"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28" name="Freeform 14">
              <a:extLst>
                <a:ext uri="{FF2B5EF4-FFF2-40B4-BE49-F238E27FC236}">
                  <a16:creationId xmlns:a16="http://schemas.microsoft.com/office/drawing/2014/main" id="{3C52E1A8-F273-4077-90B8-12412F0A51D2}"/>
                </a:ext>
              </a:extLst>
            </p:cNvPr>
            <p:cNvSpPr>
              <a:spLocks/>
            </p:cNvSpPr>
            <p:nvPr/>
          </p:nvSpPr>
          <p:spPr bwMode="auto">
            <a:xfrm>
              <a:off x="2071" y="1578"/>
              <a:ext cx="632" cy="631"/>
            </a:xfrm>
            <a:custGeom>
              <a:avLst/>
              <a:gdLst>
                <a:gd name="T0" fmla="*/ 181 w 334"/>
                <a:gd name="T1" fmla="*/ 1 h 333"/>
                <a:gd name="T2" fmla="*/ 180 w 334"/>
                <a:gd name="T3" fmla="*/ 4 h 333"/>
                <a:gd name="T4" fmla="*/ 180 w 334"/>
                <a:gd name="T5" fmla="*/ 26 h 333"/>
                <a:gd name="T6" fmla="*/ 180 w 334"/>
                <a:gd name="T7" fmla="*/ 26 h 333"/>
                <a:gd name="T8" fmla="*/ 182 w 334"/>
                <a:gd name="T9" fmla="*/ 28 h 333"/>
                <a:gd name="T10" fmla="*/ 306 w 334"/>
                <a:gd name="T11" fmla="*/ 166 h 333"/>
                <a:gd name="T12" fmla="*/ 167 w 334"/>
                <a:gd name="T13" fmla="*/ 305 h 333"/>
                <a:gd name="T14" fmla="*/ 28 w 334"/>
                <a:gd name="T15" fmla="*/ 166 h 333"/>
                <a:gd name="T16" fmla="*/ 152 w 334"/>
                <a:gd name="T17" fmla="*/ 28 h 333"/>
                <a:gd name="T18" fmla="*/ 154 w 334"/>
                <a:gd name="T19" fmla="*/ 26 h 333"/>
                <a:gd name="T20" fmla="*/ 154 w 334"/>
                <a:gd name="T21" fmla="*/ 26 h 333"/>
                <a:gd name="T22" fmla="*/ 154 w 334"/>
                <a:gd name="T23" fmla="*/ 4 h 333"/>
                <a:gd name="T24" fmla="*/ 153 w 334"/>
                <a:gd name="T25" fmla="*/ 1 h 333"/>
                <a:gd name="T26" fmla="*/ 150 w 334"/>
                <a:gd name="T27" fmla="*/ 0 h 333"/>
                <a:gd name="T28" fmla="*/ 149 w 334"/>
                <a:gd name="T29" fmla="*/ 0 h 333"/>
                <a:gd name="T30" fmla="*/ 149 w 334"/>
                <a:gd name="T31" fmla="*/ 0 h 333"/>
                <a:gd name="T32" fmla="*/ 0 w 334"/>
                <a:gd name="T33" fmla="*/ 166 h 333"/>
                <a:gd name="T34" fmla="*/ 167 w 334"/>
                <a:gd name="T35" fmla="*/ 333 h 333"/>
                <a:gd name="T36" fmla="*/ 334 w 334"/>
                <a:gd name="T37" fmla="*/ 166 h 333"/>
                <a:gd name="T38" fmla="*/ 185 w 334"/>
                <a:gd name="T39" fmla="*/ 0 h 333"/>
                <a:gd name="T40" fmla="*/ 185 w 334"/>
                <a:gd name="T41" fmla="*/ 0 h 333"/>
                <a:gd name="T42" fmla="*/ 184 w 334"/>
                <a:gd name="T43" fmla="*/ 0 h 333"/>
                <a:gd name="T44" fmla="*/ 181 w 334"/>
                <a:gd name="T45" fmla="*/ 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4" h="333">
                  <a:moveTo>
                    <a:pt x="181" y="1"/>
                  </a:moveTo>
                  <a:cubicBezTo>
                    <a:pt x="180" y="2"/>
                    <a:pt x="180" y="3"/>
                    <a:pt x="180" y="4"/>
                  </a:cubicBezTo>
                  <a:cubicBezTo>
                    <a:pt x="180" y="26"/>
                    <a:pt x="180" y="26"/>
                    <a:pt x="180" y="26"/>
                  </a:cubicBezTo>
                  <a:cubicBezTo>
                    <a:pt x="180" y="26"/>
                    <a:pt x="180" y="26"/>
                    <a:pt x="180" y="26"/>
                  </a:cubicBezTo>
                  <a:cubicBezTo>
                    <a:pt x="180" y="27"/>
                    <a:pt x="181" y="28"/>
                    <a:pt x="182" y="28"/>
                  </a:cubicBezTo>
                  <a:cubicBezTo>
                    <a:pt x="251" y="35"/>
                    <a:pt x="306" y="94"/>
                    <a:pt x="306" y="166"/>
                  </a:cubicBezTo>
                  <a:cubicBezTo>
                    <a:pt x="306" y="243"/>
                    <a:pt x="244" y="305"/>
                    <a:pt x="167" y="305"/>
                  </a:cubicBezTo>
                  <a:cubicBezTo>
                    <a:pt x="90" y="305"/>
                    <a:pt x="28" y="243"/>
                    <a:pt x="28" y="166"/>
                  </a:cubicBezTo>
                  <a:cubicBezTo>
                    <a:pt x="28" y="94"/>
                    <a:pt x="82" y="35"/>
                    <a:pt x="152" y="28"/>
                  </a:cubicBezTo>
                  <a:cubicBezTo>
                    <a:pt x="153" y="28"/>
                    <a:pt x="154" y="27"/>
                    <a:pt x="154" y="26"/>
                  </a:cubicBezTo>
                  <a:cubicBezTo>
                    <a:pt x="154" y="26"/>
                    <a:pt x="154" y="26"/>
                    <a:pt x="154" y="26"/>
                  </a:cubicBezTo>
                  <a:cubicBezTo>
                    <a:pt x="154" y="4"/>
                    <a:pt x="154" y="4"/>
                    <a:pt x="154" y="4"/>
                  </a:cubicBezTo>
                  <a:cubicBezTo>
                    <a:pt x="154" y="3"/>
                    <a:pt x="154" y="2"/>
                    <a:pt x="153" y="1"/>
                  </a:cubicBezTo>
                  <a:cubicBezTo>
                    <a:pt x="152" y="0"/>
                    <a:pt x="151" y="0"/>
                    <a:pt x="150" y="0"/>
                  </a:cubicBezTo>
                  <a:cubicBezTo>
                    <a:pt x="149" y="0"/>
                    <a:pt x="149" y="0"/>
                    <a:pt x="149" y="0"/>
                  </a:cubicBezTo>
                  <a:cubicBezTo>
                    <a:pt x="149" y="0"/>
                    <a:pt x="149" y="0"/>
                    <a:pt x="149" y="0"/>
                  </a:cubicBezTo>
                  <a:cubicBezTo>
                    <a:pt x="65" y="9"/>
                    <a:pt x="0" y="80"/>
                    <a:pt x="0" y="166"/>
                  </a:cubicBezTo>
                  <a:cubicBezTo>
                    <a:pt x="0" y="258"/>
                    <a:pt x="75" y="333"/>
                    <a:pt x="167" y="333"/>
                  </a:cubicBezTo>
                  <a:cubicBezTo>
                    <a:pt x="259" y="333"/>
                    <a:pt x="334" y="258"/>
                    <a:pt x="334" y="166"/>
                  </a:cubicBezTo>
                  <a:cubicBezTo>
                    <a:pt x="334" y="80"/>
                    <a:pt x="269" y="9"/>
                    <a:pt x="185" y="0"/>
                  </a:cubicBezTo>
                  <a:cubicBezTo>
                    <a:pt x="185" y="0"/>
                    <a:pt x="185" y="0"/>
                    <a:pt x="185" y="0"/>
                  </a:cubicBezTo>
                  <a:cubicBezTo>
                    <a:pt x="185" y="0"/>
                    <a:pt x="184" y="0"/>
                    <a:pt x="184" y="0"/>
                  </a:cubicBezTo>
                  <a:cubicBezTo>
                    <a:pt x="183" y="0"/>
                    <a:pt x="182" y="0"/>
                    <a:pt x="18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grpSp>
      <p:grpSp>
        <p:nvGrpSpPr>
          <p:cNvPr id="15" name="Group 4">
            <a:extLst>
              <a:ext uri="{FF2B5EF4-FFF2-40B4-BE49-F238E27FC236}">
                <a16:creationId xmlns:a16="http://schemas.microsoft.com/office/drawing/2014/main" id="{D52C7DCD-53B3-433C-A72E-F2EEC29715F8}"/>
              </a:ext>
            </a:extLst>
          </p:cNvPr>
          <p:cNvGrpSpPr>
            <a:grpSpLocks noChangeAspect="1"/>
          </p:cNvGrpSpPr>
          <p:nvPr/>
        </p:nvGrpSpPr>
        <p:grpSpPr bwMode="auto">
          <a:xfrm>
            <a:off x="5155508" y="685816"/>
            <a:ext cx="1880984" cy="458559"/>
            <a:chOff x="2071" y="1578"/>
            <a:chExt cx="2587" cy="631"/>
          </a:xfrm>
          <a:gradFill>
            <a:gsLst>
              <a:gs pos="50000">
                <a:srgbClr val="00E487"/>
              </a:gs>
              <a:gs pos="100000">
                <a:srgbClr val="1ECBD0"/>
              </a:gs>
            </a:gsLst>
            <a:lin ang="18900000" scaled="0"/>
          </a:gradFill>
        </p:grpSpPr>
        <p:sp>
          <p:nvSpPr>
            <p:cNvPr id="16" name="Freeform 5">
              <a:extLst>
                <a:ext uri="{FF2B5EF4-FFF2-40B4-BE49-F238E27FC236}">
                  <a16:creationId xmlns:a16="http://schemas.microsoft.com/office/drawing/2014/main" id="{39FF9419-6A5D-4F39-9128-559C48CB69BA}"/>
                </a:ext>
              </a:extLst>
            </p:cNvPr>
            <p:cNvSpPr>
              <a:spLocks/>
            </p:cNvSpPr>
            <p:nvPr/>
          </p:nvSpPr>
          <p:spPr bwMode="auto">
            <a:xfrm>
              <a:off x="2765" y="1728"/>
              <a:ext cx="244" cy="318"/>
            </a:xfrm>
            <a:custGeom>
              <a:avLst/>
              <a:gdLst>
                <a:gd name="T0" fmla="*/ 12 w 129"/>
                <a:gd name="T1" fmla="*/ 0 h 168"/>
                <a:gd name="T2" fmla="*/ 8 w 129"/>
                <a:gd name="T3" fmla="*/ 4 h 168"/>
                <a:gd name="T4" fmla="*/ 8 w 129"/>
                <a:gd name="T5" fmla="*/ 25 h 168"/>
                <a:gd name="T6" fmla="*/ 12 w 129"/>
                <a:gd name="T7" fmla="*/ 29 h 168"/>
                <a:gd name="T8" fmla="*/ 48 w 129"/>
                <a:gd name="T9" fmla="*/ 29 h 168"/>
                <a:gd name="T10" fmla="*/ 48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2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2" y="0"/>
                  </a:moveTo>
                  <a:cubicBezTo>
                    <a:pt x="9" y="0"/>
                    <a:pt x="8" y="1"/>
                    <a:pt x="8" y="4"/>
                  </a:cubicBezTo>
                  <a:cubicBezTo>
                    <a:pt x="8" y="25"/>
                    <a:pt x="8" y="25"/>
                    <a:pt x="8" y="25"/>
                  </a:cubicBezTo>
                  <a:cubicBezTo>
                    <a:pt x="8" y="27"/>
                    <a:pt x="9" y="29"/>
                    <a:pt x="12" y="29"/>
                  </a:cubicBezTo>
                  <a:cubicBezTo>
                    <a:pt x="48" y="29"/>
                    <a:pt x="48" y="29"/>
                    <a:pt x="48" y="29"/>
                  </a:cubicBezTo>
                  <a:cubicBezTo>
                    <a:pt x="48" y="140"/>
                    <a:pt x="48" y="140"/>
                    <a:pt x="48"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8" y="140"/>
                    <a:pt x="125" y="140"/>
                  </a:cubicBezTo>
                  <a:cubicBezTo>
                    <a:pt x="76" y="140"/>
                    <a:pt x="76" y="140"/>
                    <a:pt x="76" y="140"/>
                  </a:cubicBezTo>
                  <a:cubicBezTo>
                    <a:pt x="76" y="4"/>
                    <a:pt x="76" y="4"/>
                    <a:pt x="76" y="4"/>
                  </a:cubicBezTo>
                  <a:cubicBezTo>
                    <a:pt x="76" y="1"/>
                    <a:pt x="75" y="0"/>
                    <a:pt x="72" y="0"/>
                  </a:cubicBez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a:p>
          </p:txBody>
        </p:sp>
        <p:sp>
          <p:nvSpPr>
            <p:cNvPr id="17" name="Freeform 6">
              <a:extLst>
                <a:ext uri="{FF2B5EF4-FFF2-40B4-BE49-F238E27FC236}">
                  <a16:creationId xmlns:a16="http://schemas.microsoft.com/office/drawing/2014/main" id="{0DA9A1B8-8948-4461-A556-833B505AAA6B}"/>
                </a:ext>
              </a:extLst>
            </p:cNvPr>
            <p:cNvSpPr>
              <a:spLocks/>
            </p:cNvSpPr>
            <p:nvPr/>
          </p:nvSpPr>
          <p:spPr bwMode="auto">
            <a:xfrm>
              <a:off x="3798" y="1728"/>
              <a:ext cx="244" cy="318"/>
            </a:xfrm>
            <a:custGeom>
              <a:avLst/>
              <a:gdLst>
                <a:gd name="T0" fmla="*/ 11 w 129"/>
                <a:gd name="T1" fmla="*/ 0 h 168"/>
                <a:gd name="T2" fmla="*/ 8 w 129"/>
                <a:gd name="T3" fmla="*/ 4 h 168"/>
                <a:gd name="T4" fmla="*/ 8 w 129"/>
                <a:gd name="T5" fmla="*/ 25 h 168"/>
                <a:gd name="T6" fmla="*/ 11 w 129"/>
                <a:gd name="T7" fmla="*/ 29 h 168"/>
                <a:gd name="T8" fmla="*/ 47 w 129"/>
                <a:gd name="T9" fmla="*/ 29 h 168"/>
                <a:gd name="T10" fmla="*/ 47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1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1" y="0"/>
                  </a:moveTo>
                  <a:cubicBezTo>
                    <a:pt x="9" y="0"/>
                    <a:pt x="8" y="1"/>
                    <a:pt x="8" y="4"/>
                  </a:cubicBezTo>
                  <a:cubicBezTo>
                    <a:pt x="8" y="25"/>
                    <a:pt x="8" y="25"/>
                    <a:pt x="8" y="25"/>
                  </a:cubicBezTo>
                  <a:cubicBezTo>
                    <a:pt x="8" y="27"/>
                    <a:pt x="9" y="29"/>
                    <a:pt x="11" y="29"/>
                  </a:cubicBezTo>
                  <a:cubicBezTo>
                    <a:pt x="47" y="29"/>
                    <a:pt x="47" y="29"/>
                    <a:pt x="47" y="29"/>
                  </a:cubicBezTo>
                  <a:cubicBezTo>
                    <a:pt x="47" y="140"/>
                    <a:pt x="47" y="140"/>
                    <a:pt x="47"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7" y="140"/>
                    <a:pt x="125" y="140"/>
                  </a:cubicBezTo>
                  <a:cubicBezTo>
                    <a:pt x="76" y="140"/>
                    <a:pt x="76" y="140"/>
                    <a:pt x="76" y="140"/>
                  </a:cubicBezTo>
                  <a:cubicBezTo>
                    <a:pt x="76" y="4"/>
                    <a:pt x="76" y="4"/>
                    <a:pt x="76" y="4"/>
                  </a:cubicBezTo>
                  <a:cubicBezTo>
                    <a:pt x="75" y="1"/>
                    <a:pt x="74" y="0"/>
                    <a:pt x="72" y="0"/>
                  </a:cubicBez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a:p>
          </p:txBody>
        </p:sp>
        <p:sp>
          <p:nvSpPr>
            <p:cNvPr id="29" name="Freeform 7">
              <a:extLst>
                <a:ext uri="{FF2B5EF4-FFF2-40B4-BE49-F238E27FC236}">
                  <a16:creationId xmlns:a16="http://schemas.microsoft.com/office/drawing/2014/main" id="{5DC0BC65-082E-44B3-9A2C-5EE804858A65}"/>
                </a:ext>
              </a:extLst>
            </p:cNvPr>
            <p:cNvSpPr>
              <a:spLocks/>
            </p:cNvSpPr>
            <p:nvPr/>
          </p:nvSpPr>
          <p:spPr bwMode="auto">
            <a:xfrm>
              <a:off x="4361" y="1728"/>
              <a:ext cx="297" cy="464"/>
            </a:xfrm>
            <a:custGeom>
              <a:avLst/>
              <a:gdLst>
                <a:gd name="T0" fmla="*/ 132 w 157"/>
                <a:gd name="T1" fmla="*/ 0 h 245"/>
                <a:gd name="T2" fmla="*/ 127 w 157"/>
                <a:gd name="T3" fmla="*/ 3 h 245"/>
                <a:gd name="T4" fmla="*/ 127 w 157"/>
                <a:gd name="T5" fmla="*/ 3 h 245"/>
                <a:gd name="T6" fmla="*/ 79 w 157"/>
                <a:gd name="T7" fmla="*/ 128 h 245"/>
                <a:gd name="T8" fmla="*/ 30 w 157"/>
                <a:gd name="T9" fmla="*/ 4 h 245"/>
                <a:gd name="T10" fmla="*/ 25 w 157"/>
                <a:gd name="T11" fmla="*/ 0 h 245"/>
                <a:gd name="T12" fmla="*/ 4 w 157"/>
                <a:gd name="T13" fmla="*/ 0 h 245"/>
                <a:gd name="T14" fmla="*/ 0 w 157"/>
                <a:gd name="T15" fmla="*/ 3 h 245"/>
                <a:gd name="T16" fmla="*/ 1 w 157"/>
                <a:gd name="T17" fmla="*/ 6 h 245"/>
                <a:gd name="T18" fmla="*/ 1 w 157"/>
                <a:gd name="T19" fmla="*/ 6 h 245"/>
                <a:gd name="T20" fmla="*/ 1 w 157"/>
                <a:gd name="T21" fmla="*/ 6 h 245"/>
                <a:gd name="T22" fmla="*/ 64 w 157"/>
                <a:gd name="T23" fmla="*/ 168 h 245"/>
                <a:gd name="T24" fmla="*/ 59 w 157"/>
                <a:gd name="T25" fmla="*/ 182 h 245"/>
                <a:gd name="T26" fmla="*/ 48 w 157"/>
                <a:gd name="T27" fmla="*/ 205 h 245"/>
                <a:gd name="T28" fmla="*/ 38 w 157"/>
                <a:gd name="T29" fmla="*/ 215 h 245"/>
                <a:gd name="T30" fmla="*/ 30 w 157"/>
                <a:gd name="T31" fmla="*/ 217 h 245"/>
                <a:gd name="T32" fmla="*/ 26 w 157"/>
                <a:gd name="T33" fmla="*/ 216 h 245"/>
                <a:gd name="T34" fmla="*/ 14 w 157"/>
                <a:gd name="T35" fmla="*/ 213 h 245"/>
                <a:gd name="T36" fmla="*/ 7 w 157"/>
                <a:gd name="T37" fmla="*/ 210 h 245"/>
                <a:gd name="T38" fmla="*/ 3 w 157"/>
                <a:gd name="T39" fmla="*/ 215 h 245"/>
                <a:gd name="T40" fmla="*/ 3 w 157"/>
                <a:gd name="T41" fmla="*/ 233 h 245"/>
                <a:gd name="T42" fmla="*/ 3 w 157"/>
                <a:gd name="T43" fmla="*/ 233 h 245"/>
                <a:gd name="T44" fmla="*/ 7 w 157"/>
                <a:gd name="T45" fmla="*/ 240 h 245"/>
                <a:gd name="T46" fmla="*/ 32 w 157"/>
                <a:gd name="T47" fmla="*/ 245 h 245"/>
                <a:gd name="T48" fmla="*/ 54 w 157"/>
                <a:gd name="T49" fmla="*/ 238 h 245"/>
                <a:gd name="T50" fmla="*/ 73 w 157"/>
                <a:gd name="T51" fmla="*/ 220 h 245"/>
                <a:gd name="T52" fmla="*/ 79 w 157"/>
                <a:gd name="T53" fmla="*/ 208 h 245"/>
                <a:gd name="T54" fmla="*/ 156 w 157"/>
                <a:gd name="T55" fmla="*/ 6 h 245"/>
                <a:gd name="T56" fmla="*/ 157 w 157"/>
                <a:gd name="T57" fmla="*/ 3 h 245"/>
                <a:gd name="T58" fmla="*/ 153 w 157"/>
                <a:gd name="T59" fmla="*/ 0 h 245"/>
                <a:gd name="T60" fmla="*/ 132 w 157"/>
                <a:gd name="T6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7" h="245">
                  <a:moveTo>
                    <a:pt x="132" y="0"/>
                  </a:moveTo>
                  <a:cubicBezTo>
                    <a:pt x="129" y="0"/>
                    <a:pt x="128" y="1"/>
                    <a:pt x="127" y="3"/>
                  </a:cubicBezTo>
                  <a:cubicBezTo>
                    <a:pt x="127" y="3"/>
                    <a:pt x="127" y="3"/>
                    <a:pt x="127" y="3"/>
                  </a:cubicBezTo>
                  <a:cubicBezTo>
                    <a:pt x="79" y="128"/>
                    <a:pt x="79" y="128"/>
                    <a:pt x="79" y="128"/>
                  </a:cubicBezTo>
                  <a:cubicBezTo>
                    <a:pt x="30" y="4"/>
                    <a:pt x="30" y="4"/>
                    <a:pt x="30" y="4"/>
                  </a:cubicBezTo>
                  <a:cubicBezTo>
                    <a:pt x="29" y="1"/>
                    <a:pt x="28" y="0"/>
                    <a:pt x="25" y="0"/>
                  </a:cubicBezTo>
                  <a:cubicBezTo>
                    <a:pt x="4" y="0"/>
                    <a:pt x="4" y="0"/>
                    <a:pt x="4" y="0"/>
                  </a:cubicBezTo>
                  <a:cubicBezTo>
                    <a:pt x="2" y="0"/>
                    <a:pt x="0" y="1"/>
                    <a:pt x="0" y="3"/>
                  </a:cubicBezTo>
                  <a:cubicBezTo>
                    <a:pt x="0" y="4"/>
                    <a:pt x="1" y="5"/>
                    <a:pt x="1" y="6"/>
                  </a:cubicBezTo>
                  <a:cubicBezTo>
                    <a:pt x="1" y="6"/>
                    <a:pt x="1" y="6"/>
                    <a:pt x="1" y="6"/>
                  </a:cubicBezTo>
                  <a:cubicBezTo>
                    <a:pt x="1" y="6"/>
                    <a:pt x="1" y="6"/>
                    <a:pt x="1" y="6"/>
                  </a:cubicBezTo>
                  <a:cubicBezTo>
                    <a:pt x="64" y="168"/>
                    <a:pt x="64" y="168"/>
                    <a:pt x="64" y="168"/>
                  </a:cubicBezTo>
                  <a:cubicBezTo>
                    <a:pt x="59" y="182"/>
                    <a:pt x="59" y="182"/>
                    <a:pt x="59" y="182"/>
                  </a:cubicBezTo>
                  <a:cubicBezTo>
                    <a:pt x="57" y="187"/>
                    <a:pt x="53" y="199"/>
                    <a:pt x="48" y="205"/>
                  </a:cubicBezTo>
                  <a:cubicBezTo>
                    <a:pt x="44" y="211"/>
                    <a:pt x="42" y="213"/>
                    <a:pt x="38" y="215"/>
                  </a:cubicBezTo>
                  <a:cubicBezTo>
                    <a:pt x="35" y="216"/>
                    <a:pt x="33" y="217"/>
                    <a:pt x="30" y="217"/>
                  </a:cubicBezTo>
                  <a:cubicBezTo>
                    <a:pt x="28" y="217"/>
                    <a:pt x="27" y="217"/>
                    <a:pt x="26" y="216"/>
                  </a:cubicBezTo>
                  <a:cubicBezTo>
                    <a:pt x="22" y="216"/>
                    <a:pt x="18" y="214"/>
                    <a:pt x="14" y="213"/>
                  </a:cubicBezTo>
                  <a:cubicBezTo>
                    <a:pt x="11" y="212"/>
                    <a:pt x="9" y="210"/>
                    <a:pt x="7" y="210"/>
                  </a:cubicBezTo>
                  <a:cubicBezTo>
                    <a:pt x="5" y="210"/>
                    <a:pt x="3" y="212"/>
                    <a:pt x="3" y="215"/>
                  </a:cubicBezTo>
                  <a:cubicBezTo>
                    <a:pt x="3" y="233"/>
                    <a:pt x="3" y="233"/>
                    <a:pt x="3" y="233"/>
                  </a:cubicBezTo>
                  <a:cubicBezTo>
                    <a:pt x="3" y="233"/>
                    <a:pt x="3" y="233"/>
                    <a:pt x="3" y="233"/>
                  </a:cubicBezTo>
                  <a:cubicBezTo>
                    <a:pt x="3" y="236"/>
                    <a:pt x="4" y="238"/>
                    <a:pt x="7" y="240"/>
                  </a:cubicBezTo>
                  <a:cubicBezTo>
                    <a:pt x="15" y="243"/>
                    <a:pt x="21" y="245"/>
                    <a:pt x="32" y="245"/>
                  </a:cubicBezTo>
                  <a:cubicBezTo>
                    <a:pt x="41" y="244"/>
                    <a:pt x="47" y="242"/>
                    <a:pt x="54" y="238"/>
                  </a:cubicBezTo>
                  <a:cubicBezTo>
                    <a:pt x="61" y="233"/>
                    <a:pt x="67" y="227"/>
                    <a:pt x="73" y="220"/>
                  </a:cubicBezTo>
                  <a:cubicBezTo>
                    <a:pt x="75" y="216"/>
                    <a:pt x="77" y="212"/>
                    <a:pt x="79" y="208"/>
                  </a:cubicBezTo>
                  <a:cubicBezTo>
                    <a:pt x="83" y="200"/>
                    <a:pt x="144" y="40"/>
                    <a:pt x="156" y="6"/>
                  </a:cubicBezTo>
                  <a:cubicBezTo>
                    <a:pt x="157" y="5"/>
                    <a:pt x="157" y="4"/>
                    <a:pt x="157" y="3"/>
                  </a:cubicBezTo>
                  <a:cubicBezTo>
                    <a:pt x="157" y="1"/>
                    <a:pt x="155" y="0"/>
                    <a:pt x="153" y="0"/>
                  </a:cubicBezTo>
                  <a:lnTo>
                    <a:pt x="1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a:p>
          </p:txBody>
        </p:sp>
        <p:sp>
          <p:nvSpPr>
            <p:cNvPr id="30" name="Freeform 8">
              <a:extLst>
                <a:ext uri="{FF2B5EF4-FFF2-40B4-BE49-F238E27FC236}">
                  <a16:creationId xmlns:a16="http://schemas.microsoft.com/office/drawing/2014/main" id="{B3BA6CC3-1150-45C3-92B9-06E4B2DC0AFA}"/>
                </a:ext>
              </a:extLst>
            </p:cNvPr>
            <p:cNvSpPr>
              <a:spLocks/>
            </p:cNvSpPr>
            <p:nvPr/>
          </p:nvSpPr>
          <p:spPr bwMode="auto">
            <a:xfrm>
              <a:off x="3457" y="1726"/>
              <a:ext cx="263" cy="322"/>
            </a:xfrm>
            <a:custGeom>
              <a:avLst/>
              <a:gdLst>
                <a:gd name="T0" fmla="*/ 28 w 139"/>
                <a:gd name="T1" fmla="*/ 21 h 170"/>
                <a:gd name="T2" fmla="*/ 28 w 139"/>
                <a:gd name="T3" fmla="*/ 6 h 170"/>
                <a:gd name="T4" fmla="*/ 25 w 139"/>
                <a:gd name="T5" fmla="*/ 3 h 170"/>
                <a:gd name="T6" fmla="*/ 4 w 139"/>
                <a:gd name="T7" fmla="*/ 3 h 170"/>
                <a:gd name="T8" fmla="*/ 0 w 139"/>
                <a:gd name="T9" fmla="*/ 6 h 170"/>
                <a:gd name="T10" fmla="*/ 0 w 139"/>
                <a:gd name="T11" fmla="*/ 167 h 170"/>
                <a:gd name="T12" fmla="*/ 4 w 139"/>
                <a:gd name="T13" fmla="*/ 170 h 170"/>
                <a:gd name="T14" fmla="*/ 25 w 139"/>
                <a:gd name="T15" fmla="*/ 170 h 170"/>
                <a:gd name="T16" fmla="*/ 28 w 139"/>
                <a:gd name="T17" fmla="*/ 167 h 170"/>
                <a:gd name="T18" fmla="*/ 28 w 139"/>
                <a:gd name="T19" fmla="*/ 68 h 170"/>
                <a:gd name="T20" fmla="*/ 70 w 139"/>
                <a:gd name="T21" fmla="*/ 28 h 170"/>
                <a:gd name="T22" fmla="*/ 111 w 139"/>
                <a:gd name="T23" fmla="*/ 68 h 170"/>
                <a:gd name="T24" fmla="*/ 111 w 139"/>
                <a:gd name="T25" fmla="*/ 167 h 170"/>
                <a:gd name="T26" fmla="*/ 111 w 139"/>
                <a:gd name="T27" fmla="*/ 167 h 170"/>
                <a:gd name="T28" fmla="*/ 114 w 139"/>
                <a:gd name="T29" fmla="*/ 170 h 170"/>
                <a:gd name="T30" fmla="*/ 136 w 139"/>
                <a:gd name="T31" fmla="*/ 170 h 170"/>
                <a:gd name="T32" fmla="*/ 139 w 139"/>
                <a:gd name="T33" fmla="*/ 167 h 170"/>
                <a:gd name="T34" fmla="*/ 139 w 139"/>
                <a:gd name="T35" fmla="*/ 68 h 170"/>
                <a:gd name="T36" fmla="*/ 139 w 139"/>
                <a:gd name="T37" fmla="*/ 68 h 170"/>
                <a:gd name="T38" fmla="*/ 139 w 139"/>
                <a:gd name="T39" fmla="*/ 68 h 170"/>
                <a:gd name="T40" fmla="*/ 120 w 139"/>
                <a:gd name="T41" fmla="*/ 20 h 170"/>
                <a:gd name="T42" fmla="*/ 70 w 139"/>
                <a:gd name="T43" fmla="*/ 0 h 170"/>
                <a:gd name="T44" fmla="*/ 28 w 139"/>
                <a:gd name="T45" fmla="*/ 2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170">
                  <a:moveTo>
                    <a:pt x="28" y="21"/>
                  </a:moveTo>
                  <a:cubicBezTo>
                    <a:pt x="28" y="6"/>
                    <a:pt x="28" y="6"/>
                    <a:pt x="28" y="6"/>
                  </a:cubicBezTo>
                  <a:cubicBezTo>
                    <a:pt x="28" y="4"/>
                    <a:pt x="27" y="3"/>
                    <a:pt x="25" y="3"/>
                  </a:cubicBezTo>
                  <a:cubicBezTo>
                    <a:pt x="4" y="3"/>
                    <a:pt x="4" y="3"/>
                    <a:pt x="4" y="3"/>
                  </a:cubicBezTo>
                  <a:cubicBezTo>
                    <a:pt x="1" y="3"/>
                    <a:pt x="0" y="4"/>
                    <a:pt x="0" y="6"/>
                  </a:cubicBezTo>
                  <a:cubicBezTo>
                    <a:pt x="0" y="167"/>
                    <a:pt x="0" y="167"/>
                    <a:pt x="0" y="167"/>
                  </a:cubicBezTo>
                  <a:cubicBezTo>
                    <a:pt x="0" y="169"/>
                    <a:pt x="1" y="170"/>
                    <a:pt x="4" y="170"/>
                  </a:cubicBezTo>
                  <a:cubicBezTo>
                    <a:pt x="25" y="170"/>
                    <a:pt x="25" y="170"/>
                    <a:pt x="25" y="170"/>
                  </a:cubicBezTo>
                  <a:cubicBezTo>
                    <a:pt x="27" y="170"/>
                    <a:pt x="28" y="169"/>
                    <a:pt x="28" y="167"/>
                  </a:cubicBezTo>
                  <a:cubicBezTo>
                    <a:pt x="28" y="68"/>
                    <a:pt x="28" y="68"/>
                    <a:pt x="28" y="68"/>
                  </a:cubicBezTo>
                  <a:cubicBezTo>
                    <a:pt x="28" y="49"/>
                    <a:pt x="42" y="28"/>
                    <a:pt x="70" y="28"/>
                  </a:cubicBezTo>
                  <a:cubicBezTo>
                    <a:pt x="97" y="28"/>
                    <a:pt x="111" y="49"/>
                    <a:pt x="111" y="68"/>
                  </a:cubicBezTo>
                  <a:cubicBezTo>
                    <a:pt x="111" y="167"/>
                    <a:pt x="111" y="167"/>
                    <a:pt x="111" y="167"/>
                  </a:cubicBezTo>
                  <a:cubicBezTo>
                    <a:pt x="111" y="167"/>
                    <a:pt x="111" y="167"/>
                    <a:pt x="111" y="167"/>
                  </a:cubicBezTo>
                  <a:cubicBezTo>
                    <a:pt x="111" y="169"/>
                    <a:pt x="112" y="170"/>
                    <a:pt x="114" y="170"/>
                  </a:cubicBezTo>
                  <a:cubicBezTo>
                    <a:pt x="136" y="170"/>
                    <a:pt x="136" y="170"/>
                    <a:pt x="136" y="170"/>
                  </a:cubicBezTo>
                  <a:cubicBezTo>
                    <a:pt x="138" y="170"/>
                    <a:pt x="139" y="169"/>
                    <a:pt x="139" y="167"/>
                  </a:cubicBezTo>
                  <a:cubicBezTo>
                    <a:pt x="139" y="68"/>
                    <a:pt x="139" y="68"/>
                    <a:pt x="139" y="68"/>
                  </a:cubicBezTo>
                  <a:cubicBezTo>
                    <a:pt x="139" y="68"/>
                    <a:pt x="139" y="68"/>
                    <a:pt x="139" y="68"/>
                  </a:cubicBezTo>
                  <a:cubicBezTo>
                    <a:pt x="139" y="68"/>
                    <a:pt x="139" y="68"/>
                    <a:pt x="139" y="68"/>
                  </a:cubicBezTo>
                  <a:cubicBezTo>
                    <a:pt x="139" y="51"/>
                    <a:pt x="133" y="35"/>
                    <a:pt x="120" y="20"/>
                  </a:cubicBezTo>
                  <a:cubicBezTo>
                    <a:pt x="109" y="7"/>
                    <a:pt x="88" y="0"/>
                    <a:pt x="70" y="0"/>
                  </a:cubicBezTo>
                  <a:cubicBezTo>
                    <a:pt x="41" y="0"/>
                    <a:pt x="28" y="21"/>
                    <a:pt x="28"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a:p>
          </p:txBody>
        </p:sp>
        <p:sp>
          <p:nvSpPr>
            <p:cNvPr id="31" name="Freeform 9">
              <a:extLst>
                <a:ext uri="{FF2B5EF4-FFF2-40B4-BE49-F238E27FC236}">
                  <a16:creationId xmlns:a16="http://schemas.microsoft.com/office/drawing/2014/main" id="{B1DD02C3-5821-4B4B-B67B-B9FE10A19597}"/>
                </a:ext>
              </a:extLst>
            </p:cNvPr>
            <p:cNvSpPr>
              <a:spLocks/>
            </p:cNvSpPr>
            <p:nvPr/>
          </p:nvSpPr>
          <p:spPr bwMode="auto">
            <a:xfrm>
              <a:off x="2264" y="1724"/>
              <a:ext cx="246" cy="328"/>
            </a:xfrm>
            <a:custGeom>
              <a:avLst/>
              <a:gdLst>
                <a:gd name="T0" fmla="*/ 4 w 130"/>
                <a:gd name="T1" fmla="*/ 48 h 173"/>
                <a:gd name="T2" fmla="*/ 56 w 130"/>
                <a:gd name="T3" fmla="*/ 97 h 173"/>
                <a:gd name="T4" fmla="*/ 57 w 130"/>
                <a:gd name="T5" fmla="*/ 98 h 173"/>
                <a:gd name="T6" fmla="*/ 101 w 130"/>
                <a:gd name="T7" fmla="*/ 124 h 173"/>
                <a:gd name="T8" fmla="*/ 66 w 130"/>
                <a:gd name="T9" fmla="*/ 146 h 173"/>
                <a:gd name="T10" fmla="*/ 30 w 130"/>
                <a:gd name="T11" fmla="*/ 118 h 173"/>
                <a:gd name="T12" fmla="*/ 26 w 130"/>
                <a:gd name="T13" fmla="*/ 114 h 173"/>
                <a:gd name="T14" fmla="*/ 5 w 130"/>
                <a:gd name="T15" fmla="*/ 114 h 173"/>
                <a:gd name="T16" fmla="*/ 0 w 130"/>
                <a:gd name="T17" fmla="*/ 118 h 173"/>
                <a:gd name="T18" fmla="*/ 65 w 130"/>
                <a:gd name="T19" fmla="*/ 173 h 173"/>
                <a:gd name="T20" fmla="*/ 130 w 130"/>
                <a:gd name="T21" fmla="*/ 120 h 173"/>
                <a:gd name="T22" fmla="*/ 72 w 130"/>
                <a:gd name="T23" fmla="*/ 74 h 173"/>
                <a:gd name="T24" fmla="*/ 32 w 130"/>
                <a:gd name="T25" fmla="*/ 48 h 173"/>
                <a:gd name="T26" fmla="*/ 63 w 130"/>
                <a:gd name="T27" fmla="*/ 27 h 173"/>
                <a:gd name="T28" fmla="*/ 97 w 130"/>
                <a:gd name="T29" fmla="*/ 49 h 173"/>
                <a:gd name="T30" fmla="*/ 102 w 130"/>
                <a:gd name="T31" fmla="*/ 53 h 173"/>
                <a:gd name="T32" fmla="*/ 120 w 130"/>
                <a:gd name="T33" fmla="*/ 53 h 173"/>
                <a:gd name="T34" fmla="*/ 125 w 130"/>
                <a:gd name="T35" fmla="*/ 48 h 173"/>
                <a:gd name="T36" fmla="*/ 63 w 130"/>
                <a:gd name="T37" fmla="*/ 0 h 173"/>
                <a:gd name="T38" fmla="*/ 4 w 130"/>
                <a:gd name="T39" fmla="*/ 4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173">
                  <a:moveTo>
                    <a:pt x="4" y="48"/>
                  </a:moveTo>
                  <a:cubicBezTo>
                    <a:pt x="4" y="77"/>
                    <a:pt x="19" y="91"/>
                    <a:pt x="56" y="97"/>
                  </a:cubicBezTo>
                  <a:cubicBezTo>
                    <a:pt x="57" y="98"/>
                    <a:pt x="57" y="98"/>
                    <a:pt x="57" y="98"/>
                  </a:cubicBezTo>
                  <a:cubicBezTo>
                    <a:pt x="83" y="102"/>
                    <a:pt x="101" y="105"/>
                    <a:pt x="101" y="124"/>
                  </a:cubicBezTo>
                  <a:cubicBezTo>
                    <a:pt x="101" y="139"/>
                    <a:pt x="83" y="146"/>
                    <a:pt x="66" y="146"/>
                  </a:cubicBezTo>
                  <a:cubicBezTo>
                    <a:pt x="46" y="146"/>
                    <a:pt x="33" y="136"/>
                    <a:pt x="30" y="118"/>
                  </a:cubicBezTo>
                  <a:cubicBezTo>
                    <a:pt x="30" y="116"/>
                    <a:pt x="29" y="114"/>
                    <a:pt x="26" y="114"/>
                  </a:cubicBezTo>
                  <a:cubicBezTo>
                    <a:pt x="5" y="114"/>
                    <a:pt x="5" y="114"/>
                    <a:pt x="5" y="114"/>
                  </a:cubicBezTo>
                  <a:cubicBezTo>
                    <a:pt x="2" y="114"/>
                    <a:pt x="0" y="116"/>
                    <a:pt x="0" y="118"/>
                  </a:cubicBezTo>
                  <a:cubicBezTo>
                    <a:pt x="0" y="150"/>
                    <a:pt x="27" y="173"/>
                    <a:pt x="65" y="173"/>
                  </a:cubicBezTo>
                  <a:cubicBezTo>
                    <a:pt x="104" y="173"/>
                    <a:pt x="130" y="151"/>
                    <a:pt x="130" y="120"/>
                  </a:cubicBezTo>
                  <a:cubicBezTo>
                    <a:pt x="130" y="86"/>
                    <a:pt x="100" y="79"/>
                    <a:pt x="72" y="74"/>
                  </a:cubicBezTo>
                  <a:cubicBezTo>
                    <a:pt x="37" y="68"/>
                    <a:pt x="32" y="58"/>
                    <a:pt x="32" y="48"/>
                  </a:cubicBezTo>
                  <a:cubicBezTo>
                    <a:pt x="32" y="32"/>
                    <a:pt x="49" y="27"/>
                    <a:pt x="63" y="27"/>
                  </a:cubicBezTo>
                  <a:cubicBezTo>
                    <a:pt x="82" y="27"/>
                    <a:pt x="94" y="34"/>
                    <a:pt x="97" y="49"/>
                  </a:cubicBezTo>
                  <a:cubicBezTo>
                    <a:pt x="98" y="51"/>
                    <a:pt x="98" y="53"/>
                    <a:pt x="102" y="53"/>
                  </a:cubicBezTo>
                  <a:cubicBezTo>
                    <a:pt x="120" y="53"/>
                    <a:pt x="120" y="53"/>
                    <a:pt x="120" y="53"/>
                  </a:cubicBezTo>
                  <a:cubicBezTo>
                    <a:pt x="123" y="53"/>
                    <a:pt x="125" y="51"/>
                    <a:pt x="125" y="48"/>
                  </a:cubicBezTo>
                  <a:cubicBezTo>
                    <a:pt x="125" y="19"/>
                    <a:pt x="100" y="0"/>
                    <a:pt x="63" y="0"/>
                  </a:cubicBezTo>
                  <a:cubicBezTo>
                    <a:pt x="22" y="0"/>
                    <a:pt x="4" y="25"/>
                    <a:pt x="4" y="4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a:p>
          </p:txBody>
        </p:sp>
        <p:sp>
          <p:nvSpPr>
            <p:cNvPr id="32" name="Freeform 10">
              <a:extLst>
                <a:ext uri="{FF2B5EF4-FFF2-40B4-BE49-F238E27FC236}">
                  <a16:creationId xmlns:a16="http://schemas.microsoft.com/office/drawing/2014/main" id="{825C6A00-3C00-42EF-A96C-59A9AA1210F4}"/>
                </a:ext>
              </a:extLst>
            </p:cNvPr>
            <p:cNvSpPr>
              <a:spLocks/>
            </p:cNvSpPr>
            <p:nvPr/>
          </p:nvSpPr>
          <p:spPr bwMode="auto">
            <a:xfrm>
              <a:off x="3062" y="1722"/>
              <a:ext cx="312" cy="474"/>
            </a:xfrm>
            <a:custGeom>
              <a:avLst/>
              <a:gdLst>
                <a:gd name="T0" fmla="*/ 67 w 165"/>
                <a:gd name="T1" fmla="*/ 0 h 250"/>
                <a:gd name="T2" fmla="*/ 0 w 165"/>
                <a:gd name="T3" fmla="*/ 86 h 250"/>
                <a:gd name="T4" fmla="*/ 82 w 165"/>
                <a:gd name="T5" fmla="*/ 174 h 250"/>
                <a:gd name="T6" fmla="*/ 137 w 165"/>
                <a:gd name="T7" fmla="*/ 152 h 250"/>
                <a:gd name="T8" fmla="*/ 137 w 165"/>
                <a:gd name="T9" fmla="*/ 173 h 250"/>
                <a:gd name="T10" fmla="*/ 89 w 165"/>
                <a:gd name="T11" fmla="*/ 222 h 250"/>
                <a:gd name="T12" fmla="*/ 48 w 165"/>
                <a:gd name="T13" fmla="*/ 194 h 250"/>
                <a:gd name="T14" fmla="*/ 43 w 165"/>
                <a:gd name="T15" fmla="*/ 190 h 250"/>
                <a:gd name="T16" fmla="*/ 24 w 165"/>
                <a:gd name="T17" fmla="*/ 190 h 250"/>
                <a:gd name="T18" fmla="*/ 19 w 165"/>
                <a:gd name="T19" fmla="*/ 195 h 250"/>
                <a:gd name="T20" fmla="*/ 89 w 165"/>
                <a:gd name="T21" fmla="*/ 250 h 250"/>
                <a:gd name="T22" fmla="*/ 165 w 165"/>
                <a:gd name="T23" fmla="*/ 174 h 250"/>
                <a:gd name="T24" fmla="*/ 165 w 165"/>
                <a:gd name="T25" fmla="*/ 7 h 250"/>
                <a:gd name="T26" fmla="*/ 162 w 165"/>
                <a:gd name="T27" fmla="*/ 4 h 250"/>
                <a:gd name="T28" fmla="*/ 140 w 165"/>
                <a:gd name="T29" fmla="*/ 4 h 250"/>
                <a:gd name="T30" fmla="*/ 137 w 165"/>
                <a:gd name="T31" fmla="*/ 7 h 250"/>
                <a:gd name="T32" fmla="*/ 137 w 165"/>
                <a:gd name="T33" fmla="*/ 21 h 250"/>
                <a:gd name="T34" fmla="*/ 99 w 165"/>
                <a:gd name="T35" fmla="*/ 0 h 250"/>
                <a:gd name="T36" fmla="*/ 96 w 165"/>
                <a:gd name="T37" fmla="*/ 3 h 250"/>
                <a:gd name="T38" fmla="*/ 96 w 165"/>
                <a:gd name="T39" fmla="*/ 28 h 250"/>
                <a:gd name="T40" fmla="*/ 97 w 165"/>
                <a:gd name="T41" fmla="*/ 31 h 250"/>
                <a:gd name="T42" fmla="*/ 138 w 165"/>
                <a:gd name="T43" fmla="*/ 87 h 250"/>
                <a:gd name="T44" fmla="*/ 83 w 165"/>
                <a:gd name="T45" fmla="*/ 146 h 250"/>
                <a:gd name="T46" fmla="*/ 29 w 165"/>
                <a:gd name="T47" fmla="*/ 87 h 250"/>
                <a:gd name="T48" fmla="*/ 68 w 165"/>
                <a:gd name="T49" fmla="*/ 31 h 250"/>
                <a:gd name="T50" fmla="*/ 70 w 165"/>
                <a:gd name="T51" fmla="*/ 29 h 250"/>
                <a:gd name="T52" fmla="*/ 70 w 165"/>
                <a:gd name="T53" fmla="*/ 3 h 250"/>
                <a:gd name="T54" fmla="*/ 67 w 165"/>
                <a:gd name="T55" fmla="*/ 0 h 250"/>
                <a:gd name="T56" fmla="*/ 67 w 165"/>
                <a:gd name="T57"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5" h="250">
                  <a:moveTo>
                    <a:pt x="67" y="0"/>
                  </a:moveTo>
                  <a:cubicBezTo>
                    <a:pt x="29" y="8"/>
                    <a:pt x="0" y="44"/>
                    <a:pt x="0" y="86"/>
                  </a:cubicBezTo>
                  <a:cubicBezTo>
                    <a:pt x="0" y="135"/>
                    <a:pt x="37" y="174"/>
                    <a:pt x="82" y="174"/>
                  </a:cubicBezTo>
                  <a:cubicBezTo>
                    <a:pt x="103" y="174"/>
                    <a:pt x="122" y="166"/>
                    <a:pt x="137" y="152"/>
                  </a:cubicBezTo>
                  <a:cubicBezTo>
                    <a:pt x="137" y="173"/>
                    <a:pt x="137" y="173"/>
                    <a:pt x="137" y="173"/>
                  </a:cubicBezTo>
                  <a:cubicBezTo>
                    <a:pt x="137" y="205"/>
                    <a:pt x="120" y="222"/>
                    <a:pt x="89" y="222"/>
                  </a:cubicBezTo>
                  <a:cubicBezTo>
                    <a:pt x="66" y="222"/>
                    <a:pt x="52" y="213"/>
                    <a:pt x="48" y="194"/>
                  </a:cubicBezTo>
                  <a:cubicBezTo>
                    <a:pt x="47" y="192"/>
                    <a:pt x="46" y="190"/>
                    <a:pt x="43" y="190"/>
                  </a:cubicBezTo>
                  <a:cubicBezTo>
                    <a:pt x="24" y="190"/>
                    <a:pt x="24" y="190"/>
                    <a:pt x="24" y="190"/>
                  </a:cubicBezTo>
                  <a:cubicBezTo>
                    <a:pt x="21" y="190"/>
                    <a:pt x="19" y="192"/>
                    <a:pt x="19" y="195"/>
                  </a:cubicBezTo>
                  <a:cubicBezTo>
                    <a:pt x="22" y="228"/>
                    <a:pt x="51" y="250"/>
                    <a:pt x="89" y="250"/>
                  </a:cubicBezTo>
                  <a:cubicBezTo>
                    <a:pt x="135" y="250"/>
                    <a:pt x="165" y="219"/>
                    <a:pt x="165" y="174"/>
                  </a:cubicBezTo>
                  <a:cubicBezTo>
                    <a:pt x="165" y="7"/>
                    <a:pt x="165" y="7"/>
                    <a:pt x="165" y="7"/>
                  </a:cubicBezTo>
                  <a:cubicBezTo>
                    <a:pt x="165" y="5"/>
                    <a:pt x="164" y="4"/>
                    <a:pt x="162" y="4"/>
                  </a:cubicBezTo>
                  <a:cubicBezTo>
                    <a:pt x="140" y="4"/>
                    <a:pt x="140" y="4"/>
                    <a:pt x="140" y="4"/>
                  </a:cubicBezTo>
                  <a:cubicBezTo>
                    <a:pt x="138" y="4"/>
                    <a:pt x="137" y="5"/>
                    <a:pt x="137" y="7"/>
                  </a:cubicBezTo>
                  <a:cubicBezTo>
                    <a:pt x="137" y="21"/>
                    <a:pt x="137" y="21"/>
                    <a:pt x="137" y="21"/>
                  </a:cubicBezTo>
                  <a:cubicBezTo>
                    <a:pt x="126" y="11"/>
                    <a:pt x="113" y="4"/>
                    <a:pt x="99" y="0"/>
                  </a:cubicBezTo>
                  <a:cubicBezTo>
                    <a:pt x="97" y="0"/>
                    <a:pt x="96" y="1"/>
                    <a:pt x="96" y="3"/>
                  </a:cubicBezTo>
                  <a:cubicBezTo>
                    <a:pt x="96" y="28"/>
                    <a:pt x="96" y="28"/>
                    <a:pt x="96" y="28"/>
                  </a:cubicBezTo>
                  <a:cubicBezTo>
                    <a:pt x="96" y="29"/>
                    <a:pt x="96" y="30"/>
                    <a:pt x="97" y="31"/>
                  </a:cubicBezTo>
                  <a:cubicBezTo>
                    <a:pt x="121" y="37"/>
                    <a:pt x="138" y="60"/>
                    <a:pt x="138" y="87"/>
                  </a:cubicBezTo>
                  <a:cubicBezTo>
                    <a:pt x="138" y="119"/>
                    <a:pt x="114" y="146"/>
                    <a:pt x="83" y="146"/>
                  </a:cubicBezTo>
                  <a:cubicBezTo>
                    <a:pt x="53" y="146"/>
                    <a:pt x="29" y="119"/>
                    <a:pt x="29" y="87"/>
                  </a:cubicBezTo>
                  <a:cubicBezTo>
                    <a:pt x="29" y="61"/>
                    <a:pt x="45" y="38"/>
                    <a:pt x="68" y="31"/>
                  </a:cubicBezTo>
                  <a:cubicBezTo>
                    <a:pt x="69" y="31"/>
                    <a:pt x="70" y="30"/>
                    <a:pt x="70" y="29"/>
                  </a:cubicBezTo>
                  <a:cubicBezTo>
                    <a:pt x="70" y="3"/>
                    <a:pt x="70" y="3"/>
                    <a:pt x="70" y="3"/>
                  </a:cubicBezTo>
                  <a:cubicBezTo>
                    <a:pt x="70" y="1"/>
                    <a:pt x="69" y="0"/>
                    <a:pt x="67" y="0"/>
                  </a:cubicBezTo>
                  <a:cubicBezTo>
                    <a:pt x="67" y="0"/>
                    <a:pt x="67" y="0"/>
                    <a:pt x="6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a:p>
          </p:txBody>
        </p:sp>
        <p:sp>
          <p:nvSpPr>
            <p:cNvPr id="33" name="Oval 11">
              <a:extLst>
                <a:ext uri="{FF2B5EF4-FFF2-40B4-BE49-F238E27FC236}">
                  <a16:creationId xmlns:a16="http://schemas.microsoft.com/office/drawing/2014/main" id="{E868C1A3-B0A4-4A22-8C6F-144B0928DD07}"/>
                </a:ext>
              </a:extLst>
            </p:cNvPr>
            <p:cNvSpPr>
              <a:spLocks noChangeArrowheads="1"/>
            </p:cNvSpPr>
            <p:nvPr/>
          </p:nvSpPr>
          <p:spPr bwMode="auto">
            <a:xfrm>
              <a:off x="284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a:p>
          </p:txBody>
        </p:sp>
        <p:sp>
          <p:nvSpPr>
            <p:cNvPr id="34" name="Oval 12">
              <a:extLst>
                <a:ext uri="{FF2B5EF4-FFF2-40B4-BE49-F238E27FC236}">
                  <a16:creationId xmlns:a16="http://schemas.microsoft.com/office/drawing/2014/main" id="{D24C96AF-0F65-4480-9596-C78EE5B1914A}"/>
                </a:ext>
              </a:extLst>
            </p:cNvPr>
            <p:cNvSpPr>
              <a:spLocks noChangeArrowheads="1"/>
            </p:cNvSpPr>
            <p:nvPr/>
          </p:nvSpPr>
          <p:spPr bwMode="auto">
            <a:xfrm>
              <a:off x="387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a:p>
          </p:txBody>
        </p:sp>
        <p:sp>
          <p:nvSpPr>
            <p:cNvPr id="35" name="Freeform 13">
              <a:extLst>
                <a:ext uri="{FF2B5EF4-FFF2-40B4-BE49-F238E27FC236}">
                  <a16:creationId xmlns:a16="http://schemas.microsoft.com/office/drawing/2014/main" id="{7D368E19-FCAD-4797-8BAD-E034D30F0D76}"/>
                </a:ext>
              </a:extLst>
            </p:cNvPr>
            <p:cNvSpPr>
              <a:spLocks/>
            </p:cNvSpPr>
            <p:nvPr/>
          </p:nvSpPr>
          <p:spPr bwMode="auto">
            <a:xfrm>
              <a:off x="4062" y="1584"/>
              <a:ext cx="242" cy="462"/>
            </a:xfrm>
            <a:custGeom>
              <a:avLst/>
              <a:gdLst>
                <a:gd name="T0" fmla="*/ 39 w 128"/>
                <a:gd name="T1" fmla="*/ 55 h 244"/>
                <a:gd name="T2" fmla="*/ 39 w 128"/>
                <a:gd name="T3" fmla="*/ 76 h 244"/>
                <a:gd name="T4" fmla="*/ 4 w 128"/>
                <a:gd name="T5" fmla="*/ 76 h 244"/>
                <a:gd name="T6" fmla="*/ 0 w 128"/>
                <a:gd name="T7" fmla="*/ 81 h 244"/>
                <a:gd name="T8" fmla="*/ 0 w 128"/>
                <a:gd name="T9" fmla="*/ 99 h 244"/>
                <a:gd name="T10" fmla="*/ 4 w 128"/>
                <a:gd name="T11" fmla="*/ 103 h 244"/>
                <a:gd name="T12" fmla="*/ 39 w 128"/>
                <a:gd name="T13" fmla="*/ 103 h 244"/>
                <a:gd name="T14" fmla="*/ 39 w 128"/>
                <a:gd name="T15" fmla="*/ 239 h 244"/>
                <a:gd name="T16" fmla="*/ 44 w 128"/>
                <a:gd name="T17" fmla="*/ 244 h 244"/>
                <a:gd name="T18" fmla="*/ 62 w 128"/>
                <a:gd name="T19" fmla="*/ 244 h 244"/>
                <a:gd name="T20" fmla="*/ 67 w 128"/>
                <a:gd name="T21" fmla="*/ 239 h 244"/>
                <a:gd name="T22" fmla="*/ 67 w 128"/>
                <a:gd name="T23" fmla="*/ 103 h 244"/>
                <a:gd name="T24" fmla="*/ 120 w 128"/>
                <a:gd name="T25" fmla="*/ 103 h 244"/>
                <a:gd name="T26" fmla="*/ 125 w 128"/>
                <a:gd name="T27" fmla="*/ 99 h 244"/>
                <a:gd name="T28" fmla="*/ 125 w 128"/>
                <a:gd name="T29" fmla="*/ 81 h 244"/>
                <a:gd name="T30" fmla="*/ 120 w 128"/>
                <a:gd name="T31" fmla="*/ 76 h 244"/>
                <a:gd name="T32" fmla="*/ 67 w 128"/>
                <a:gd name="T33" fmla="*/ 76 h 244"/>
                <a:gd name="T34" fmla="*/ 67 w 128"/>
                <a:gd name="T35" fmla="*/ 55 h 244"/>
                <a:gd name="T36" fmla="*/ 91 w 128"/>
                <a:gd name="T37" fmla="*/ 27 h 244"/>
                <a:gd name="T38" fmla="*/ 122 w 128"/>
                <a:gd name="T39" fmla="*/ 37 h 244"/>
                <a:gd name="T40" fmla="*/ 125 w 128"/>
                <a:gd name="T41" fmla="*/ 38 h 244"/>
                <a:gd name="T42" fmla="*/ 128 w 128"/>
                <a:gd name="T43" fmla="*/ 33 h 244"/>
                <a:gd name="T44" fmla="*/ 128 w 128"/>
                <a:gd name="T45" fmla="*/ 16 h 244"/>
                <a:gd name="T46" fmla="*/ 125 w 128"/>
                <a:gd name="T47" fmla="*/ 9 h 244"/>
                <a:gd name="T48" fmla="*/ 89 w 128"/>
                <a:gd name="T49" fmla="*/ 0 h 244"/>
                <a:gd name="T50" fmla="*/ 39 w 128"/>
                <a:gd name="T51" fmla="*/ 5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244">
                  <a:moveTo>
                    <a:pt x="39" y="55"/>
                  </a:moveTo>
                  <a:cubicBezTo>
                    <a:pt x="39" y="76"/>
                    <a:pt x="39" y="76"/>
                    <a:pt x="39" y="76"/>
                  </a:cubicBezTo>
                  <a:cubicBezTo>
                    <a:pt x="4" y="76"/>
                    <a:pt x="4" y="76"/>
                    <a:pt x="4" y="76"/>
                  </a:cubicBezTo>
                  <a:cubicBezTo>
                    <a:pt x="1" y="76"/>
                    <a:pt x="0" y="78"/>
                    <a:pt x="0" y="81"/>
                  </a:cubicBezTo>
                  <a:cubicBezTo>
                    <a:pt x="0" y="99"/>
                    <a:pt x="0" y="99"/>
                    <a:pt x="0" y="99"/>
                  </a:cubicBezTo>
                  <a:cubicBezTo>
                    <a:pt x="0" y="102"/>
                    <a:pt x="1" y="103"/>
                    <a:pt x="4" y="103"/>
                  </a:cubicBezTo>
                  <a:cubicBezTo>
                    <a:pt x="39" y="103"/>
                    <a:pt x="39" y="103"/>
                    <a:pt x="39" y="103"/>
                  </a:cubicBezTo>
                  <a:cubicBezTo>
                    <a:pt x="39" y="239"/>
                    <a:pt x="39" y="239"/>
                    <a:pt x="39" y="239"/>
                  </a:cubicBezTo>
                  <a:cubicBezTo>
                    <a:pt x="39" y="242"/>
                    <a:pt x="41" y="244"/>
                    <a:pt x="44" y="244"/>
                  </a:cubicBezTo>
                  <a:cubicBezTo>
                    <a:pt x="62" y="244"/>
                    <a:pt x="62" y="244"/>
                    <a:pt x="62" y="244"/>
                  </a:cubicBezTo>
                  <a:cubicBezTo>
                    <a:pt x="65" y="244"/>
                    <a:pt x="67" y="242"/>
                    <a:pt x="67" y="239"/>
                  </a:cubicBezTo>
                  <a:cubicBezTo>
                    <a:pt x="67" y="103"/>
                    <a:pt x="67" y="103"/>
                    <a:pt x="67" y="103"/>
                  </a:cubicBezTo>
                  <a:cubicBezTo>
                    <a:pt x="120" y="103"/>
                    <a:pt x="120" y="103"/>
                    <a:pt x="120" y="103"/>
                  </a:cubicBezTo>
                  <a:cubicBezTo>
                    <a:pt x="123" y="103"/>
                    <a:pt x="125" y="102"/>
                    <a:pt x="125" y="99"/>
                  </a:cubicBezTo>
                  <a:cubicBezTo>
                    <a:pt x="125" y="81"/>
                    <a:pt x="125" y="81"/>
                    <a:pt x="125" y="81"/>
                  </a:cubicBezTo>
                  <a:cubicBezTo>
                    <a:pt x="125" y="78"/>
                    <a:pt x="123" y="76"/>
                    <a:pt x="120" y="76"/>
                  </a:cubicBezTo>
                  <a:cubicBezTo>
                    <a:pt x="67" y="76"/>
                    <a:pt x="67" y="76"/>
                    <a:pt x="67" y="76"/>
                  </a:cubicBezTo>
                  <a:cubicBezTo>
                    <a:pt x="67" y="55"/>
                    <a:pt x="67" y="55"/>
                    <a:pt x="67" y="55"/>
                  </a:cubicBezTo>
                  <a:cubicBezTo>
                    <a:pt x="67" y="38"/>
                    <a:pt x="76" y="27"/>
                    <a:pt x="91" y="27"/>
                  </a:cubicBezTo>
                  <a:cubicBezTo>
                    <a:pt x="102" y="27"/>
                    <a:pt x="110" y="30"/>
                    <a:pt x="122" y="37"/>
                  </a:cubicBezTo>
                  <a:cubicBezTo>
                    <a:pt x="123" y="38"/>
                    <a:pt x="124" y="38"/>
                    <a:pt x="125" y="38"/>
                  </a:cubicBezTo>
                  <a:cubicBezTo>
                    <a:pt x="127" y="38"/>
                    <a:pt x="128" y="36"/>
                    <a:pt x="128" y="33"/>
                  </a:cubicBezTo>
                  <a:cubicBezTo>
                    <a:pt x="128" y="16"/>
                    <a:pt x="128" y="16"/>
                    <a:pt x="128" y="16"/>
                  </a:cubicBezTo>
                  <a:cubicBezTo>
                    <a:pt x="128" y="13"/>
                    <a:pt x="128" y="11"/>
                    <a:pt x="125" y="9"/>
                  </a:cubicBezTo>
                  <a:cubicBezTo>
                    <a:pt x="114" y="3"/>
                    <a:pt x="103" y="0"/>
                    <a:pt x="89" y="0"/>
                  </a:cubicBezTo>
                  <a:cubicBezTo>
                    <a:pt x="54" y="0"/>
                    <a:pt x="39" y="29"/>
                    <a:pt x="39"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a:p>
          </p:txBody>
        </p:sp>
        <p:sp>
          <p:nvSpPr>
            <p:cNvPr id="36" name="Freeform 14">
              <a:extLst>
                <a:ext uri="{FF2B5EF4-FFF2-40B4-BE49-F238E27FC236}">
                  <a16:creationId xmlns:a16="http://schemas.microsoft.com/office/drawing/2014/main" id="{78C2E5DC-102B-47B7-8755-C09A97D86AE6}"/>
                </a:ext>
              </a:extLst>
            </p:cNvPr>
            <p:cNvSpPr>
              <a:spLocks/>
            </p:cNvSpPr>
            <p:nvPr/>
          </p:nvSpPr>
          <p:spPr bwMode="auto">
            <a:xfrm>
              <a:off x="2071" y="1578"/>
              <a:ext cx="632" cy="631"/>
            </a:xfrm>
            <a:custGeom>
              <a:avLst/>
              <a:gdLst>
                <a:gd name="T0" fmla="*/ 181 w 334"/>
                <a:gd name="T1" fmla="*/ 1 h 333"/>
                <a:gd name="T2" fmla="*/ 180 w 334"/>
                <a:gd name="T3" fmla="*/ 4 h 333"/>
                <a:gd name="T4" fmla="*/ 180 w 334"/>
                <a:gd name="T5" fmla="*/ 26 h 333"/>
                <a:gd name="T6" fmla="*/ 180 w 334"/>
                <a:gd name="T7" fmla="*/ 26 h 333"/>
                <a:gd name="T8" fmla="*/ 182 w 334"/>
                <a:gd name="T9" fmla="*/ 28 h 333"/>
                <a:gd name="T10" fmla="*/ 306 w 334"/>
                <a:gd name="T11" fmla="*/ 166 h 333"/>
                <a:gd name="T12" fmla="*/ 167 w 334"/>
                <a:gd name="T13" fmla="*/ 305 h 333"/>
                <a:gd name="T14" fmla="*/ 28 w 334"/>
                <a:gd name="T15" fmla="*/ 166 h 333"/>
                <a:gd name="T16" fmla="*/ 152 w 334"/>
                <a:gd name="T17" fmla="*/ 28 h 333"/>
                <a:gd name="T18" fmla="*/ 154 w 334"/>
                <a:gd name="T19" fmla="*/ 26 h 333"/>
                <a:gd name="T20" fmla="*/ 154 w 334"/>
                <a:gd name="T21" fmla="*/ 26 h 333"/>
                <a:gd name="T22" fmla="*/ 154 w 334"/>
                <a:gd name="T23" fmla="*/ 4 h 333"/>
                <a:gd name="T24" fmla="*/ 153 w 334"/>
                <a:gd name="T25" fmla="*/ 1 h 333"/>
                <a:gd name="T26" fmla="*/ 150 w 334"/>
                <a:gd name="T27" fmla="*/ 0 h 333"/>
                <a:gd name="T28" fmla="*/ 149 w 334"/>
                <a:gd name="T29" fmla="*/ 0 h 333"/>
                <a:gd name="T30" fmla="*/ 149 w 334"/>
                <a:gd name="T31" fmla="*/ 0 h 333"/>
                <a:gd name="T32" fmla="*/ 0 w 334"/>
                <a:gd name="T33" fmla="*/ 166 h 333"/>
                <a:gd name="T34" fmla="*/ 167 w 334"/>
                <a:gd name="T35" fmla="*/ 333 h 333"/>
                <a:gd name="T36" fmla="*/ 334 w 334"/>
                <a:gd name="T37" fmla="*/ 166 h 333"/>
                <a:gd name="T38" fmla="*/ 185 w 334"/>
                <a:gd name="T39" fmla="*/ 0 h 333"/>
                <a:gd name="T40" fmla="*/ 185 w 334"/>
                <a:gd name="T41" fmla="*/ 0 h 333"/>
                <a:gd name="T42" fmla="*/ 184 w 334"/>
                <a:gd name="T43" fmla="*/ 0 h 333"/>
                <a:gd name="T44" fmla="*/ 181 w 334"/>
                <a:gd name="T45" fmla="*/ 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4" h="333">
                  <a:moveTo>
                    <a:pt x="181" y="1"/>
                  </a:moveTo>
                  <a:cubicBezTo>
                    <a:pt x="180" y="2"/>
                    <a:pt x="180" y="3"/>
                    <a:pt x="180" y="4"/>
                  </a:cubicBezTo>
                  <a:cubicBezTo>
                    <a:pt x="180" y="26"/>
                    <a:pt x="180" y="26"/>
                    <a:pt x="180" y="26"/>
                  </a:cubicBezTo>
                  <a:cubicBezTo>
                    <a:pt x="180" y="26"/>
                    <a:pt x="180" y="26"/>
                    <a:pt x="180" y="26"/>
                  </a:cubicBezTo>
                  <a:cubicBezTo>
                    <a:pt x="180" y="27"/>
                    <a:pt x="181" y="28"/>
                    <a:pt x="182" y="28"/>
                  </a:cubicBezTo>
                  <a:cubicBezTo>
                    <a:pt x="251" y="35"/>
                    <a:pt x="306" y="94"/>
                    <a:pt x="306" y="166"/>
                  </a:cubicBezTo>
                  <a:cubicBezTo>
                    <a:pt x="306" y="243"/>
                    <a:pt x="244" y="305"/>
                    <a:pt x="167" y="305"/>
                  </a:cubicBezTo>
                  <a:cubicBezTo>
                    <a:pt x="90" y="305"/>
                    <a:pt x="28" y="243"/>
                    <a:pt x="28" y="166"/>
                  </a:cubicBezTo>
                  <a:cubicBezTo>
                    <a:pt x="28" y="94"/>
                    <a:pt x="82" y="35"/>
                    <a:pt x="152" y="28"/>
                  </a:cubicBezTo>
                  <a:cubicBezTo>
                    <a:pt x="153" y="28"/>
                    <a:pt x="154" y="27"/>
                    <a:pt x="154" y="26"/>
                  </a:cubicBezTo>
                  <a:cubicBezTo>
                    <a:pt x="154" y="26"/>
                    <a:pt x="154" y="26"/>
                    <a:pt x="154" y="26"/>
                  </a:cubicBezTo>
                  <a:cubicBezTo>
                    <a:pt x="154" y="4"/>
                    <a:pt x="154" y="4"/>
                    <a:pt x="154" y="4"/>
                  </a:cubicBezTo>
                  <a:cubicBezTo>
                    <a:pt x="154" y="3"/>
                    <a:pt x="154" y="2"/>
                    <a:pt x="153" y="1"/>
                  </a:cubicBezTo>
                  <a:cubicBezTo>
                    <a:pt x="152" y="0"/>
                    <a:pt x="151" y="0"/>
                    <a:pt x="150" y="0"/>
                  </a:cubicBezTo>
                  <a:cubicBezTo>
                    <a:pt x="149" y="0"/>
                    <a:pt x="149" y="0"/>
                    <a:pt x="149" y="0"/>
                  </a:cubicBezTo>
                  <a:cubicBezTo>
                    <a:pt x="149" y="0"/>
                    <a:pt x="149" y="0"/>
                    <a:pt x="149" y="0"/>
                  </a:cubicBezTo>
                  <a:cubicBezTo>
                    <a:pt x="65" y="9"/>
                    <a:pt x="0" y="80"/>
                    <a:pt x="0" y="166"/>
                  </a:cubicBezTo>
                  <a:cubicBezTo>
                    <a:pt x="0" y="258"/>
                    <a:pt x="75" y="333"/>
                    <a:pt x="167" y="333"/>
                  </a:cubicBezTo>
                  <a:cubicBezTo>
                    <a:pt x="259" y="333"/>
                    <a:pt x="334" y="258"/>
                    <a:pt x="334" y="166"/>
                  </a:cubicBezTo>
                  <a:cubicBezTo>
                    <a:pt x="334" y="80"/>
                    <a:pt x="269" y="9"/>
                    <a:pt x="185" y="0"/>
                  </a:cubicBezTo>
                  <a:cubicBezTo>
                    <a:pt x="185" y="0"/>
                    <a:pt x="185" y="0"/>
                    <a:pt x="185" y="0"/>
                  </a:cubicBezTo>
                  <a:cubicBezTo>
                    <a:pt x="185" y="0"/>
                    <a:pt x="184" y="0"/>
                    <a:pt x="184" y="0"/>
                  </a:cubicBezTo>
                  <a:cubicBezTo>
                    <a:pt x="183" y="0"/>
                    <a:pt x="182" y="0"/>
                    <a:pt x="18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a:p>
          </p:txBody>
        </p:sp>
      </p:grpSp>
    </p:spTree>
    <p:extLst>
      <p:ext uri="{BB962C8B-B14F-4D97-AF65-F5344CB8AC3E}">
        <p14:creationId xmlns:p14="http://schemas.microsoft.com/office/powerpoint/2010/main" val="3718781738"/>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title" preserve="1">
  <p:cSld name="Title Slide Image">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806139"/>
            <a:ext cx="9144001" cy="3245724"/>
          </a:xfrm>
        </p:spPr>
        <p:txBody>
          <a:bodyPr anchor="ctr"/>
          <a:lstStyle>
            <a:lvl1pPr algn="ctr">
              <a:defRPr sz="4000">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524000" y="5714325"/>
            <a:ext cx="9144001" cy="453754"/>
          </a:xfrm>
        </p:spPr>
        <p:txBody>
          <a:bodyPr/>
          <a:lstStyle>
            <a:lvl1pPr marL="0" indent="0" algn="ctr">
              <a:buNone/>
              <a:defRPr sz="2400">
                <a:solidFill>
                  <a:schemeClr val="bg1"/>
                </a:solidFill>
              </a:defRPr>
            </a:lvl1pPr>
            <a:lvl2pPr marL="521258" indent="0" algn="ctr">
              <a:buNone/>
              <a:defRPr sz="2280"/>
            </a:lvl2pPr>
            <a:lvl3pPr marL="1042512" indent="0" algn="ctr">
              <a:buNone/>
              <a:defRPr sz="2052"/>
            </a:lvl3pPr>
            <a:lvl4pPr marL="1563773" indent="0" algn="ctr">
              <a:buNone/>
              <a:defRPr sz="1824"/>
            </a:lvl4pPr>
            <a:lvl5pPr marL="2085031" indent="0" algn="ctr">
              <a:buNone/>
              <a:defRPr sz="1824"/>
            </a:lvl5pPr>
            <a:lvl6pPr marL="2606285" indent="0" algn="ctr">
              <a:buNone/>
              <a:defRPr sz="1824"/>
            </a:lvl6pPr>
            <a:lvl7pPr marL="3127543" indent="0" algn="ctr">
              <a:buNone/>
              <a:defRPr sz="1824"/>
            </a:lvl7pPr>
            <a:lvl8pPr marL="3648803" indent="0" algn="ctr">
              <a:buNone/>
              <a:defRPr sz="1824"/>
            </a:lvl8pPr>
            <a:lvl9pPr marL="4170060" indent="0" algn="ctr">
              <a:buNone/>
              <a:defRPr sz="1824"/>
            </a:lvl9pPr>
          </a:lstStyle>
          <a:p>
            <a:r>
              <a:rPr lang="en-US"/>
              <a:t>Click to edit Master subtitle style</a:t>
            </a:r>
            <a:endParaRPr lang="en-US" dirty="0"/>
          </a:p>
        </p:txBody>
      </p:sp>
      <p:grpSp>
        <p:nvGrpSpPr>
          <p:cNvPr id="18" name="Group 4">
            <a:extLst>
              <a:ext uri="{FF2B5EF4-FFF2-40B4-BE49-F238E27FC236}">
                <a16:creationId xmlns:a16="http://schemas.microsoft.com/office/drawing/2014/main" id="{C9FB2DA8-4D6B-455E-8E80-67520B04D91C}"/>
              </a:ext>
            </a:extLst>
          </p:cNvPr>
          <p:cNvGrpSpPr>
            <a:grpSpLocks noChangeAspect="1"/>
          </p:cNvGrpSpPr>
          <p:nvPr/>
        </p:nvGrpSpPr>
        <p:grpSpPr bwMode="auto">
          <a:xfrm>
            <a:off x="5155508" y="685816"/>
            <a:ext cx="1880984" cy="458559"/>
            <a:chOff x="2071" y="1578"/>
            <a:chExt cx="2587" cy="631"/>
          </a:xfrm>
          <a:gradFill>
            <a:gsLst>
              <a:gs pos="50000">
                <a:srgbClr val="00E487"/>
              </a:gs>
              <a:gs pos="100000">
                <a:srgbClr val="1ECBD0"/>
              </a:gs>
            </a:gsLst>
            <a:lin ang="18900000" scaled="0"/>
          </a:gradFill>
        </p:grpSpPr>
        <p:sp>
          <p:nvSpPr>
            <p:cNvPr id="19" name="Freeform 5">
              <a:extLst>
                <a:ext uri="{FF2B5EF4-FFF2-40B4-BE49-F238E27FC236}">
                  <a16:creationId xmlns:a16="http://schemas.microsoft.com/office/drawing/2014/main" id="{F798D9CB-93C5-4BA2-929A-2CDD20D9AF84}"/>
                </a:ext>
              </a:extLst>
            </p:cNvPr>
            <p:cNvSpPr>
              <a:spLocks/>
            </p:cNvSpPr>
            <p:nvPr/>
          </p:nvSpPr>
          <p:spPr bwMode="auto">
            <a:xfrm>
              <a:off x="2765" y="1728"/>
              <a:ext cx="244" cy="318"/>
            </a:xfrm>
            <a:custGeom>
              <a:avLst/>
              <a:gdLst>
                <a:gd name="T0" fmla="*/ 12 w 129"/>
                <a:gd name="T1" fmla="*/ 0 h 168"/>
                <a:gd name="T2" fmla="*/ 8 w 129"/>
                <a:gd name="T3" fmla="*/ 4 h 168"/>
                <a:gd name="T4" fmla="*/ 8 w 129"/>
                <a:gd name="T5" fmla="*/ 25 h 168"/>
                <a:gd name="T6" fmla="*/ 12 w 129"/>
                <a:gd name="T7" fmla="*/ 29 h 168"/>
                <a:gd name="T8" fmla="*/ 48 w 129"/>
                <a:gd name="T9" fmla="*/ 29 h 168"/>
                <a:gd name="T10" fmla="*/ 48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2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2" y="0"/>
                  </a:moveTo>
                  <a:cubicBezTo>
                    <a:pt x="9" y="0"/>
                    <a:pt x="8" y="1"/>
                    <a:pt x="8" y="4"/>
                  </a:cubicBezTo>
                  <a:cubicBezTo>
                    <a:pt x="8" y="25"/>
                    <a:pt x="8" y="25"/>
                    <a:pt x="8" y="25"/>
                  </a:cubicBezTo>
                  <a:cubicBezTo>
                    <a:pt x="8" y="27"/>
                    <a:pt x="9" y="29"/>
                    <a:pt x="12" y="29"/>
                  </a:cubicBezTo>
                  <a:cubicBezTo>
                    <a:pt x="48" y="29"/>
                    <a:pt x="48" y="29"/>
                    <a:pt x="48" y="29"/>
                  </a:cubicBezTo>
                  <a:cubicBezTo>
                    <a:pt x="48" y="140"/>
                    <a:pt x="48" y="140"/>
                    <a:pt x="48"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8" y="140"/>
                    <a:pt x="125" y="140"/>
                  </a:cubicBezTo>
                  <a:cubicBezTo>
                    <a:pt x="76" y="140"/>
                    <a:pt x="76" y="140"/>
                    <a:pt x="76" y="140"/>
                  </a:cubicBezTo>
                  <a:cubicBezTo>
                    <a:pt x="76" y="4"/>
                    <a:pt x="76" y="4"/>
                    <a:pt x="76" y="4"/>
                  </a:cubicBezTo>
                  <a:cubicBezTo>
                    <a:pt x="76" y="1"/>
                    <a:pt x="75" y="0"/>
                    <a:pt x="72" y="0"/>
                  </a:cubicBez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20" name="Freeform 6">
              <a:extLst>
                <a:ext uri="{FF2B5EF4-FFF2-40B4-BE49-F238E27FC236}">
                  <a16:creationId xmlns:a16="http://schemas.microsoft.com/office/drawing/2014/main" id="{FCD076B7-6553-48C6-9C13-12A0A6B2D947}"/>
                </a:ext>
              </a:extLst>
            </p:cNvPr>
            <p:cNvSpPr>
              <a:spLocks/>
            </p:cNvSpPr>
            <p:nvPr/>
          </p:nvSpPr>
          <p:spPr bwMode="auto">
            <a:xfrm>
              <a:off x="3798" y="1728"/>
              <a:ext cx="244" cy="318"/>
            </a:xfrm>
            <a:custGeom>
              <a:avLst/>
              <a:gdLst>
                <a:gd name="T0" fmla="*/ 11 w 129"/>
                <a:gd name="T1" fmla="*/ 0 h 168"/>
                <a:gd name="T2" fmla="*/ 8 w 129"/>
                <a:gd name="T3" fmla="*/ 4 h 168"/>
                <a:gd name="T4" fmla="*/ 8 w 129"/>
                <a:gd name="T5" fmla="*/ 25 h 168"/>
                <a:gd name="T6" fmla="*/ 11 w 129"/>
                <a:gd name="T7" fmla="*/ 29 h 168"/>
                <a:gd name="T8" fmla="*/ 47 w 129"/>
                <a:gd name="T9" fmla="*/ 29 h 168"/>
                <a:gd name="T10" fmla="*/ 47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1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1" y="0"/>
                  </a:moveTo>
                  <a:cubicBezTo>
                    <a:pt x="9" y="0"/>
                    <a:pt x="8" y="1"/>
                    <a:pt x="8" y="4"/>
                  </a:cubicBezTo>
                  <a:cubicBezTo>
                    <a:pt x="8" y="25"/>
                    <a:pt x="8" y="25"/>
                    <a:pt x="8" y="25"/>
                  </a:cubicBezTo>
                  <a:cubicBezTo>
                    <a:pt x="8" y="27"/>
                    <a:pt x="9" y="29"/>
                    <a:pt x="11" y="29"/>
                  </a:cubicBezTo>
                  <a:cubicBezTo>
                    <a:pt x="47" y="29"/>
                    <a:pt x="47" y="29"/>
                    <a:pt x="47" y="29"/>
                  </a:cubicBezTo>
                  <a:cubicBezTo>
                    <a:pt x="47" y="140"/>
                    <a:pt x="47" y="140"/>
                    <a:pt x="47"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7" y="140"/>
                    <a:pt x="125" y="140"/>
                  </a:cubicBezTo>
                  <a:cubicBezTo>
                    <a:pt x="76" y="140"/>
                    <a:pt x="76" y="140"/>
                    <a:pt x="76" y="140"/>
                  </a:cubicBezTo>
                  <a:cubicBezTo>
                    <a:pt x="76" y="4"/>
                    <a:pt x="76" y="4"/>
                    <a:pt x="76" y="4"/>
                  </a:cubicBezTo>
                  <a:cubicBezTo>
                    <a:pt x="75" y="1"/>
                    <a:pt x="74" y="0"/>
                    <a:pt x="72" y="0"/>
                  </a:cubicBez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21" name="Freeform 7">
              <a:extLst>
                <a:ext uri="{FF2B5EF4-FFF2-40B4-BE49-F238E27FC236}">
                  <a16:creationId xmlns:a16="http://schemas.microsoft.com/office/drawing/2014/main" id="{A4C76CEC-16C2-4E2B-8318-C92100B82A3E}"/>
                </a:ext>
              </a:extLst>
            </p:cNvPr>
            <p:cNvSpPr>
              <a:spLocks/>
            </p:cNvSpPr>
            <p:nvPr/>
          </p:nvSpPr>
          <p:spPr bwMode="auto">
            <a:xfrm>
              <a:off x="4361" y="1728"/>
              <a:ext cx="297" cy="464"/>
            </a:xfrm>
            <a:custGeom>
              <a:avLst/>
              <a:gdLst>
                <a:gd name="T0" fmla="*/ 132 w 157"/>
                <a:gd name="T1" fmla="*/ 0 h 245"/>
                <a:gd name="T2" fmla="*/ 127 w 157"/>
                <a:gd name="T3" fmla="*/ 3 h 245"/>
                <a:gd name="T4" fmla="*/ 127 w 157"/>
                <a:gd name="T5" fmla="*/ 3 h 245"/>
                <a:gd name="T6" fmla="*/ 79 w 157"/>
                <a:gd name="T7" fmla="*/ 128 h 245"/>
                <a:gd name="T8" fmla="*/ 30 w 157"/>
                <a:gd name="T9" fmla="*/ 4 h 245"/>
                <a:gd name="T10" fmla="*/ 25 w 157"/>
                <a:gd name="T11" fmla="*/ 0 h 245"/>
                <a:gd name="T12" fmla="*/ 4 w 157"/>
                <a:gd name="T13" fmla="*/ 0 h 245"/>
                <a:gd name="T14" fmla="*/ 0 w 157"/>
                <a:gd name="T15" fmla="*/ 3 h 245"/>
                <a:gd name="T16" fmla="*/ 1 w 157"/>
                <a:gd name="T17" fmla="*/ 6 h 245"/>
                <a:gd name="T18" fmla="*/ 1 w 157"/>
                <a:gd name="T19" fmla="*/ 6 h 245"/>
                <a:gd name="T20" fmla="*/ 1 w 157"/>
                <a:gd name="T21" fmla="*/ 6 h 245"/>
                <a:gd name="T22" fmla="*/ 64 w 157"/>
                <a:gd name="T23" fmla="*/ 168 h 245"/>
                <a:gd name="T24" fmla="*/ 59 w 157"/>
                <a:gd name="T25" fmla="*/ 182 h 245"/>
                <a:gd name="T26" fmla="*/ 48 w 157"/>
                <a:gd name="T27" fmla="*/ 205 h 245"/>
                <a:gd name="T28" fmla="*/ 38 w 157"/>
                <a:gd name="T29" fmla="*/ 215 h 245"/>
                <a:gd name="T30" fmla="*/ 30 w 157"/>
                <a:gd name="T31" fmla="*/ 217 h 245"/>
                <a:gd name="T32" fmla="*/ 26 w 157"/>
                <a:gd name="T33" fmla="*/ 216 h 245"/>
                <a:gd name="T34" fmla="*/ 14 w 157"/>
                <a:gd name="T35" fmla="*/ 213 h 245"/>
                <a:gd name="T36" fmla="*/ 7 w 157"/>
                <a:gd name="T37" fmla="*/ 210 h 245"/>
                <a:gd name="T38" fmla="*/ 3 w 157"/>
                <a:gd name="T39" fmla="*/ 215 h 245"/>
                <a:gd name="T40" fmla="*/ 3 w 157"/>
                <a:gd name="T41" fmla="*/ 233 h 245"/>
                <a:gd name="T42" fmla="*/ 3 w 157"/>
                <a:gd name="T43" fmla="*/ 233 h 245"/>
                <a:gd name="T44" fmla="*/ 7 w 157"/>
                <a:gd name="T45" fmla="*/ 240 h 245"/>
                <a:gd name="T46" fmla="*/ 32 w 157"/>
                <a:gd name="T47" fmla="*/ 245 h 245"/>
                <a:gd name="T48" fmla="*/ 54 w 157"/>
                <a:gd name="T49" fmla="*/ 238 h 245"/>
                <a:gd name="T50" fmla="*/ 73 w 157"/>
                <a:gd name="T51" fmla="*/ 220 h 245"/>
                <a:gd name="T52" fmla="*/ 79 w 157"/>
                <a:gd name="T53" fmla="*/ 208 h 245"/>
                <a:gd name="T54" fmla="*/ 156 w 157"/>
                <a:gd name="T55" fmla="*/ 6 h 245"/>
                <a:gd name="T56" fmla="*/ 157 w 157"/>
                <a:gd name="T57" fmla="*/ 3 h 245"/>
                <a:gd name="T58" fmla="*/ 153 w 157"/>
                <a:gd name="T59" fmla="*/ 0 h 245"/>
                <a:gd name="T60" fmla="*/ 132 w 157"/>
                <a:gd name="T6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7" h="245">
                  <a:moveTo>
                    <a:pt x="132" y="0"/>
                  </a:moveTo>
                  <a:cubicBezTo>
                    <a:pt x="129" y="0"/>
                    <a:pt x="128" y="1"/>
                    <a:pt x="127" y="3"/>
                  </a:cubicBezTo>
                  <a:cubicBezTo>
                    <a:pt x="127" y="3"/>
                    <a:pt x="127" y="3"/>
                    <a:pt x="127" y="3"/>
                  </a:cubicBezTo>
                  <a:cubicBezTo>
                    <a:pt x="79" y="128"/>
                    <a:pt x="79" y="128"/>
                    <a:pt x="79" y="128"/>
                  </a:cubicBezTo>
                  <a:cubicBezTo>
                    <a:pt x="30" y="4"/>
                    <a:pt x="30" y="4"/>
                    <a:pt x="30" y="4"/>
                  </a:cubicBezTo>
                  <a:cubicBezTo>
                    <a:pt x="29" y="1"/>
                    <a:pt x="28" y="0"/>
                    <a:pt x="25" y="0"/>
                  </a:cubicBezTo>
                  <a:cubicBezTo>
                    <a:pt x="4" y="0"/>
                    <a:pt x="4" y="0"/>
                    <a:pt x="4" y="0"/>
                  </a:cubicBezTo>
                  <a:cubicBezTo>
                    <a:pt x="2" y="0"/>
                    <a:pt x="0" y="1"/>
                    <a:pt x="0" y="3"/>
                  </a:cubicBezTo>
                  <a:cubicBezTo>
                    <a:pt x="0" y="4"/>
                    <a:pt x="1" y="5"/>
                    <a:pt x="1" y="6"/>
                  </a:cubicBezTo>
                  <a:cubicBezTo>
                    <a:pt x="1" y="6"/>
                    <a:pt x="1" y="6"/>
                    <a:pt x="1" y="6"/>
                  </a:cubicBezTo>
                  <a:cubicBezTo>
                    <a:pt x="1" y="6"/>
                    <a:pt x="1" y="6"/>
                    <a:pt x="1" y="6"/>
                  </a:cubicBezTo>
                  <a:cubicBezTo>
                    <a:pt x="64" y="168"/>
                    <a:pt x="64" y="168"/>
                    <a:pt x="64" y="168"/>
                  </a:cubicBezTo>
                  <a:cubicBezTo>
                    <a:pt x="59" y="182"/>
                    <a:pt x="59" y="182"/>
                    <a:pt x="59" y="182"/>
                  </a:cubicBezTo>
                  <a:cubicBezTo>
                    <a:pt x="57" y="187"/>
                    <a:pt x="53" y="199"/>
                    <a:pt x="48" y="205"/>
                  </a:cubicBezTo>
                  <a:cubicBezTo>
                    <a:pt x="44" y="211"/>
                    <a:pt x="42" y="213"/>
                    <a:pt x="38" y="215"/>
                  </a:cubicBezTo>
                  <a:cubicBezTo>
                    <a:pt x="35" y="216"/>
                    <a:pt x="33" y="217"/>
                    <a:pt x="30" y="217"/>
                  </a:cubicBezTo>
                  <a:cubicBezTo>
                    <a:pt x="28" y="217"/>
                    <a:pt x="27" y="217"/>
                    <a:pt x="26" y="216"/>
                  </a:cubicBezTo>
                  <a:cubicBezTo>
                    <a:pt x="22" y="216"/>
                    <a:pt x="18" y="214"/>
                    <a:pt x="14" y="213"/>
                  </a:cubicBezTo>
                  <a:cubicBezTo>
                    <a:pt x="11" y="212"/>
                    <a:pt x="9" y="210"/>
                    <a:pt x="7" y="210"/>
                  </a:cubicBezTo>
                  <a:cubicBezTo>
                    <a:pt x="5" y="210"/>
                    <a:pt x="3" y="212"/>
                    <a:pt x="3" y="215"/>
                  </a:cubicBezTo>
                  <a:cubicBezTo>
                    <a:pt x="3" y="233"/>
                    <a:pt x="3" y="233"/>
                    <a:pt x="3" y="233"/>
                  </a:cubicBezTo>
                  <a:cubicBezTo>
                    <a:pt x="3" y="233"/>
                    <a:pt x="3" y="233"/>
                    <a:pt x="3" y="233"/>
                  </a:cubicBezTo>
                  <a:cubicBezTo>
                    <a:pt x="3" y="236"/>
                    <a:pt x="4" y="238"/>
                    <a:pt x="7" y="240"/>
                  </a:cubicBezTo>
                  <a:cubicBezTo>
                    <a:pt x="15" y="243"/>
                    <a:pt x="21" y="245"/>
                    <a:pt x="32" y="245"/>
                  </a:cubicBezTo>
                  <a:cubicBezTo>
                    <a:pt x="41" y="244"/>
                    <a:pt x="47" y="242"/>
                    <a:pt x="54" y="238"/>
                  </a:cubicBezTo>
                  <a:cubicBezTo>
                    <a:pt x="61" y="233"/>
                    <a:pt x="67" y="227"/>
                    <a:pt x="73" y="220"/>
                  </a:cubicBezTo>
                  <a:cubicBezTo>
                    <a:pt x="75" y="216"/>
                    <a:pt x="77" y="212"/>
                    <a:pt x="79" y="208"/>
                  </a:cubicBezTo>
                  <a:cubicBezTo>
                    <a:pt x="83" y="200"/>
                    <a:pt x="144" y="40"/>
                    <a:pt x="156" y="6"/>
                  </a:cubicBezTo>
                  <a:cubicBezTo>
                    <a:pt x="157" y="5"/>
                    <a:pt x="157" y="4"/>
                    <a:pt x="157" y="3"/>
                  </a:cubicBezTo>
                  <a:cubicBezTo>
                    <a:pt x="157" y="1"/>
                    <a:pt x="155" y="0"/>
                    <a:pt x="153" y="0"/>
                  </a:cubicBezTo>
                  <a:lnTo>
                    <a:pt x="1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22" name="Freeform 8">
              <a:extLst>
                <a:ext uri="{FF2B5EF4-FFF2-40B4-BE49-F238E27FC236}">
                  <a16:creationId xmlns:a16="http://schemas.microsoft.com/office/drawing/2014/main" id="{7619E1B8-E4FD-4146-AF84-8F1DBB0AAB0D}"/>
                </a:ext>
              </a:extLst>
            </p:cNvPr>
            <p:cNvSpPr>
              <a:spLocks/>
            </p:cNvSpPr>
            <p:nvPr/>
          </p:nvSpPr>
          <p:spPr bwMode="auto">
            <a:xfrm>
              <a:off x="3457" y="1726"/>
              <a:ext cx="263" cy="322"/>
            </a:xfrm>
            <a:custGeom>
              <a:avLst/>
              <a:gdLst>
                <a:gd name="T0" fmla="*/ 28 w 139"/>
                <a:gd name="T1" fmla="*/ 21 h 170"/>
                <a:gd name="T2" fmla="*/ 28 w 139"/>
                <a:gd name="T3" fmla="*/ 6 h 170"/>
                <a:gd name="T4" fmla="*/ 25 w 139"/>
                <a:gd name="T5" fmla="*/ 3 h 170"/>
                <a:gd name="T6" fmla="*/ 4 w 139"/>
                <a:gd name="T7" fmla="*/ 3 h 170"/>
                <a:gd name="T8" fmla="*/ 0 w 139"/>
                <a:gd name="T9" fmla="*/ 6 h 170"/>
                <a:gd name="T10" fmla="*/ 0 w 139"/>
                <a:gd name="T11" fmla="*/ 167 h 170"/>
                <a:gd name="T12" fmla="*/ 4 w 139"/>
                <a:gd name="T13" fmla="*/ 170 h 170"/>
                <a:gd name="T14" fmla="*/ 25 w 139"/>
                <a:gd name="T15" fmla="*/ 170 h 170"/>
                <a:gd name="T16" fmla="*/ 28 w 139"/>
                <a:gd name="T17" fmla="*/ 167 h 170"/>
                <a:gd name="T18" fmla="*/ 28 w 139"/>
                <a:gd name="T19" fmla="*/ 68 h 170"/>
                <a:gd name="T20" fmla="*/ 70 w 139"/>
                <a:gd name="T21" fmla="*/ 28 h 170"/>
                <a:gd name="T22" fmla="*/ 111 w 139"/>
                <a:gd name="T23" fmla="*/ 68 h 170"/>
                <a:gd name="T24" fmla="*/ 111 w 139"/>
                <a:gd name="T25" fmla="*/ 167 h 170"/>
                <a:gd name="T26" fmla="*/ 111 w 139"/>
                <a:gd name="T27" fmla="*/ 167 h 170"/>
                <a:gd name="T28" fmla="*/ 114 w 139"/>
                <a:gd name="T29" fmla="*/ 170 h 170"/>
                <a:gd name="T30" fmla="*/ 136 w 139"/>
                <a:gd name="T31" fmla="*/ 170 h 170"/>
                <a:gd name="T32" fmla="*/ 139 w 139"/>
                <a:gd name="T33" fmla="*/ 167 h 170"/>
                <a:gd name="T34" fmla="*/ 139 w 139"/>
                <a:gd name="T35" fmla="*/ 68 h 170"/>
                <a:gd name="T36" fmla="*/ 139 w 139"/>
                <a:gd name="T37" fmla="*/ 68 h 170"/>
                <a:gd name="T38" fmla="*/ 139 w 139"/>
                <a:gd name="T39" fmla="*/ 68 h 170"/>
                <a:gd name="T40" fmla="*/ 120 w 139"/>
                <a:gd name="T41" fmla="*/ 20 h 170"/>
                <a:gd name="T42" fmla="*/ 70 w 139"/>
                <a:gd name="T43" fmla="*/ 0 h 170"/>
                <a:gd name="T44" fmla="*/ 28 w 139"/>
                <a:gd name="T45" fmla="*/ 2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170">
                  <a:moveTo>
                    <a:pt x="28" y="21"/>
                  </a:moveTo>
                  <a:cubicBezTo>
                    <a:pt x="28" y="6"/>
                    <a:pt x="28" y="6"/>
                    <a:pt x="28" y="6"/>
                  </a:cubicBezTo>
                  <a:cubicBezTo>
                    <a:pt x="28" y="4"/>
                    <a:pt x="27" y="3"/>
                    <a:pt x="25" y="3"/>
                  </a:cubicBezTo>
                  <a:cubicBezTo>
                    <a:pt x="4" y="3"/>
                    <a:pt x="4" y="3"/>
                    <a:pt x="4" y="3"/>
                  </a:cubicBezTo>
                  <a:cubicBezTo>
                    <a:pt x="1" y="3"/>
                    <a:pt x="0" y="4"/>
                    <a:pt x="0" y="6"/>
                  </a:cubicBezTo>
                  <a:cubicBezTo>
                    <a:pt x="0" y="167"/>
                    <a:pt x="0" y="167"/>
                    <a:pt x="0" y="167"/>
                  </a:cubicBezTo>
                  <a:cubicBezTo>
                    <a:pt x="0" y="169"/>
                    <a:pt x="1" y="170"/>
                    <a:pt x="4" y="170"/>
                  </a:cubicBezTo>
                  <a:cubicBezTo>
                    <a:pt x="25" y="170"/>
                    <a:pt x="25" y="170"/>
                    <a:pt x="25" y="170"/>
                  </a:cubicBezTo>
                  <a:cubicBezTo>
                    <a:pt x="27" y="170"/>
                    <a:pt x="28" y="169"/>
                    <a:pt x="28" y="167"/>
                  </a:cubicBezTo>
                  <a:cubicBezTo>
                    <a:pt x="28" y="68"/>
                    <a:pt x="28" y="68"/>
                    <a:pt x="28" y="68"/>
                  </a:cubicBezTo>
                  <a:cubicBezTo>
                    <a:pt x="28" y="49"/>
                    <a:pt x="42" y="28"/>
                    <a:pt x="70" y="28"/>
                  </a:cubicBezTo>
                  <a:cubicBezTo>
                    <a:pt x="97" y="28"/>
                    <a:pt x="111" y="49"/>
                    <a:pt x="111" y="68"/>
                  </a:cubicBezTo>
                  <a:cubicBezTo>
                    <a:pt x="111" y="167"/>
                    <a:pt x="111" y="167"/>
                    <a:pt x="111" y="167"/>
                  </a:cubicBezTo>
                  <a:cubicBezTo>
                    <a:pt x="111" y="167"/>
                    <a:pt x="111" y="167"/>
                    <a:pt x="111" y="167"/>
                  </a:cubicBezTo>
                  <a:cubicBezTo>
                    <a:pt x="111" y="169"/>
                    <a:pt x="112" y="170"/>
                    <a:pt x="114" y="170"/>
                  </a:cubicBezTo>
                  <a:cubicBezTo>
                    <a:pt x="136" y="170"/>
                    <a:pt x="136" y="170"/>
                    <a:pt x="136" y="170"/>
                  </a:cubicBezTo>
                  <a:cubicBezTo>
                    <a:pt x="138" y="170"/>
                    <a:pt x="139" y="169"/>
                    <a:pt x="139" y="167"/>
                  </a:cubicBezTo>
                  <a:cubicBezTo>
                    <a:pt x="139" y="68"/>
                    <a:pt x="139" y="68"/>
                    <a:pt x="139" y="68"/>
                  </a:cubicBezTo>
                  <a:cubicBezTo>
                    <a:pt x="139" y="68"/>
                    <a:pt x="139" y="68"/>
                    <a:pt x="139" y="68"/>
                  </a:cubicBezTo>
                  <a:cubicBezTo>
                    <a:pt x="139" y="68"/>
                    <a:pt x="139" y="68"/>
                    <a:pt x="139" y="68"/>
                  </a:cubicBezTo>
                  <a:cubicBezTo>
                    <a:pt x="139" y="51"/>
                    <a:pt x="133" y="35"/>
                    <a:pt x="120" y="20"/>
                  </a:cubicBezTo>
                  <a:cubicBezTo>
                    <a:pt x="109" y="7"/>
                    <a:pt x="88" y="0"/>
                    <a:pt x="70" y="0"/>
                  </a:cubicBezTo>
                  <a:cubicBezTo>
                    <a:pt x="41" y="0"/>
                    <a:pt x="28" y="21"/>
                    <a:pt x="28"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23" name="Freeform 9">
              <a:extLst>
                <a:ext uri="{FF2B5EF4-FFF2-40B4-BE49-F238E27FC236}">
                  <a16:creationId xmlns:a16="http://schemas.microsoft.com/office/drawing/2014/main" id="{4FF9C5E1-8FFE-4C45-8CEC-68E52F3E5DC7}"/>
                </a:ext>
              </a:extLst>
            </p:cNvPr>
            <p:cNvSpPr>
              <a:spLocks/>
            </p:cNvSpPr>
            <p:nvPr/>
          </p:nvSpPr>
          <p:spPr bwMode="auto">
            <a:xfrm>
              <a:off x="2264" y="1724"/>
              <a:ext cx="246" cy="328"/>
            </a:xfrm>
            <a:custGeom>
              <a:avLst/>
              <a:gdLst>
                <a:gd name="T0" fmla="*/ 4 w 130"/>
                <a:gd name="T1" fmla="*/ 48 h 173"/>
                <a:gd name="T2" fmla="*/ 56 w 130"/>
                <a:gd name="T3" fmla="*/ 97 h 173"/>
                <a:gd name="T4" fmla="*/ 57 w 130"/>
                <a:gd name="T5" fmla="*/ 98 h 173"/>
                <a:gd name="T6" fmla="*/ 101 w 130"/>
                <a:gd name="T7" fmla="*/ 124 h 173"/>
                <a:gd name="T8" fmla="*/ 66 w 130"/>
                <a:gd name="T9" fmla="*/ 146 h 173"/>
                <a:gd name="T10" fmla="*/ 30 w 130"/>
                <a:gd name="T11" fmla="*/ 118 h 173"/>
                <a:gd name="T12" fmla="*/ 26 w 130"/>
                <a:gd name="T13" fmla="*/ 114 h 173"/>
                <a:gd name="T14" fmla="*/ 5 w 130"/>
                <a:gd name="T15" fmla="*/ 114 h 173"/>
                <a:gd name="T16" fmla="*/ 0 w 130"/>
                <a:gd name="T17" fmla="*/ 118 h 173"/>
                <a:gd name="T18" fmla="*/ 65 w 130"/>
                <a:gd name="T19" fmla="*/ 173 h 173"/>
                <a:gd name="T20" fmla="*/ 130 w 130"/>
                <a:gd name="T21" fmla="*/ 120 h 173"/>
                <a:gd name="T22" fmla="*/ 72 w 130"/>
                <a:gd name="T23" fmla="*/ 74 h 173"/>
                <a:gd name="T24" fmla="*/ 32 w 130"/>
                <a:gd name="T25" fmla="*/ 48 h 173"/>
                <a:gd name="T26" fmla="*/ 63 w 130"/>
                <a:gd name="T27" fmla="*/ 27 h 173"/>
                <a:gd name="T28" fmla="*/ 97 w 130"/>
                <a:gd name="T29" fmla="*/ 49 h 173"/>
                <a:gd name="T30" fmla="*/ 102 w 130"/>
                <a:gd name="T31" fmla="*/ 53 h 173"/>
                <a:gd name="T32" fmla="*/ 120 w 130"/>
                <a:gd name="T33" fmla="*/ 53 h 173"/>
                <a:gd name="T34" fmla="*/ 125 w 130"/>
                <a:gd name="T35" fmla="*/ 48 h 173"/>
                <a:gd name="T36" fmla="*/ 63 w 130"/>
                <a:gd name="T37" fmla="*/ 0 h 173"/>
                <a:gd name="T38" fmla="*/ 4 w 130"/>
                <a:gd name="T39" fmla="*/ 4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173">
                  <a:moveTo>
                    <a:pt x="4" y="48"/>
                  </a:moveTo>
                  <a:cubicBezTo>
                    <a:pt x="4" y="77"/>
                    <a:pt x="19" y="91"/>
                    <a:pt x="56" y="97"/>
                  </a:cubicBezTo>
                  <a:cubicBezTo>
                    <a:pt x="57" y="98"/>
                    <a:pt x="57" y="98"/>
                    <a:pt x="57" y="98"/>
                  </a:cubicBezTo>
                  <a:cubicBezTo>
                    <a:pt x="83" y="102"/>
                    <a:pt x="101" y="105"/>
                    <a:pt x="101" y="124"/>
                  </a:cubicBezTo>
                  <a:cubicBezTo>
                    <a:pt x="101" y="139"/>
                    <a:pt x="83" y="146"/>
                    <a:pt x="66" y="146"/>
                  </a:cubicBezTo>
                  <a:cubicBezTo>
                    <a:pt x="46" y="146"/>
                    <a:pt x="33" y="136"/>
                    <a:pt x="30" y="118"/>
                  </a:cubicBezTo>
                  <a:cubicBezTo>
                    <a:pt x="30" y="116"/>
                    <a:pt x="29" y="114"/>
                    <a:pt x="26" y="114"/>
                  </a:cubicBezTo>
                  <a:cubicBezTo>
                    <a:pt x="5" y="114"/>
                    <a:pt x="5" y="114"/>
                    <a:pt x="5" y="114"/>
                  </a:cubicBezTo>
                  <a:cubicBezTo>
                    <a:pt x="2" y="114"/>
                    <a:pt x="0" y="116"/>
                    <a:pt x="0" y="118"/>
                  </a:cubicBezTo>
                  <a:cubicBezTo>
                    <a:pt x="0" y="150"/>
                    <a:pt x="27" y="173"/>
                    <a:pt x="65" y="173"/>
                  </a:cubicBezTo>
                  <a:cubicBezTo>
                    <a:pt x="104" y="173"/>
                    <a:pt x="130" y="151"/>
                    <a:pt x="130" y="120"/>
                  </a:cubicBezTo>
                  <a:cubicBezTo>
                    <a:pt x="130" y="86"/>
                    <a:pt x="100" y="79"/>
                    <a:pt x="72" y="74"/>
                  </a:cubicBezTo>
                  <a:cubicBezTo>
                    <a:pt x="37" y="68"/>
                    <a:pt x="32" y="58"/>
                    <a:pt x="32" y="48"/>
                  </a:cubicBezTo>
                  <a:cubicBezTo>
                    <a:pt x="32" y="32"/>
                    <a:pt x="49" y="27"/>
                    <a:pt x="63" y="27"/>
                  </a:cubicBezTo>
                  <a:cubicBezTo>
                    <a:pt x="82" y="27"/>
                    <a:pt x="94" y="34"/>
                    <a:pt x="97" y="49"/>
                  </a:cubicBezTo>
                  <a:cubicBezTo>
                    <a:pt x="98" y="51"/>
                    <a:pt x="98" y="53"/>
                    <a:pt x="102" y="53"/>
                  </a:cubicBezTo>
                  <a:cubicBezTo>
                    <a:pt x="120" y="53"/>
                    <a:pt x="120" y="53"/>
                    <a:pt x="120" y="53"/>
                  </a:cubicBezTo>
                  <a:cubicBezTo>
                    <a:pt x="123" y="53"/>
                    <a:pt x="125" y="51"/>
                    <a:pt x="125" y="48"/>
                  </a:cubicBezTo>
                  <a:cubicBezTo>
                    <a:pt x="125" y="19"/>
                    <a:pt x="100" y="0"/>
                    <a:pt x="63" y="0"/>
                  </a:cubicBezTo>
                  <a:cubicBezTo>
                    <a:pt x="22" y="0"/>
                    <a:pt x="4" y="25"/>
                    <a:pt x="4" y="4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24" name="Freeform 10">
              <a:extLst>
                <a:ext uri="{FF2B5EF4-FFF2-40B4-BE49-F238E27FC236}">
                  <a16:creationId xmlns:a16="http://schemas.microsoft.com/office/drawing/2014/main" id="{C321A392-CD70-4533-ACCC-383D8BB92B82}"/>
                </a:ext>
              </a:extLst>
            </p:cNvPr>
            <p:cNvSpPr>
              <a:spLocks/>
            </p:cNvSpPr>
            <p:nvPr/>
          </p:nvSpPr>
          <p:spPr bwMode="auto">
            <a:xfrm>
              <a:off x="3062" y="1722"/>
              <a:ext cx="312" cy="474"/>
            </a:xfrm>
            <a:custGeom>
              <a:avLst/>
              <a:gdLst>
                <a:gd name="T0" fmla="*/ 67 w 165"/>
                <a:gd name="T1" fmla="*/ 0 h 250"/>
                <a:gd name="T2" fmla="*/ 0 w 165"/>
                <a:gd name="T3" fmla="*/ 86 h 250"/>
                <a:gd name="T4" fmla="*/ 82 w 165"/>
                <a:gd name="T5" fmla="*/ 174 h 250"/>
                <a:gd name="T6" fmla="*/ 137 w 165"/>
                <a:gd name="T7" fmla="*/ 152 h 250"/>
                <a:gd name="T8" fmla="*/ 137 w 165"/>
                <a:gd name="T9" fmla="*/ 173 h 250"/>
                <a:gd name="T10" fmla="*/ 89 w 165"/>
                <a:gd name="T11" fmla="*/ 222 h 250"/>
                <a:gd name="T12" fmla="*/ 48 w 165"/>
                <a:gd name="T13" fmla="*/ 194 h 250"/>
                <a:gd name="T14" fmla="*/ 43 w 165"/>
                <a:gd name="T15" fmla="*/ 190 h 250"/>
                <a:gd name="T16" fmla="*/ 24 w 165"/>
                <a:gd name="T17" fmla="*/ 190 h 250"/>
                <a:gd name="T18" fmla="*/ 19 w 165"/>
                <a:gd name="T19" fmla="*/ 195 h 250"/>
                <a:gd name="T20" fmla="*/ 89 w 165"/>
                <a:gd name="T21" fmla="*/ 250 h 250"/>
                <a:gd name="T22" fmla="*/ 165 w 165"/>
                <a:gd name="T23" fmla="*/ 174 h 250"/>
                <a:gd name="T24" fmla="*/ 165 w 165"/>
                <a:gd name="T25" fmla="*/ 7 h 250"/>
                <a:gd name="T26" fmla="*/ 162 w 165"/>
                <a:gd name="T27" fmla="*/ 4 h 250"/>
                <a:gd name="T28" fmla="*/ 140 w 165"/>
                <a:gd name="T29" fmla="*/ 4 h 250"/>
                <a:gd name="T30" fmla="*/ 137 w 165"/>
                <a:gd name="T31" fmla="*/ 7 h 250"/>
                <a:gd name="T32" fmla="*/ 137 w 165"/>
                <a:gd name="T33" fmla="*/ 21 h 250"/>
                <a:gd name="T34" fmla="*/ 99 w 165"/>
                <a:gd name="T35" fmla="*/ 0 h 250"/>
                <a:gd name="T36" fmla="*/ 96 w 165"/>
                <a:gd name="T37" fmla="*/ 3 h 250"/>
                <a:gd name="T38" fmla="*/ 96 w 165"/>
                <a:gd name="T39" fmla="*/ 28 h 250"/>
                <a:gd name="T40" fmla="*/ 97 w 165"/>
                <a:gd name="T41" fmla="*/ 31 h 250"/>
                <a:gd name="T42" fmla="*/ 138 w 165"/>
                <a:gd name="T43" fmla="*/ 87 h 250"/>
                <a:gd name="T44" fmla="*/ 83 w 165"/>
                <a:gd name="T45" fmla="*/ 146 h 250"/>
                <a:gd name="T46" fmla="*/ 29 w 165"/>
                <a:gd name="T47" fmla="*/ 87 h 250"/>
                <a:gd name="T48" fmla="*/ 68 w 165"/>
                <a:gd name="T49" fmla="*/ 31 h 250"/>
                <a:gd name="T50" fmla="*/ 70 w 165"/>
                <a:gd name="T51" fmla="*/ 29 h 250"/>
                <a:gd name="T52" fmla="*/ 70 w 165"/>
                <a:gd name="T53" fmla="*/ 3 h 250"/>
                <a:gd name="T54" fmla="*/ 67 w 165"/>
                <a:gd name="T55" fmla="*/ 0 h 250"/>
                <a:gd name="T56" fmla="*/ 67 w 165"/>
                <a:gd name="T57"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5" h="250">
                  <a:moveTo>
                    <a:pt x="67" y="0"/>
                  </a:moveTo>
                  <a:cubicBezTo>
                    <a:pt x="29" y="8"/>
                    <a:pt x="0" y="44"/>
                    <a:pt x="0" y="86"/>
                  </a:cubicBezTo>
                  <a:cubicBezTo>
                    <a:pt x="0" y="135"/>
                    <a:pt x="37" y="174"/>
                    <a:pt x="82" y="174"/>
                  </a:cubicBezTo>
                  <a:cubicBezTo>
                    <a:pt x="103" y="174"/>
                    <a:pt x="122" y="166"/>
                    <a:pt x="137" y="152"/>
                  </a:cubicBezTo>
                  <a:cubicBezTo>
                    <a:pt x="137" y="173"/>
                    <a:pt x="137" y="173"/>
                    <a:pt x="137" y="173"/>
                  </a:cubicBezTo>
                  <a:cubicBezTo>
                    <a:pt x="137" y="205"/>
                    <a:pt x="120" y="222"/>
                    <a:pt x="89" y="222"/>
                  </a:cubicBezTo>
                  <a:cubicBezTo>
                    <a:pt x="66" y="222"/>
                    <a:pt x="52" y="213"/>
                    <a:pt x="48" y="194"/>
                  </a:cubicBezTo>
                  <a:cubicBezTo>
                    <a:pt x="47" y="192"/>
                    <a:pt x="46" y="190"/>
                    <a:pt x="43" y="190"/>
                  </a:cubicBezTo>
                  <a:cubicBezTo>
                    <a:pt x="24" y="190"/>
                    <a:pt x="24" y="190"/>
                    <a:pt x="24" y="190"/>
                  </a:cubicBezTo>
                  <a:cubicBezTo>
                    <a:pt x="21" y="190"/>
                    <a:pt x="19" y="192"/>
                    <a:pt x="19" y="195"/>
                  </a:cubicBezTo>
                  <a:cubicBezTo>
                    <a:pt x="22" y="228"/>
                    <a:pt x="51" y="250"/>
                    <a:pt x="89" y="250"/>
                  </a:cubicBezTo>
                  <a:cubicBezTo>
                    <a:pt x="135" y="250"/>
                    <a:pt x="165" y="219"/>
                    <a:pt x="165" y="174"/>
                  </a:cubicBezTo>
                  <a:cubicBezTo>
                    <a:pt x="165" y="7"/>
                    <a:pt x="165" y="7"/>
                    <a:pt x="165" y="7"/>
                  </a:cubicBezTo>
                  <a:cubicBezTo>
                    <a:pt x="165" y="5"/>
                    <a:pt x="164" y="4"/>
                    <a:pt x="162" y="4"/>
                  </a:cubicBezTo>
                  <a:cubicBezTo>
                    <a:pt x="140" y="4"/>
                    <a:pt x="140" y="4"/>
                    <a:pt x="140" y="4"/>
                  </a:cubicBezTo>
                  <a:cubicBezTo>
                    <a:pt x="138" y="4"/>
                    <a:pt x="137" y="5"/>
                    <a:pt x="137" y="7"/>
                  </a:cubicBezTo>
                  <a:cubicBezTo>
                    <a:pt x="137" y="21"/>
                    <a:pt x="137" y="21"/>
                    <a:pt x="137" y="21"/>
                  </a:cubicBezTo>
                  <a:cubicBezTo>
                    <a:pt x="126" y="11"/>
                    <a:pt x="113" y="4"/>
                    <a:pt x="99" y="0"/>
                  </a:cubicBezTo>
                  <a:cubicBezTo>
                    <a:pt x="97" y="0"/>
                    <a:pt x="96" y="1"/>
                    <a:pt x="96" y="3"/>
                  </a:cubicBezTo>
                  <a:cubicBezTo>
                    <a:pt x="96" y="28"/>
                    <a:pt x="96" y="28"/>
                    <a:pt x="96" y="28"/>
                  </a:cubicBezTo>
                  <a:cubicBezTo>
                    <a:pt x="96" y="29"/>
                    <a:pt x="96" y="30"/>
                    <a:pt x="97" y="31"/>
                  </a:cubicBezTo>
                  <a:cubicBezTo>
                    <a:pt x="121" y="37"/>
                    <a:pt x="138" y="60"/>
                    <a:pt x="138" y="87"/>
                  </a:cubicBezTo>
                  <a:cubicBezTo>
                    <a:pt x="138" y="119"/>
                    <a:pt x="114" y="146"/>
                    <a:pt x="83" y="146"/>
                  </a:cubicBezTo>
                  <a:cubicBezTo>
                    <a:pt x="53" y="146"/>
                    <a:pt x="29" y="119"/>
                    <a:pt x="29" y="87"/>
                  </a:cubicBezTo>
                  <a:cubicBezTo>
                    <a:pt x="29" y="61"/>
                    <a:pt x="45" y="38"/>
                    <a:pt x="68" y="31"/>
                  </a:cubicBezTo>
                  <a:cubicBezTo>
                    <a:pt x="69" y="31"/>
                    <a:pt x="70" y="30"/>
                    <a:pt x="70" y="29"/>
                  </a:cubicBezTo>
                  <a:cubicBezTo>
                    <a:pt x="70" y="3"/>
                    <a:pt x="70" y="3"/>
                    <a:pt x="70" y="3"/>
                  </a:cubicBezTo>
                  <a:cubicBezTo>
                    <a:pt x="70" y="1"/>
                    <a:pt x="69" y="0"/>
                    <a:pt x="67" y="0"/>
                  </a:cubicBezTo>
                  <a:cubicBezTo>
                    <a:pt x="67" y="0"/>
                    <a:pt x="67" y="0"/>
                    <a:pt x="6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25" name="Oval 11">
              <a:extLst>
                <a:ext uri="{FF2B5EF4-FFF2-40B4-BE49-F238E27FC236}">
                  <a16:creationId xmlns:a16="http://schemas.microsoft.com/office/drawing/2014/main" id="{C73A465C-03FB-40DA-A381-544599743F7D}"/>
                </a:ext>
              </a:extLst>
            </p:cNvPr>
            <p:cNvSpPr>
              <a:spLocks noChangeArrowheads="1"/>
            </p:cNvSpPr>
            <p:nvPr/>
          </p:nvSpPr>
          <p:spPr bwMode="auto">
            <a:xfrm>
              <a:off x="284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26" name="Oval 12">
              <a:extLst>
                <a:ext uri="{FF2B5EF4-FFF2-40B4-BE49-F238E27FC236}">
                  <a16:creationId xmlns:a16="http://schemas.microsoft.com/office/drawing/2014/main" id="{9FFE5527-2DF9-4A01-9E29-E2A442B566E3}"/>
                </a:ext>
              </a:extLst>
            </p:cNvPr>
            <p:cNvSpPr>
              <a:spLocks noChangeArrowheads="1"/>
            </p:cNvSpPr>
            <p:nvPr/>
          </p:nvSpPr>
          <p:spPr bwMode="auto">
            <a:xfrm>
              <a:off x="387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27" name="Freeform 13">
              <a:extLst>
                <a:ext uri="{FF2B5EF4-FFF2-40B4-BE49-F238E27FC236}">
                  <a16:creationId xmlns:a16="http://schemas.microsoft.com/office/drawing/2014/main" id="{C27E165C-619B-4F48-8C43-C8AEBFD58E90}"/>
                </a:ext>
              </a:extLst>
            </p:cNvPr>
            <p:cNvSpPr>
              <a:spLocks/>
            </p:cNvSpPr>
            <p:nvPr/>
          </p:nvSpPr>
          <p:spPr bwMode="auto">
            <a:xfrm>
              <a:off x="4062" y="1584"/>
              <a:ext cx="242" cy="462"/>
            </a:xfrm>
            <a:custGeom>
              <a:avLst/>
              <a:gdLst>
                <a:gd name="T0" fmla="*/ 39 w 128"/>
                <a:gd name="T1" fmla="*/ 55 h 244"/>
                <a:gd name="T2" fmla="*/ 39 w 128"/>
                <a:gd name="T3" fmla="*/ 76 h 244"/>
                <a:gd name="T4" fmla="*/ 4 w 128"/>
                <a:gd name="T5" fmla="*/ 76 h 244"/>
                <a:gd name="T6" fmla="*/ 0 w 128"/>
                <a:gd name="T7" fmla="*/ 81 h 244"/>
                <a:gd name="T8" fmla="*/ 0 w 128"/>
                <a:gd name="T9" fmla="*/ 99 h 244"/>
                <a:gd name="T10" fmla="*/ 4 w 128"/>
                <a:gd name="T11" fmla="*/ 103 h 244"/>
                <a:gd name="T12" fmla="*/ 39 w 128"/>
                <a:gd name="T13" fmla="*/ 103 h 244"/>
                <a:gd name="T14" fmla="*/ 39 w 128"/>
                <a:gd name="T15" fmla="*/ 239 h 244"/>
                <a:gd name="T16" fmla="*/ 44 w 128"/>
                <a:gd name="T17" fmla="*/ 244 h 244"/>
                <a:gd name="T18" fmla="*/ 62 w 128"/>
                <a:gd name="T19" fmla="*/ 244 h 244"/>
                <a:gd name="T20" fmla="*/ 67 w 128"/>
                <a:gd name="T21" fmla="*/ 239 h 244"/>
                <a:gd name="T22" fmla="*/ 67 w 128"/>
                <a:gd name="T23" fmla="*/ 103 h 244"/>
                <a:gd name="T24" fmla="*/ 120 w 128"/>
                <a:gd name="T25" fmla="*/ 103 h 244"/>
                <a:gd name="T26" fmla="*/ 125 w 128"/>
                <a:gd name="T27" fmla="*/ 99 h 244"/>
                <a:gd name="T28" fmla="*/ 125 w 128"/>
                <a:gd name="T29" fmla="*/ 81 h 244"/>
                <a:gd name="T30" fmla="*/ 120 w 128"/>
                <a:gd name="T31" fmla="*/ 76 h 244"/>
                <a:gd name="T32" fmla="*/ 67 w 128"/>
                <a:gd name="T33" fmla="*/ 76 h 244"/>
                <a:gd name="T34" fmla="*/ 67 w 128"/>
                <a:gd name="T35" fmla="*/ 55 h 244"/>
                <a:gd name="T36" fmla="*/ 91 w 128"/>
                <a:gd name="T37" fmla="*/ 27 h 244"/>
                <a:gd name="T38" fmla="*/ 122 w 128"/>
                <a:gd name="T39" fmla="*/ 37 h 244"/>
                <a:gd name="T40" fmla="*/ 125 w 128"/>
                <a:gd name="T41" fmla="*/ 38 h 244"/>
                <a:gd name="T42" fmla="*/ 128 w 128"/>
                <a:gd name="T43" fmla="*/ 33 h 244"/>
                <a:gd name="T44" fmla="*/ 128 w 128"/>
                <a:gd name="T45" fmla="*/ 16 h 244"/>
                <a:gd name="T46" fmla="*/ 125 w 128"/>
                <a:gd name="T47" fmla="*/ 9 h 244"/>
                <a:gd name="T48" fmla="*/ 89 w 128"/>
                <a:gd name="T49" fmla="*/ 0 h 244"/>
                <a:gd name="T50" fmla="*/ 39 w 128"/>
                <a:gd name="T51" fmla="*/ 5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244">
                  <a:moveTo>
                    <a:pt x="39" y="55"/>
                  </a:moveTo>
                  <a:cubicBezTo>
                    <a:pt x="39" y="76"/>
                    <a:pt x="39" y="76"/>
                    <a:pt x="39" y="76"/>
                  </a:cubicBezTo>
                  <a:cubicBezTo>
                    <a:pt x="4" y="76"/>
                    <a:pt x="4" y="76"/>
                    <a:pt x="4" y="76"/>
                  </a:cubicBezTo>
                  <a:cubicBezTo>
                    <a:pt x="1" y="76"/>
                    <a:pt x="0" y="78"/>
                    <a:pt x="0" y="81"/>
                  </a:cubicBezTo>
                  <a:cubicBezTo>
                    <a:pt x="0" y="99"/>
                    <a:pt x="0" y="99"/>
                    <a:pt x="0" y="99"/>
                  </a:cubicBezTo>
                  <a:cubicBezTo>
                    <a:pt x="0" y="102"/>
                    <a:pt x="1" y="103"/>
                    <a:pt x="4" y="103"/>
                  </a:cubicBezTo>
                  <a:cubicBezTo>
                    <a:pt x="39" y="103"/>
                    <a:pt x="39" y="103"/>
                    <a:pt x="39" y="103"/>
                  </a:cubicBezTo>
                  <a:cubicBezTo>
                    <a:pt x="39" y="239"/>
                    <a:pt x="39" y="239"/>
                    <a:pt x="39" y="239"/>
                  </a:cubicBezTo>
                  <a:cubicBezTo>
                    <a:pt x="39" y="242"/>
                    <a:pt x="41" y="244"/>
                    <a:pt x="44" y="244"/>
                  </a:cubicBezTo>
                  <a:cubicBezTo>
                    <a:pt x="62" y="244"/>
                    <a:pt x="62" y="244"/>
                    <a:pt x="62" y="244"/>
                  </a:cubicBezTo>
                  <a:cubicBezTo>
                    <a:pt x="65" y="244"/>
                    <a:pt x="67" y="242"/>
                    <a:pt x="67" y="239"/>
                  </a:cubicBezTo>
                  <a:cubicBezTo>
                    <a:pt x="67" y="103"/>
                    <a:pt x="67" y="103"/>
                    <a:pt x="67" y="103"/>
                  </a:cubicBezTo>
                  <a:cubicBezTo>
                    <a:pt x="120" y="103"/>
                    <a:pt x="120" y="103"/>
                    <a:pt x="120" y="103"/>
                  </a:cubicBezTo>
                  <a:cubicBezTo>
                    <a:pt x="123" y="103"/>
                    <a:pt x="125" y="102"/>
                    <a:pt x="125" y="99"/>
                  </a:cubicBezTo>
                  <a:cubicBezTo>
                    <a:pt x="125" y="81"/>
                    <a:pt x="125" y="81"/>
                    <a:pt x="125" y="81"/>
                  </a:cubicBezTo>
                  <a:cubicBezTo>
                    <a:pt x="125" y="78"/>
                    <a:pt x="123" y="76"/>
                    <a:pt x="120" y="76"/>
                  </a:cubicBezTo>
                  <a:cubicBezTo>
                    <a:pt x="67" y="76"/>
                    <a:pt x="67" y="76"/>
                    <a:pt x="67" y="76"/>
                  </a:cubicBezTo>
                  <a:cubicBezTo>
                    <a:pt x="67" y="55"/>
                    <a:pt x="67" y="55"/>
                    <a:pt x="67" y="55"/>
                  </a:cubicBezTo>
                  <a:cubicBezTo>
                    <a:pt x="67" y="38"/>
                    <a:pt x="76" y="27"/>
                    <a:pt x="91" y="27"/>
                  </a:cubicBezTo>
                  <a:cubicBezTo>
                    <a:pt x="102" y="27"/>
                    <a:pt x="110" y="30"/>
                    <a:pt x="122" y="37"/>
                  </a:cubicBezTo>
                  <a:cubicBezTo>
                    <a:pt x="123" y="38"/>
                    <a:pt x="124" y="38"/>
                    <a:pt x="125" y="38"/>
                  </a:cubicBezTo>
                  <a:cubicBezTo>
                    <a:pt x="127" y="38"/>
                    <a:pt x="128" y="36"/>
                    <a:pt x="128" y="33"/>
                  </a:cubicBezTo>
                  <a:cubicBezTo>
                    <a:pt x="128" y="16"/>
                    <a:pt x="128" y="16"/>
                    <a:pt x="128" y="16"/>
                  </a:cubicBezTo>
                  <a:cubicBezTo>
                    <a:pt x="128" y="13"/>
                    <a:pt x="128" y="11"/>
                    <a:pt x="125" y="9"/>
                  </a:cubicBezTo>
                  <a:cubicBezTo>
                    <a:pt x="114" y="3"/>
                    <a:pt x="103" y="0"/>
                    <a:pt x="89" y="0"/>
                  </a:cubicBezTo>
                  <a:cubicBezTo>
                    <a:pt x="54" y="0"/>
                    <a:pt x="39" y="29"/>
                    <a:pt x="39"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sp>
          <p:nvSpPr>
            <p:cNvPr id="28" name="Freeform 14">
              <a:extLst>
                <a:ext uri="{FF2B5EF4-FFF2-40B4-BE49-F238E27FC236}">
                  <a16:creationId xmlns:a16="http://schemas.microsoft.com/office/drawing/2014/main" id="{55BAEF4C-20E0-4F60-A41D-DA6C12A98B45}"/>
                </a:ext>
              </a:extLst>
            </p:cNvPr>
            <p:cNvSpPr>
              <a:spLocks/>
            </p:cNvSpPr>
            <p:nvPr/>
          </p:nvSpPr>
          <p:spPr bwMode="auto">
            <a:xfrm>
              <a:off x="2071" y="1578"/>
              <a:ext cx="632" cy="631"/>
            </a:xfrm>
            <a:custGeom>
              <a:avLst/>
              <a:gdLst>
                <a:gd name="T0" fmla="*/ 181 w 334"/>
                <a:gd name="T1" fmla="*/ 1 h 333"/>
                <a:gd name="T2" fmla="*/ 180 w 334"/>
                <a:gd name="T3" fmla="*/ 4 h 333"/>
                <a:gd name="T4" fmla="*/ 180 w 334"/>
                <a:gd name="T5" fmla="*/ 26 h 333"/>
                <a:gd name="T6" fmla="*/ 180 w 334"/>
                <a:gd name="T7" fmla="*/ 26 h 333"/>
                <a:gd name="T8" fmla="*/ 182 w 334"/>
                <a:gd name="T9" fmla="*/ 28 h 333"/>
                <a:gd name="T10" fmla="*/ 306 w 334"/>
                <a:gd name="T11" fmla="*/ 166 h 333"/>
                <a:gd name="T12" fmla="*/ 167 w 334"/>
                <a:gd name="T13" fmla="*/ 305 h 333"/>
                <a:gd name="T14" fmla="*/ 28 w 334"/>
                <a:gd name="T15" fmla="*/ 166 h 333"/>
                <a:gd name="T16" fmla="*/ 152 w 334"/>
                <a:gd name="T17" fmla="*/ 28 h 333"/>
                <a:gd name="T18" fmla="*/ 154 w 334"/>
                <a:gd name="T19" fmla="*/ 26 h 333"/>
                <a:gd name="T20" fmla="*/ 154 w 334"/>
                <a:gd name="T21" fmla="*/ 26 h 333"/>
                <a:gd name="T22" fmla="*/ 154 w 334"/>
                <a:gd name="T23" fmla="*/ 4 h 333"/>
                <a:gd name="T24" fmla="*/ 153 w 334"/>
                <a:gd name="T25" fmla="*/ 1 h 333"/>
                <a:gd name="T26" fmla="*/ 150 w 334"/>
                <a:gd name="T27" fmla="*/ 0 h 333"/>
                <a:gd name="T28" fmla="*/ 149 w 334"/>
                <a:gd name="T29" fmla="*/ 0 h 333"/>
                <a:gd name="T30" fmla="*/ 149 w 334"/>
                <a:gd name="T31" fmla="*/ 0 h 333"/>
                <a:gd name="T32" fmla="*/ 0 w 334"/>
                <a:gd name="T33" fmla="*/ 166 h 333"/>
                <a:gd name="T34" fmla="*/ 167 w 334"/>
                <a:gd name="T35" fmla="*/ 333 h 333"/>
                <a:gd name="T36" fmla="*/ 334 w 334"/>
                <a:gd name="T37" fmla="*/ 166 h 333"/>
                <a:gd name="T38" fmla="*/ 185 w 334"/>
                <a:gd name="T39" fmla="*/ 0 h 333"/>
                <a:gd name="T40" fmla="*/ 185 w 334"/>
                <a:gd name="T41" fmla="*/ 0 h 333"/>
                <a:gd name="T42" fmla="*/ 184 w 334"/>
                <a:gd name="T43" fmla="*/ 0 h 333"/>
                <a:gd name="T44" fmla="*/ 181 w 334"/>
                <a:gd name="T45" fmla="*/ 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4" h="333">
                  <a:moveTo>
                    <a:pt x="181" y="1"/>
                  </a:moveTo>
                  <a:cubicBezTo>
                    <a:pt x="180" y="2"/>
                    <a:pt x="180" y="3"/>
                    <a:pt x="180" y="4"/>
                  </a:cubicBezTo>
                  <a:cubicBezTo>
                    <a:pt x="180" y="26"/>
                    <a:pt x="180" y="26"/>
                    <a:pt x="180" y="26"/>
                  </a:cubicBezTo>
                  <a:cubicBezTo>
                    <a:pt x="180" y="26"/>
                    <a:pt x="180" y="26"/>
                    <a:pt x="180" y="26"/>
                  </a:cubicBezTo>
                  <a:cubicBezTo>
                    <a:pt x="180" y="27"/>
                    <a:pt x="181" y="28"/>
                    <a:pt x="182" y="28"/>
                  </a:cubicBezTo>
                  <a:cubicBezTo>
                    <a:pt x="251" y="35"/>
                    <a:pt x="306" y="94"/>
                    <a:pt x="306" y="166"/>
                  </a:cubicBezTo>
                  <a:cubicBezTo>
                    <a:pt x="306" y="243"/>
                    <a:pt x="244" y="305"/>
                    <a:pt x="167" y="305"/>
                  </a:cubicBezTo>
                  <a:cubicBezTo>
                    <a:pt x="90" y="305"/>
                    <a:pt x="28" y="243"/>
                    <a:pt x="28" y="166"/>
                  </a:cubicBezTo>
                  <a:cubicBezTo>
                    <a:pt x="28" y="94"/>
                    <a:pt x="82" y="35"/>
                    <a:pt x="152" y="28"/>
                  </a:cubicBezTo>
                  <a:cubicBezTo>
                    <a:pt x="153" y="28"/>
                    <a:pt x="154" y="27"/>
                    <a:pt x="154" y="26"/>
                  </a:cubicBezTo>
                  <a:cubicBezTo>
                    <a:pt x="154" y="26"/>
                    <a:pt x="154" y="26"/>
                    <a:pt x="154" y="26"/>
                  </a:cubicBezTo>
                  <a:cubicBezTo>
                    <a:pt x="154" y="4"/>
                    <a:pt x="154" y="4"/>
                    <a:pt x="154" y="4"/>
                  </a:cubicBezTo>
                  <a:cubicBezTo>
                    <a:pt x="154" y="3"/>
                    <a:pt x="154" y="2"/>
                    <a:pt x="153" y="1"/>
                  </a:cubicBezTo>
                  <a:cubicBezTo>
                    <a:pt x="152" y="0"/>
                    <a:pt x="151" y="0"/>
                    <a:pt x="150" y="0"/>
                  </a:cubicBezTo>
                  <a:cubicBezTo>
                    <a:pt x="149" y="0"/>
                    <a:pt x="149" y="0"/>
                    <a:pt x="149" y="0"/>
                  </a:cubicBezTo>
                  <a:cubicBezTo>
                    <a:pt x="149" y="0"/>
                    <a:pt x="149" y="0"/>
                    <a:pt x="149" y="0"/>
                  </a:cubicBezTo>
                  <a:cubicBezTo>
                    <a:pt x="65" y="9"/>
                    <a:pt x="0" y="80"/>
                    <a:pt x="0" y="166"/>
                  </a:cubicBezTo>
                  <a:cubicBezTo>
                    <a:pt x="0" y="258"/>
                    <a:pt x="75" y="333"/>
                    <a:pt x="167" y="333"/>
                  </a:cubicBezTo>
                  <a:cubicBezTo>
                    <a:pt x="259" y="333"/>
                    <a:pt x="334" y="258"/>
                    <a:pt x="334" y="166"/>
                  </a:cubicBezTo>
                  <a:cubicBezTo>
                    <a:pt x="334" y="80"/>
                    <a:pt x="269" y="9"/>
                    <a:pt x="185" y="0"/>
                  </a:cubicBezTo>
                  <a:cubicBezTo>
                    <a:pt x="185" y="0"/>
                    <a:pt x="185" y="0"/>
                    <a:pt x="185" y="0"/>
                  </a:cubicBezTo>
                  <a:cubicBezTo>
                    <a:pt x="185" y="0"/>
                    <a:pt x="184" y="0"/>
                    <a:pt x="184" y="0"/>
                  </a:cubicBezTo>
                  <a:cubicBezTo>
                    <a:pt x="183" y="0"/>
                    <a:pt x="182" y="0"/>
                    <a:pt x="18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dirty="0"/>
            </a:p>
          </p:txBody>
        </p:sp>
      </p:grpSp>
      <p:grpSp>
        <p:nvGrpSpPr>
          <p:cNvPr id="15" name="Group 4">
            <a:extLst>
              <a:ext uri="{FF2B5EF4-FFF2-40B4-BE49-F238E27FC236}">
                <a16:creationId xmlns:a16="http://schemas.microsoft.com/office/drawing/2014/main" id="{03B176FC-37E8-46EC-B831-F606CECDF27A}"/>
              </a:ext>
            </a:extLst>
          </p:cNvPr>
          <p:cNvGrpSpPr>
            <a:grpSpLocks noChangeAspect="1"/>
          </p:cNvGrpSpPr>
          <p:nvPr/>
        </p:nvGrpSpPr>
        <p:grpSpPr bwMode="auto">
          <a:xfrm>
            <a:off x="5155508" y="685816"/>
            <a:ext cx="1880984" cy="458559"/>
            <a:chOff x="2071" y="1578"/>
            <a:chExt cx="2587" cy="631"/>
          </a:xfrm>
          <a:gradFill>
            <a:gsLst>
              <a:gs pos="50000">
                <a:srgbClr val="00E487"/>
              </a:gs>
              <a:gs pos="100000">
                <a:srgbClr val="1ECBD0"/>
              </a:gs>
            </a:gsLst>
            <a:lin ang="18900000" scaled="0"/>
          </a:gradFill>
        </p:grpSpPr>
        <p:sp>
          <p:nvSpPr>
            <p:cNvPr id="16" name="Freeform 5">
              <a:extLst>
                <a:ext uri="{FF2B5EF4-FFF2-40B4-BE49-F238E27FC236}">
                  <a16:creationId xmlns:a16="http://schemas.microsoft.com/office/drawing/2014/main" id="{DC48B03B-48DB-4861-9F98-3122E7B102B1}"/>
                </a:ext>
              </a:extLst>
            </p:cNvPr>
            <p:cNvSpPr>
              <a:spLocks/>
            </p:cNvSpPr>
            <p:nvPr/>
          </p:nvSpPr>
          <p:spPr bwMode="auto">
            <a:xfrm>
              <a:off x="2765" y="1728"/>
              <a:ext cx="244" cy="318"/>
            </a:xfrm>
            <a:custGeom>
              <a:avLst/>
              <a:gdLst>
                <a:gd name="T0" fmla="*/ 12 w 129"/>
                <a:gd name="T1" fmla="*/ 0 h 168"/>
                <a:gd name="T2" fmla="*/ 8 w 129"/>
                <a:gd name="T3" fmla="*/ 4 h 168"/>
                <a:gd name="T4" fmla="*/ 8 w 129"/>
                <a:gd name="T5" fmla="*/ 25 h 168"/>
                <a:gd name="T6" fmla="*/ 12 w 129"/>
                <a:gd name="T7" fmla="*/ 29 h 168"/>
                <a:gd name="T8" fmla="*/ 48 w 129"/>
                <a:gd name="T9" fmla="*/ 29 h 168"/>
                <a:gd name="T10" fmla="*/ 48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2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2" y="0"/>
                  </a:moveTo>
                  <a:cubicBezTo>
                    <a:pt x="9" y="0"/>
                    <a:pt x="8" y="1"/>
                    <a:pt x="8" y="4"/>
                  </a:cubicBezTo>
                  <a:cubicBezTo>
                    <a:pt x="8" y="25"/>
                    <a:pt x="8" y="25"/>
                    <a:pt x="8" y="25"/>
                  </a:cubicBezTo>
                  <a:cubicBezTo>
                    <a:pt x="8" y="27"/>
                    <a:pt x="9" y="29"/>
                    <a:pt x="12" y="29"/>
                  </a:cubicBezTo>
                  <a:cubicBezTo>
                    <a:pt x="48" y="29"/>
                    <a:pt x="48" y="29"/>
                    <a:pt x="48" y="29"/>
                  </a:cubicBezTo>
                  <a:cubicBezTo>
                    <a:pt x="48" y="140"/>
                    <a:pt x="48" y="140"/>
                    <a:pt x="48"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8" y="140"/>
                    <a:pt x="125" y="140"/>
                  </a:cubicBezTo>
                  <a:cubicBezTo>
                    <a:pt x="76" y="140"/>
                    <a:pt x="76" y="140"/>
                    <a:pt x="76" y="140"/>
                  </a:cubicBezTo>
                  <a:cubicBezTo>
                    <a:pt x="76" y="4"/>
                    <a:pt x="76" y="4"/>
                    <a:pt x="76" y="4"/>
                  </a:cubicBezTo>
                  <a:cubicBezTo>
                    <a:pt x="76" y="1"/>
                    <a:pt x="75" y="0"/>
                    <a:pt x="72" y="0"/>
                  </a:cubicBez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a:p>
          </p:txBody>
        </p:sp>
        <p:sp>
          <p:nvSpPr>
            <p:cNvPr id="17" name="Freeform 6">
              <a:extLst>
                <a:ext uri="{FF2B5EF4-FFF2-40B4-BE49-F238E27FC236}">
                  <a16:creationId xmlns:a16="http://schemas.microsoft.com/office/drawing/2014/main" id="{BB971D48-19A9-43A4-B411-F0401322B591}"/>
                </a:ext>
              </a:extLst>
            </p:cNvPr>
            <p:cNvSpPr>
              <a:spLocks/>
            </p:cNvSpPr>
            <p:nvPr/>
          </p:nvSpPr>
          <p:spPr bwMode="auto">
            <a:xfrm>
              <a:off x="3798" y="1728"/>
              <a:ext cx="244" cy="318"/>
            </a:xfrm>
            <a:custGeom>
              <a:avLst/>
              <a:gdLst>
                <a:gd name="T0" fmla="*/ 11 w 129"/>
                <a:gd name="T1" fmla="*/ 0 h 168"/>
                <a:gd name="T2" fmla="*/ 8 w 129"/>
                <a:gd name="T3" fmla="*/ 4 h 168"/>
                <a:gd name="T4" fmla="*/ 8 w 129"/>
                <a:gd name="T5" fmla="*/ 25 h 168"/>
                <a:gd name="T6" fmla="*/ 11 w 129"/>
                <a:gd name="T7" fmla="*/ 29 h 168"/>
                <a:gd name="T8" fmla="*/ 47 w 129"/>
                <a:gd name="T9" fmla="*/ 29 h 168"/>
                <a:gd name="T10" fmla="*/ 47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1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1" y="0"/>
                  </a:moveTo>
                  <a:cubicBezTo>
                    <a:pt x="9" y="0"/>
                    <a:pt x="8" y="1"/>
                    <a:pt x="8" y="4"/>
                  </a:cubicBezTo>
                  <a:cubicBezTo>
                    <a:pt x="8" y="25"/>
                    <a:pt x="8" y="25"/>
                    <a:pt x="8" y="25"/>
                  </a:cubicBezTo>
                  <a:cubicBezTo>
                    <a:pt x="8" y="27"/>
                    <a:pt x="9" y="29"/>
                    <a:pt x="11" y="29"/>
                  </a:cubicBezTo>
                  <a:cubicBezTo>
                    <a:pt x="47" y="29"/>
                    <a:pt x="47" y="29"/>
                    <a:pt x="47" y="29"/>
                  </a:cubicBezTo>
                  <a:cubicBezTo>
                    <a:pt x="47" y="140"/>
                    <a:pt x="47" y="140"/>
                    <a:pt x="47"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7" y="140"/>
                    <a:pt x="125" y="140"/>
                  </a:cubicBezTo>
                  <a:cubicBezTo>
                    <a:pt x="76" y="140"/>
                    <a:pt x="76" y="140"/>
                    <a:pt x="76" y="140"/>
                  </a:cubicBezTo>
                  <a:cubicBezTo>
                    <a:pt x="76" y="4"/>
                    <a:pt x="76" y="4"/>
                    <a:pt x="76" y="4"/>
                  </a:cubicBezTo>
                  <a:cubicBezTo>
                    <a:pt x="75" y="1"/>
                    <a:pt x="74" y="0"/>
                    <a:pt x="72" y="0"/>
                  </a:cubicBez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a:p>
          </p:txBody>
        </p:sp>
        <p:sp>
          <p:nvSpPr>
            <p:cNvPr id="29" name="Freeform 7">
              <a:extLst>
                <a:ext uri="{FF2B5EF4-FFF2-40B4-BE49-F238E27FC236}">
                  <a16:creationId xmlns:a16="http://schemas.microsoft.com/office/drawing/2014/main" id="{9B44A808-A27F-4F27-A0F0-5FDF18F35554}"/>
                </a:ext>
              </a:extLst>
            </p:cNvPr>
            <p:cNvSpPr>
              <a:spLocks/>
            </p:cNvSpPr>
            <p:nvPr/>
          </p:nvSpPr>
          <p:spPr bwMode="auto">
            <a:xfrm>
              <a:off x="4361" y="1728"/>
              <a:ext cx="297" cy="464"/>
            </a:xfrm>
            <a:custGeom>
              <a:avLst/>
              <a:gdLst>
                <a:gd name="T0" fmla="*/ 132 w 157"/>
                <a:gd name="T1" fmla="*/ 0 h 245"/>
                <a:gd name="T2" fmla="*/ 127 w 157"/>
                <a:gd name="T3" fmla="*/ 3 h 245"/>
                <a:gd name="T4" fmla="*/ 127 w 157"/>
                <a:gd name="T5" fmla="*/ 3 h 245"/>
                <a:gd name="T6" fmla="*/ 79 w 157"/>
                <a:gd name="T7" fmla="*/ 128 h 245"/>
                <a:gd name="T8" fmla="*/ 30 w 157"/>
                <a:gd name="T9" fmla="*/ 4 h 245"/>
                <a:gd name="T10" fmla="*/ 25 w 157"/>
                <a:gd name="T11" fmla="*/ 0 h 245"/>
                <a:gd name="T12" fmla="*/ 4 w 157"/>
                <a:gd name="T13" fmla="*/ 0 h 245"/>
                <a:gd name="T14" fmla="*/ 0 w 157"/>
                <a:gd name="T15" fmla="*/ 3 h 245"/>
                <a:gd name="T16" fmla="*/ 1 w 157"/>
                <a:gd name="T17" fmla="*/ 6 h 245"/>
                <a:gd name="T18" fmla="*/ 1 w 157"/>
                <a:gd name="T19" fmla="*/ 6 h 245"/>
                <a:gd name="T20" fmla="*/ 1 w 157"/>
                <a:gd name="T21" fmla="*/ 6 h 245"/>
                <a:gd name="T22" fmla="*/ 64 w 157"/>
                <a:gd name="T23" fmla="*/ 168 h 245"/>
                <a:gd name="T24" fmla="*/ 59 w 157"/>
                <a:gd name="T25" fmla="*/ 182 h 245"/>
                <a:gd name="T26" fmla="*/ 48 w 157"/>
                <a:gd name="T27" fmla="*/ 205 h 245"/>
                <a:gd name="T28" fmla="*/ 38 w 157"/>
                <a:gd name="T29" fmla="*/ 215 h 245"/>
                <a:gd name="T30" fmla="*/ 30 w 157"/>
                <a:gd name="T31" fmla="*/ 217 h 245"/>
                <a:gd name="T32" fmla="*/ 26 w 157"/>
                <a:gd name="T33" fmla="*/ 216 h 245"/>
                <a:gd name="T34" fmla="*/ 14 w 157"/>
                <a:gd name="T35" fmla="*/ 213 h 245"/>
                <a:gd name="T36" fmla="*/ 7 w 157"/>
                <a:gd name="T37" fmla="*/ 210 h 245"/>
                <a:gd name="T38" fmla="*/ 3 w 157"/>
                <a:gd name="T39" fmla="*/ 215 h 245"/>
                <a:gd name="T40" fmla="*/ 3 w 157"/>
                <a:gd name="T41" fmla="*/ 233 h 245"/>
                <a:gd name="T42" fmla="*/ 3 w 157"/>
                <a:gd name="T43" fmla="*/ 233 h 245"/>
                <a:gd name="T44" fmla="*/ 7 w 157"/>
                <a:gd name="T45" fmla="*/ 240 h 245"/>
                <a:gd name="T46" fmla="*/ 32 w 157"/>
                <a:gd name="T47" fmla="*/ 245 h 245"/>
                <a:gd name="T48" fmla="*/ 54 w 157"/>
                <a:gd name="T49" fmla="*/ 238 h 245"/>
                <a:gd name="T50" fmla="*/ 73 w 157"/>
                <a:gd name="T51" fmla="*/ 220 h 245"/>
                <a:gd name="T52" fmla="*/ 79 w 157"/>
                <a:gd name="T53" fmla="*/ 208 h 245"/>
                <a:gd name="T54" fmla="*/ 156 w 157"/>
                <a:gd name="T55" fmla="*/ 6 h 245"/>
                <a:gd name="T56" fmla="*/ 157 w 157"/>
                <a:gd name="T57" fmla="*/ 3 h 245"/>
                <a:gd name="T58" fmla="*/ 153 w 157"/>
                <a:gd name="T59" fmla="*/ 0 h 245"/>
                <a:gd name="T60" fmla="*/ 132 w 157"/>
                <a:gd name="T6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7" h="245">
                  <a:moveTo>
                    <a:pt x="132" y="0"/>
                  </a:moveTo>
                  <a:cubicBezTo>
                    <a:pt x="129" y="0"/>
                    <a:pt x="128" y="1"/>
                    <a:pt x="127" y="3"/>
                  </a:cubicBezTo>
                  <a:cubicBezTo>
                    <a:pt x="127" y="3"/>
                    <a:pt x="127" y="3"/>
                    <a:pt x="127" y="3"/>
                  </a:cubicBezTo>
                  <a:cubicBezTo>
                    <a:pt x="79" y="128"/>
                    <a:pt x="79" y="128"/>
                    <a:pt x="79" y="128"/>
                  </a:cubicBezTo>
                  <a:cubicBezTo>
                    <a:pt x="30" y="4"/>
                    <a:pt x="30" y="4"/>
                    <a:pt x="30" y="4"/>
                  </a:cubicBezTo>
                  <a:cubicBezTo>
                    <a:pt x="29" y="1"/>
                    <a:pt x="28" y="0"/>
                    <a:pt x="25" y="0"/>
                  </a:cubicBezTo>
                  <a:cubicBezTo>
                    <a:pt x="4" y="0"/>
                    <a:pt x="4" y="0"/>
                    <a:pt x="4" y="0"/>
                  </a:cubicBezTo>
                  <a:cubicBezTo>
                    <a:pt x="2" y="0"/>
                    <a:pt x="0" y="1"/>
                    <a:pt x="0" y="3"/>
                  </a:cubicBezTo>
                  <a:cubicBezTo>
                    <a:pt x="0" y="4"/>
                    <a:pt x="1" y="5"/>
                    <a:pt x="1" y="6"/>
                  </a:cubicBezTo>
                  <a:cubicBezTo>
                    <a:pt x="1" y="6"/>
                    <a:pt x="1" y="6"/>
                    <a:pt x="1" y="6"/>
                  </a:cubicBezTo>
                  <a:cubicBezTo>
                    <a:pt x="1" y="6"/>
                    <a:pt x="1" y="6"/>
                    <a:pt x="1" y="6"/>
                  </a:cubicBezTo>
                  <a:cubicBezTo>
                    <a:pt x="64" y="168"/>
                    <a:pt x="64" y="168"/>
                    <a:pt x="64" y="168"/>
                  </a:cubicBezTo>
                  <a:cubicBezTo>
                    <a:pt x="59" y="182"/>
                    <a:pt x="59" y="182"/>
                    <a:pt x="59" y="182"/>
                  </a:cubicBezTo>
                  <a:cubicBezTo>
                    <a:pt x="57" y="187"/>
                    <a:pt x="53" y="199"/>
                    <a:pt x="48" y="205"/>
                  </a:cubicBezTo>
                  <a:cubicBezTo>
                    <a:pt x="44" y="211"/>
                    <a:pt x="42" y="213"/>
                    <a:pt x="38" y="215"/>
                  </a:cubicBezTo>
                  <a:cubicBezTo>
                    <a:pt x="35" y="216"/>
                    <a:pt x="33" y="217"/>
                    <a:pt x="30" y="217"/>
                  </a:cubicBezTo>
                  <a:cubicBezTo>
                    <a:pt x="28" y="217"/>
                    <a:pt x="27" y="217"/>
                    <a:pt x="26" y="216"/>
                  </a:cubicBezTo>
                  <a:cubicBezTo>
                    <a:pt x="22" y="216"/>
                    <a:pt x="18" y="214"/>
                    <a:pt x="14" y="213"/>
                  </a:cubicBezTo>
                  <a:cubicBezTo>
                    <a:pt x="11" y="212"/>
                    <a:pt x="9" y="210"/>
                    <a:pt x="7" y="210"/>
                  </a:cubicBezTo>
                  <a:cubicBezTo>
                    <a:pt x="5" y="210"/>
                    <a:pt x="3" y="212"/>
                    <a:pt x="3" y="215"/>
                  </a:cubicBezTo>
                  <a:cubicBezTo>
                    <a:pt x="3" y="233"/>
                    <a:pt x="3" y="233"/>
                    <a:pt x="3" y="233"/>
                  </a:cubicBezTo>
                  <a:cubicBezTo>
                    <a:pt x="3" y="233"/>
                    <a:pt x="3" y="233"/>
                    <a:pt x="3" y="233"/>
                  </a:cubicBezTo>
                  <a:cubicBezTo>
                    <a:pt x="3" y="236"/>
                    <a:pt x="4" y="238"/>
                    <a:pt x="7" y="240"/>
                  </a:cubicBezTo>
                  <a:cubicBezTo>
                    <a:pt x="15" y="243"/>
                    <a:pt x="21" y="245"/>
                    <a:pt x="32" y="245"/>
                  </a:cubicBezTo>
                  <a:cubicBezTo>
                    <a:pt x="41" y="244"/>
                    <a:pt x="47" y="242"/>
                    <a:pt x="54" y="238"/>
                  </a:cubicBezTo>
                  <a:cubicBezTo>
                    <a:pt x="61" y="233"/>
                    <a:pt x="67" y="227"/>
                    <a:pt x="73" y="220"/>
                  </a:cubicBezTo>
                  <a:cubicBezTo>
                    <a:pt x="75" y="216"/>
                    <a:pt x="77" y="212"/>
                    <a:pt x="79" y="208"/>
                  </a:cubicBezTo>
                  <a:cubicBezTo>
                    <a:pt x="83" y="200"/>
                    <a:pt x="144" y="40"/>
                    <a:pt x="156" y="6"/>
                  </a:cubicBezTo>
                  <a:cubicBezTo>
                    <a:pt x="157" y="5"/>
                    <a:pt x="157" y="4"/>
                    <a:pt x="157" y="3"/>
                  </a:cubicBezTo>
                  <a:cubicBezTo>
                    <a:pt x="157" y="1"/>
                    <a:pt x="155" y="0"/>
                    <a:pt x="153" y="0"/>
                  </a:cubicBezTo>
                  <a:lnTo>
                    <a:pt x="1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a:p>
          </p:txBody>
        </p:sp>
        <p:sp>
          <p:nvSpPr>
            <p:cNvPr id="30" name="Freeform 8">
              <a:extLst>
                <a:ext uri="{FF2B5EF4-FFF2-40B4-BE49-F238E27FC236}">
                  <a16:creationId xmlns:a16="http://schemas.microsoft.com/office/drawing/2014/main" id="{C5FFA418-22A7-4977-88DE-BF0C6FC4251A}"/>
                </a:ext>
              </a:extLst>
            </p:cNvPr>
            <p:cNvSpPr>
              <a:spLocks/>
            </p:cNvSpPr>
            <p:nvPr/>
          </p:nvSpPr>
          <p:spPr bwMode="auto">
            <a:xfrm>
              <a:off x="3457" y="1726"/>
              <a:ext cx="263" cy="322"/>
            </a:xfrm>
            <a:custGeom>
              <a:avLst/>
              <a:gdLst>
                <a:gd name="T0" fmla="*/ 28 w 139"/>
                <a:gd name="T1" fmla="*/ 21 h 170"/>
                <a:gd name="T2" fmla="*/ 28 w 139"/>
                <a:gd name="T3" fmla="*/ 6 h 170"/>
                <a:gd name="T4" fmla="*/ 25 w 139"/>
                <a:gd name="T5" fmla="*/ 3 h 170"/>
                <a:gd name="T6" fmla="*/ 4 w 139"/>
                <a:gd name="T7" fmla="*/ 3 h 170"/>
                <a:gd name="T8" fmla="*/ 0 w 139"/>
                <a:gd name="T9" fmla="*/ 6 h 170"/>
                <a:gd name="T10" fmla="*/ 0 w 139"/>
                <a:gd name="T11" fmla="*/ 167 h 170"/>
                <a:gd name="T12" fmla="*/ 4 w 139"/>
                <a:gd name="T13" fmla="*/ 170 h 170"/>
                <a:gd name="T14" fmla="*/ 25 w 139"/>
                <a:gd name="T15" fmla="*/ 170 h 170"/>
                <a:gd name="T16" fmla="*/ 28 w 139"/>
                <a:gd name="T17" fmla="*/ 167 h 170"/>
                <a:gd name="T18" fmla="*/ 28 w 139"/>
                <a:gd name="T19" fmla="*/ 68 h 170"/>
                <a:gd name="T20" fmla="*/ 70 w 139"/>
                <a:gd name="T21" fmla="*/ 28 h 170"/>
                <a:gd name="T22" fmla="*/ 111 w 139"/>
                <a:gd name="T23" fmla="*/ 68 h 170"/>
                <a:gd name="T24" fmla="*/ 111 w 139"/>
                <a:gd name="T25" fmla="*/ 167 h 170"/>
                <a:gd name="T26" fmla="*/ 111 w 139"/>
                <a:gd name="T27" fmla="*/ 167 h 170"/>
                <a:gd name="T28" fmla="*/ 114 w 139"/>
                <a:gd name="T29" fmla="*/ 170 h 170"/>
                <a:gd name="T30" fmla="*/ 136 w 139"/>
                <a:gd name="T31" fmla="*/ 170 h 170"/>
                <a:gd name="T32" fmla="*/ 139 w 139"/>
                <a:gd name="T33" fmla="*/ 167 h 170"/>
                <a:gd name="T34" fmla="*/ 139 w 139"/>
                <a:gd name="T35" fmla="*/ 68 h 170"/>
                <a:gd name="T36" fmla="*/ 139 w 139"/>
                <a:gd name="T37" fmla="*/ 68 h 170"/>
                <a:gd name="T38" fmla="*/ 139 w 139"/>
                <a:gd name="T39" fmla="*/ 68 h 170"/>
                <a:gd name="T40" fmla="*/ 120 w 139"/>
                <a:gd name="T41" fmla="*/ 20 h 170"/>
                <a:gd name="T42" fmla="*/ 70 w 139"/>
                <a:gd name="T43" fmla="*/ 0 h 170"/>
                <a:gd name="T44" fmla="*/ 28 w 139"/>
                <a:gd name="T45" fmla="*/ 2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170">
                  <a:moveTo>
                    <a:pt x="28" y="21"/>
                  </a:moveTo>
                  <a:cubicBezTo>
                    <a:pt x="28" y="6"/>
                    <a:pt x="28" y="6"/>
                    <a:pt x="28" y="6"/>
                  </a:cubicBezTo>
                  <a:cubicBezTo>
                    <a:pt x="28" y="4"/>
                    <a:pt x="27" y="3"/>
                    <a:pt x="25" y="3"/>
                  </a:cubicBezTo>
                  <a:cubicBezTo>
                    <a:pt x="4" y="3"/>
                    <a:pt x="4" y="3"/>
                    <a:pt x="4" y="3"/>
                  </a:cubicBezTo>
                  <a:cubicBezTo>
                    <a:pt x="1" y="3"/>
                    <a:pt x="0" y="4"/>
                    <a:pt x="0" y="6"/>
                  </a:cubicBezTo>
                  <a:cubicBezTo>
                    <a:pt x="0" y="167"/>
                    <a:pt x="0" y="167"/>
                    <a:pt x="0" y="167"/>
                  </a:cubicBezTo>
                  <a:cubicBezTo>
                    <a:pt x="0" y="169"/>
                    <a:pt x="1" y="170"/>
                    <a:pt x="4" y="170"/>
                  </a:cubicBezTo>
                  <a:cubicBezTo>
                    <a:pt x="25" y="170"/>
                    <a:pt x="25" y="170"/>
                    <a:pt x="25" y="170"/>
                  </a:cubicBezTo>
                  <a:cubicBezTo>
                    <a:pt x="27" y="170"/>
                    <a:pt x="28" y="169"/>
                    <a:pt x="28" y="167"/>
                  </a:cubicBezTo>
                  <a:cubicBezTo>
                    <a:pt x="28" y="68"/>
                    <a:pt x="28" y="68"/>
                    <a:pt x="28" y="68"/>
                  </a:cubicBezTo>
                  <a:cubicBezTo>
                    <a:pt x="28" y="49"/>
                    <a:pt x="42" y="28"/>
                    <a:pt x="70" y="28"/>
                  </a:cubicBezTo>
                  <a:cubicBezTo>
                    <a:pt x="97" y="28"/>
                    <a:pt x="111" y="49"/>
                    <a:pt x="111" y="68"/>
                  </a:cubicBezTo>
                  <a:cubicBezTo>
                    <a:pt x="111" y="167"/>
                    <a:pt x="111" y="167"/>
                    <a:pt x="111" y="167"/>
                  </a:cubicBezTo>
                  <a:cubicBezTo>
                    <a:pt x="111" y="167"/>
                    <a:pt x="111" y="167"/>
                    <a:pt x="111" y="167"/>
                  </a:cubicBezTo>
                  <a:cubicBezTo>
                    <a:pt x="111" y="169"/>
                    <a:pt x="112" y="170"/>
                    <a:pt x="114" y="170"/>
                  </a:cubicBezTo>
                  <a:cubicBezTo>
                    <a:pt x="136" y="170"/>
                    <a:pt x="136" y="170"/>
                    <a:pt x="136" y="170"/>
                  </a:cubicBezTo>
                  <a:cubicBezTo>
                    <a:pt x="138" y="170"/>
                    <a:pt x="139" y="169"/>
                    <a:pt x="139" y="167"/>
                  </a:cubicBezTo>
                  <a:cubicBezTo>
                    <a:pt x="139" y="68"/>
                    <a:pt x="139" y="68"/>
                    <a:pt x="139" y="68"/>
                  </a:cubicBezTo>
                  <a:cubicBezTo>
                    <a:pt x="139" y="68"/>
                    <a:pt x="139" y="68"/>
                    <a:pt x="139" y="68"/>
                  </a:cubicBezTo>
                  <a:cubicBezTo>
                    <a:pt x="139" y="68"/>
                    <a:pt x="139" y="68"/>
                    <a:pt x="139" y="68"/>
                  </a:cubicBezTo>
                  <a:cubicBezTo>
                    <a:pt x="139" y="51"/>
                    <a:pt x="133" y="35"/>
                    <a:pt x="120" y="20"/>
                  </a:cubicBezTo>
                  <a:cubicBezTo>
                    <a:pt x="109" y="7"/>
                    <a:pt x="88" y="0"/>
                    <a:pt x="70" y="0"/>
                  </a:cubicBezTo>
                  <a:cubicBezTo>
                    <a:pt x="41" y="0"/>
                    <a:pt x="28" y="21"/>
                    <a:pt x="28"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a:p>
          </p:txBody>
        </p:sp>
        <p:sp>
          <p:nvSpPr>
            <p:cNvPr id="31" name="Freeform 9">
              <a:extLst>
                <a:ext uri="{FF2B5EF4-FFF2-40B4-BE49-F238E27FC236}">
                  <a16:creationId xmlns:a16="http://schemas.microsoft.com/office/drawing/2014/main" id="{7FE63D8C-F648-46C6-9BE7-798BBB53B957}"/>
                </a:ext>
              </a:extLst>
            </p:cNvPr>
            <p:cNvSpPr>
              <a:spLocks/>
            </p:cNvSpPr>
            <p:nvPr/>
          </p:nvSpPr>
          <p:spPr bwMode="auto">
            <a:xfrm>
              <a:off x="2264" y="1724"/>
              <a:ext cx="246" cy="328"/>
            </a:xfrm>
            <a:custGeom>
              <a:avLst/>
              <a:gdLst>
                <a:gd name="T0" fmla="*/ 4 w 130"/>
                <a:gd name="T1" fmla="*/ 48 h 173"/>
                <a:gd name="T2" fmla="*/ 56 w 130"/>
                <a:gd name="T3" fmla="*/ 97 h 173"/>
                <a:gd name="T4" fmla="*/ 57 w 130"/>
                <a:gd name="T5" fmla="*/ 98 h 173"/>
                <a:gd name="T6" fmla="*/ 101 w 130"/>
                <a:gd name="T7" fmla="*/ 124 h 173"/>
                <a:gd name="T8" fmla="*/ 66 w 130"/>
                <a:gd name="T9" fmla="*/ 146 h 173"/>
                <a:gd name="T10" fmla="*/ 30 w 130"/>
                <a:gd name="T11" fmla="*/ 118 h 173"/>
                <a:gd name="T12" fmla="*/ 26 w 130"/>
                <a:gd name="T13" fmla="*/ 114 h 173"/>
                <a:gd name="T14" fmla="*/ 5 w 130"/>
                <a:gd name="T15" fmla="*/ 114 h 173"/>
                <a:gd name="T16" fmla="*/ 0 w 130"/>
                <a:gd name="T17" fmla="*/ 118 h 173"/>
                <a:gd name="T18" fmla="*/ 65 w 130"/>
                <a:gd name="T19" fmla="*/ 173 h 173"/>
                <a:gd name="T20" fmla="*/ 130 w 130"/>
                <a:gd name="T21" fmla="*/ 120 h 173"/>
                <a:gd name="T22" fmla="*/ 72 w 130"/>
                <a:gd name="T23" fmla="*/ 74 h 173"/>
                <a:gd name="T24" fmla="*/ 32 w 130"/>
                <a:gd name="T25" fmla="*/ 48 h 173"/>
                <a:gd name="T26" fmla="*/ 63 w 130"/>
                <a:gd name="T27" fmla="*/ 27 h 173"/>
                <a:gd name="T28" fmla="*/ 97 w 130"/>
                <a:gd name="T29" fmla="*/ 49 h 173"/>
                <a:gd name="T30" fmla="*/ 102 w 130"/>
                <a:gd name="T31" fmla="*/ 53 h 173"/>
                <a:gd name="T32" fmla="*/ 120 w 130"/>
                <a:gd name="T33" fmla="*/ 53 h 173"/>
                <a:gd name="T34" fmla="*/ 125 w 130"/>
                <a:gd name="T35" fmla="*/ 48 h 173"/>
                <a:gd name="T36" fmla="*/ 63 w 130"/>
                <a:gd name="T37" fmla="*/ 0 h 173"/>
                <a:gd name="T38" fmla="*/ 4 w 130"/>
                <a:gd name="T39" fmla="*/ 4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173">
                  <a:moveTo>
                    <a:pt x="4" y="48"/>
                  </a:moveTo>
                  <a:cubicBezTo>
                    <a:pt x="4" y="77"/>
                    <a:pt x="19" y="91"/>
                    <a:pt x="56" y="97"/>
                  </a:cubicBezTo>
                  <a:cubicBezTo>
                    <a:pt x="57" y="98"/>
                    <a:pt x="57" y="98"/>
                    <a:pt x="57" y="98"/>
                  </a:cubicBezTo>
                  <a:cubicBezTo>
                    <a:pt x="83" y="102"/>
                    <a:pt x="101" y="105"/>
                    <a:pt x="101" y="124"/>
                  </a:cubicBezTo>
                  <a:cubicBezTo>
                    <a:pt x="101" y="139"/>
                    <a:pt x="83" y="146"/>
                    <a:pt x="66" y="146"/>
                  </a:cubicBezTo>
                  <a:cubicBezTo>
                    <a:pt x="46" y="146"/>
                    <a:pt x="33" y="136"/>
                    <a:pt x="30" y="118"/>
                  </a:cubicBezTo>
                  <a:cubicBezTo>
                    <a:pt x="30" y="116"/>
                    <a:pt x="29" y="114"/>
                    <a:pt x="26" y="114"/>
                  </a:cubicBezTo>
                  <a:cubicBezTo>
                    <a:pt x="5" y="114"/>
                    <a:pt x="5" y="114"/>
                    <a:pt x="5" y="114"/>
                  </a:cubicBezTo>
                  <a:cubicBezTo>
                    <a:pt x="2" y="114"/>
                    <a:pt x="0" y="116"/>
                    <a:pt x="0" y="118"/>
                  </a:cubicBezTo>
                  <a:cubicBezTo>
                    <a:pt x="0" y="150"/>
                    <a:pt x="27" y="173"/>
                    <a:pt x="65" y="173"/>
                  </a:cubicBezTo>
                  <a:cubicBezTo>
                    <a:pt x="104" y="173"/>
                    <a:pt x="130" y="151"/>
                    <a:pt x="130" y="120"/>
                  </a:cubicBezTo>
                  <a:cubicBezTo>
                    <a:pt x="130" y="86"/>
                    <a:pt x="100" y="79"/>
                    <a:pt x="72" y="74"/>
                  </a:cubicBezTo>
                  <a:cubicBezTo>
                    <a:pt x="37" y="68"/>
                    <a:pt x="32" y="58"/>
                    <a:pt x="32" y="48"/>
                  </a:cubicBezTo>
                  <a:cubicBezTo>
                    <a:pt x="32" y="32"/>
                    <a:pt x="49" y="27"/>
                    <a:pt x="63" y="27"/>
                  </a:cubicBezTo>
                  <a:cubicBezTo>
                    <a:pt x="82" y="27"/>
                    <a:pt x="94" y="34"/>
                    <a:pt x="97" y="49"/>
                  </a:cubicBezTo>
                  <a:cubicBezTo>
                    <a:pt x="98" y="51"/>
                    <a:pt x="98" y="53"/>
                    <a:pt x="102" y="53"/>
                  </a:cubicBezTo>
                  <a:cubicBezTo>
                    <a:pt x="120" y="53"/>
                    <a:pt x="120" y="53"/>
                    <a:pt x="120" y="53"/>
                  </a:cubicBezTo>
                  <a:cubicBezTo>
                    <a:pt x="123" y="53"/>
                    <a:pt x="125" y="51"/>
                    <a:pt x="125" y="48"/>
                  </a:cubicBezTo>
                  <a:cubicBezTo>
                    <a:pt x="125" y="19"/>
                    <a:pt x="100" y="0"/>
                    <a:pt x="63" y="0"/>
                  </a:cubicBezTo>
                  <a:cubicBezTo>
                    <a:pt x="22" y="0"/>
                    <a:pt x="4" y="25"/>
                    <a:pt x="4" y="4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a:p>
          </p:txBody>
        </p:sp>
        <p:sp>
          <p:nvSpPr>
            <p:cNvPr id="32" name="Freeform 10">
              <a:extLst>
                <a:ext uri="{FF2B5EF4-FFF2-40B4-BE49-F238E27FC236}">
                  <a16:creationId xmlns:a16="http://schemas.microsoft.com/office/drawing/2014/main" id="{1E5D93A5-ED85-41B0-8D0D-9D766642C867}"/>
                </a:ext>
              </a:extLst>
            </p:cNvPr>
            <p:cNvSpPr>
              <a:spLocks/>
            </p:cNvSpPr>
            <p:nvPr/>
          </p:nvSpPr>
          <p:spPr bwMode="auto">
            <a:xfrm>
              <a:off x="3062" y="1722"/>
              <a:ext cx="312" cy="474"/>
            </a:xfrm>
            <a:custGeom>
              <a:avLst/>
              <a:gdLst>
                <a:gd name="T0" fmla="*/ 67 w 165"/>
                <a:gd name="T1" fmla="*/ 0 h 250"/>
                <a:gd name="T2" fmla="*/ 0 w 165"/>
                <a:gd name="T3" fmla="*/ 86 h 250"/>
                <a:gd name="T4" fmla="*/ 82 w 165"/>
                <a:gd name="T5" fmla="*/ 174 h 250"/>
                <a:gd name="T6" fmla="*/ 137 w 165"/>
                <a:gd name="T7" fmla="*/ 152 h 250"/>
                <a:gd name="T8" fmla="*/ 137 w 165"/>
                <a:gd name="T9" fmla="*/ 173 h 250"/>
                <a:gd name="T10" fmla="*/ 89 w 165"/>
                <a:gd name="T11" fmla="*/ 222 h 250"/>
                <a:gd name="T12" fmla="*/ 48 w 165"/>
                <a:gd name="T13" fmla="*/ 194 h 250"/>
                <a:gd name="T14" fmla="*/ 43 w 165"/>
                <a:gd name="T15" fmla="*/ 190 h 250"/>
                <a:gd name="T16" fmla="*/ 24 w 165"/>
                <a:gd name="T17" fmla="*/ 190 h 250"/>
                <a:gd name="T18" fmla="*/ 19 w 165"/>
                <a:gd name="T19" fmla="*/ 195 h 250"/>
                <a:gd name="T20" fmla="*/ 89 w 165"/>
                <a:gd name="T21" fmla="*/ 250 h 250"/>
                <a:gd name="T22" fmla="*/ 165 w 165"/>
                <a:gd name="T23" fmla="*/ 174 h 250"/>
                <a:gd name="T24" fmla="*/ 165 w 165"/>
                <a:gd name="T25" fmla="*/ 7 h 250"/>
                <a:gd name="T26" fmla="*/ 162 w 165"/>
                <a:gd name="T27" fmla="*/ 4 h 250"/>
                <a:gd name="T28" fmla="*/ 140 w 165"/>
                <a:gd name="T29" fmla="*/ 4 h 250"/>
                <a:gd name="T30" fmla="*/ 137 w 165"/>
                <a:gd name="T31" fmla="*/ 7 h 250"/>
                <a:gd name="T32" fmla="*/ 137 w 165"/>
                <a:gd name="T33" fmla="*/ 21 h 250"/>
                <a:gd name="T34" fmla="*/ 99 w 165"/>
                <a:gd name="T35" fmla="*/ 0 h 250"/>
                <a:gd name="T36" fmla="*/ 96 w 165"/>
                <a:gd name="T37" fmla="*/ 3 h 250"/>
                <a:gd name="T38" fmla="*/ 96 w 165"/>
                <a:gd name="T39" fmla="*/ 28 h 250"/>
                <a:gd name="T40" fmla="*/ 97 w 165"/>
                <a:gd name="T41" fmla="*/ 31 h 250"/>
                <a:gd name="T42" fmla="*/ 138 w 165"/>
                <a:gd name="T43" fmla="*/ 87 h 250"/>
                <a:gd name="T44" fmla="*/ 83 w 165"/>
                <a:gd name="T45" fmla="*/ 146 h 250"/>
                <a:gd name="T46" fmla="*/ 29 w 165"/>
                <a:gd name="T47" fmla="*/ 87 h 250"/>
                <a:gd name="T48" fmla="*/ 68 w 165"/>
                <a:gd name="T49" fmla="*/ 31 h 250"/>
                <a:gd name="T50" fmla="*/ 70 w 165"/>
                <a:gd name="T51" fmla="*/ 29 h 250"/>
                <a:gd name="T52" fmla="*/ 70 w 165"/>
                <a:gd name="T53" fmla="*/ 3 h 250"/>
                <a:gd name="T54" fmla="*/ 67 w 165"/>
                <a:gd name="T55" fmla="*/ 0 h 250"/>
                <a:gd name="T56" fmla="*/ 67 w 165"/>
                <a:gd name="T57"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5" h="250">
                  <a:moveTo>
                    <a:pt x="67" y="0"/>
                  </a:moveTo>
                  <a:cubicBezTo>
                    <a:pt x="29" y="8"/>
                    <a:pt x="0" y="44"/>
                    <a:pt x="0" y="86"/>
                  </a:cubicBezTo>
                  <a:cubicBezTo>
                    <a:pt x="0" y="135"/>
                    <a:pt x="37" y="174"/>
                    <a:pt x="82" y="174"/>
                  </a:cubicBezTo>
                  <a:cubicBezTo>
                    <a:pt x="103" y="174"/>
                    <a:pt x="122" y="166"/>
                    <a:pt x="137" y="152"/>
                  </a:cubicBezTo>
                  <a:cubicBezTo>
                    <a:pt x="137" y="173"/>
                    <a:pt x="137" y="173"/>
                    <a:pt x="137" y="173"/>
                  </a:cubicBezTo>
                  <a:cubicBezTo>
                    <a:pt x="137" y="205"/>
                    <a:pt x="120" y="222"/>
                    <a:pt x="89" y="222"/>
                  </a:cubicBezTo>
                  <a:cubicBezTo>
                    <a:pt x="66" y="222"/>
                    <a:pt x="52" y="213"/>
                    <a:pt x="48" y="194"/>
                  </a:cubicBezTo>
                  <a:cubicBezTo>
                    <a:pt x="47" y="192"/>
                    <a:pt x="46" y="190"/>
                    <a:pt x="43" y="190"/>
                  </a:cubicBezTo>
                  <a:cubicBezTo>
                    <a:pt x="24" y="190"/>
                    <a:pt x="24" y="190"/>
                    <a:pt x="24" y="190"/>
                  </a:cubicBezTo>
                  <a:cubicBezTo>
                    <a:pt x="21" y="190"/>
                    <a:pt x="19" y="192"/>
                    <a:pt x="19" y="195"/>
                  </a:cubicBezTo>
                  <a:cubicBezTo>
                    <a:pt x="22" y="228"/>
                    <a:pt x="51" y="250"/>
                    <a:pt x="89" y="250"/>
                  </a:cubicBezTo>
                  <a:cubicBezTo>
                    <a:pt x="135" y="250"/>
                    <a:pt x="165" y="219"/>
                    <a:pt x="165" y="174"/>
                  </a:cubicBezTo>
                  <a:cubicBezTo>
                    <a:pt x="165" y="7"/>
                    <a:pt x="165" y="7"/>
                    <a:pt x="165" y="7"/>
                  </a:cubicBezTo>
                  <a:cubicBezTo>
                    <a:pt x="165" y="5"/>
                    <a:pt x="164" y="4"/>
                    <a:pt x="162" y="4"/>
                  </a:cubicBezTo>
                  <a:cubicBezTo>
                    <a:pt x="140" y="4"/>
                    <a:pt x="140" y="4"/>
                    <a:pt x="140" y="4"/>
                  </a:cubicBezTo>
                  <a:cubicBezTo>
                    <a:pt x="138" y="4"/>
                    <a:pt x="137" y="5"/>
                    <a:pt x="137" y="7"/>
                  </a:cubicBezTo>
                  <a:cubicBezTo>
                    <a:pt x="137" y="21"/>
                    <a:pt x="137" y="21"/>
                    <a:pt x="137" y="21"/>
                  </a:cubicBezTo>
                  <a:cubicBezTo>
                    <a:pt x="126" y="11"/>
                    <a:pt x="113" y="4"/>
                    <a:pt x="99" y="0"/>
                  </a:cubicBezTo>
                  <a:cubicBezTo>
                    <a:pt x="97" y="0"/>
                    <a:pt x="96" y="1"/>
                    <a:pt x="96" y="3"/>
                  </a:cubicBezTo>
                  <a:cubicBezTo>
                    <a:pt x="96" y="28"/>
                    <a:pt x="96" y="28"/>
                    <a:pt x="96" y="28"/>
                  </a:cubicBezTo>
                  <a:cubicBezTo>
                    <a:pt x="96" y="29"/>
                    <a:pt x="96" y="30"/>
                    <a:pt x="97" y="31"/>
                  </a:cubicBezTo>
                  <a:cubicBezTo>
                    <a:pt x="121" y="37"/>
                    <a:pt x="138" y="60"/>
                    <a:pt x="138" y="87"/>
                  </a:cubicBezTo>
                  <a:cubicBezTo>
                    <a:pt x="138" y="119"/>
                    <a:pt x="114" y="146"/>
                    <a:pt x="83" y="146"/>
                  </a:cubicBezTo>
                  <a:cubicBezTo>
                    <a:pt x="53" y="146"/>
                    <a:pt x="29" y="119"/>
                    <a:pt x="29" y="87"/>
                  </a:cubicBezTo>
                  <a:cubicBezTo>
                    <a:pt x="29" y="61"/>
                    <a:pt x="45" y="38"/>
                    <a:pt x="68" y="31"/>
                  </a:cubicBezTo>
                  <a:cubicBezTo>
                    <a:pt x="69" y="31"/>
                    <a:pt x="70" y="30"/>
                    <a:pt x="70" y="29"/>
                  </a:cubicBezTo>
                  <a:cubicBezTo>
                    <a:pt x="70" y="3"/>
                    <a:pt x="70" y="3"/>
                    <a:pt x="70" y="3"/>
                  </a:cubicBezTo>
                  <a:cubicBezTo>
                    <a:pt x="70" y="1"/>
                    <a:pt x="69" y="0"/>
                    <a:pt x="67" y="0"/>
                  </a:cubicBezTo>
                  <a:cubicBezTo>
                    <a:pt x="67" y="0"/>
                    <a:pt x="67" y="0"/>
                    <a:pt x="6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a:p>
          </p:txBody>
        </p:sp>
        <p:sp>
          <p:nvSpPr>
            <p:cNvPr id="33" name="Oval 11">
              <a:extLst>
                <a:ext uri="{FF2B5EF4-FFF2-40B4-BE49-F238E27FC236}">
                  <a16:creationId xmlns:a16="http://schemas.microsoft.com/office/drawing/2014/main" id="{2CCDA38F-544A-484F-882B-A9B7632F5656}"/>
                </a:ext>
              </a:extLst>
            </p:cNvPr>
            <p:cNvSpPr>
              <a:spLocks noChangeArrowheads="1"/>
            </p:cNvSpPr>
            <p:nvPr/>
          </p:nvSpPr>
          <p:spPr bwMode="auto">
            <a:xfrm>
              <a:off x="284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a:p>
          </p:txBody>
        </p:sp>
        <p:sp>
          <p:nvSpPr>
            <p:cNvPr id="34" name="Oval 12">
              <a:extLst>
                <a:ext uri="{FF2B5EF4-FFF2-40B4-BE49-F238E27FC236}">
                  <a16:creationId xmlns:a16="http://schemas.microsoft.com/office/drawing/2014/main" id="{29BC6A12-D86F-44FE-AF77-BD7A7B20F62F}"/>
                </a:ext>
              </a:extLst>
            </p:cNvPr>
            <p:cNvSpPr>
              <a:spLocks noChangeArrowheads="1"/>
            </p:cNvSpPr>
            <p:nvPr/>
          </p:nvSpPr>
          <p:spPr bwMode="auto">
            <a:xfrm>
              <a:off x="387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a:p>
          </p:txBody>
        </p:sp>
        <p:sp>
          <p:nvSpPr>
            <p:cNvPr id="35" name="Freeform 13">
              <a:extLst>
                <a:ext uri="{FF2B5EF4-FFF2-40B4-BE49-F238E27FC236}">
                  <a16:creationId xmlns:a16="http://schemas.microsoft.com/office/drawing/2014/main" id="{1D03E378-9DEF-46FC-AAC5-1E740A1D6FB8}"/>
                </a:ext>
              </a:extLst>
            </p:cNvPr>
            <p:cNvSpPr>
              <a:spLocks/>
            </p:cNvSpPr>
            <p:nvPr/>
          </p:nvSpPr>
          <p:spPr bwMode="auto">
            <a:xfrm>
              <a:off x="4062" y="1584"/>
              <a:ext cx="242" cy="462"/>
            </a:xfrm>
            <a:custGeom>
              <a:avLst/>
              <a:gdLst>
                <a:gd name="T0" fmla="*/ 39 w 128"/>
                <a:gd name="T1" fmla="*/ 55 h 244"/>
                <a:gd name="T2" fmla="*/ 39 w 128"/>
                <a:gd name="T3" fmla="*/ 76 h 244"/>
                <a:gd name="T4" fmla="*/ 4 w 128"/>
                <a:gd name="T5" fmla="*/ 76 h 244"/>
                <a:gd name="T6" fmla="*/ 0 w 128"/>
                <a:gd name="T7" fmla="*/ 81 h 244"/>
                <a:gd name="T8" fmla="*/ 0 w 128"/>
                <a:gd name="T9" fmla="*/ 99 h 244"/>
                <a:gd name="T10" fmla="*/ 4 w 128"/>
                <a:gd name="T11" fmla="*/ 103 h 244"/>
                <a:gd name="T12" fmla="*/ 39 w 128"/>
                <a:gd name="T13" fmla="*/ 103 h 244"/>
                <a:gd name="T14" fmla="*/ 39 w 128"/>
                <a:gd name="T15" fmla="*/ 239 h 244"/>
                <a:gd name="T16" fmla="*/ 44 w 128"/>
                <a:gd name="T17" fmla="*/ 244 h 244"/>
                <a:gd name="T18" fmla="*/ 62 w 128"/>
                <a:gd name="T19" fmla="*/ 244 h 244"/>
                <a:gd name="T20" fmla="*/ 67 w 128"/>
                <a:gd name="T21" fmla="*/ 239 h 244"/>
                <a:gd name="T22" fmla="*/ 67 w 128"/>
                <a:gd name="T23" fmla="*/ 103 h 244"/>
                <a:gd name="T24" fmla="*/ 120 w 128"/>
                <a:gd name="T25" fmla="*/ 103 h 244"/>
                <a:gd name="T26" fmla="*/ 125 w 128"/>
                <a:gd name="T27" fmla="*/ 99 h 244"/>
                <a:gd name="T28" fmla="*/ 125 w 128"/>
                <a:gd name="T29" fmla="*/ 81 h 244"/>
                <a:gd name="T30" fmla="*/ 120 w 128"/>
                <a:gd name="T31" fmla="*/ 76 h 244"/>
                <a:gd name="T32" fmla="*/ 67 w 128"/>
                <a:gd name="T33" fmla="*/ 76 h 244"/>
                <a:gd name="T34" fmla="*/ 67 w 128"/>
                <a:gd name="T35" fmla="*/ 55 h 244"/>
                <a:gd name="T36" fmla="*/ 91 w 128"/>
                <a:gd name="T37" fmla="*/ 27 h 244"/>
                <a:gd name="T38" fmla="*/ 122 w 128"/>
                <a:gd name="T39" fmla="*/ 37 h 244"/>
                <a:gd name="T40" fmla="*/ 125 w 128"/>
                <a:gd name="T41" fmla="*/ 38 h 244"/>
                <a:gd name="T42" fmla="*/ 128 w 128"/>
                <a:gd name="T43" fmla="*/ 33 h 244"/>
                <a:gd name="T44" fmla="*/ 128 w 128"/>
                <a:gd name="T45" fmla="*/ 16 h 244"/>
                <a:gd name="T46" fmla="*/ 125 w 128"/>
                <a:gd name="T47" fmla="*/ 9 h 244"/>
                <a:gd name="T48" fmla="*/ 89 w 128"/>
                <a:gd name="T49" fmla="*/ 0 h 244"/>
                <a:gd name="T50" fmla="*/ 39 w 128"/>
                <a:gd name="T51" fmla="*/ 5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244">
                  <a:moveTo>
                    <a:pt x="39" y="55"/>
                  </a:moveTo>
                  <a:cubicBezTo>
                    <a:pt x="39" y="76"/>
                    <a:pt x="39" y="76"/>
                    <a:pt x="39" y="76"/>
                  </a:cubicBezTo>
                  <a:cubicBezTo>
                    <a:pt x="4" y="76"/>
                    <a:pt x="4" y="76"/>
                    <a:pt x="4" y="76"/>
                  </a:cubicBezTo>
                  <a:cubicBezTo>
                    <a:pt x="1" y="76"/>
                    <a:pt x="0" y="78"/>
                    <a:pt x="0" y="81"/>
                  </a:cubicBezTo>
                  <a:cubicBezTo>
                    <a:pt x="0" y="99"/>
                    <a:pt x="0" y="99"/>
                    <a:pt x="0" y="99"/>
                  </a:cubicBezTo>
                  <a:cubicBezTo>
                    <a:pt x="0" y="102"/>
                    <a:pt x="1" y="103"/>
                    <a:pt x="4" y="103"/>
                  </a:cubicBezTo>
                  <a:cubicBezTo>
                    <a:pt x="39" y="103"/>
                    <a:pt x="39" y="103"/>
                    <a:pt x="39" y="103"/>
                  </a:cubicBezTo>
                  <a:cubicBezTo>
                    <a:pt x="39" y="239"/>
                    <a:pt x="39" y="239"/>
                    <a:pt x="39" y="239"/>
                  </a:cubicBezTo>
                  <a:cubicBezTo>
                    <a:pt x="39" y="242"/>
                    <a:pt x="41" y="244"/>
                    <a:pt x="44" y="244"/>
                  </a:cubicBezTo>
                  <a:cubicBezTo>
                    <a:pt x="62" y="244"/>
                    <a:pt x="62" y="244"/>
                    <a:pt x="62" y="244"/>
                  </a:cubicBezTo>
                  <a:cubicBezTo>
                    <a:pt x="65" y="244"/>
                    <a:pt x="67" y="242"/>
                    <a:pt x="67" y="239"/>
                  </a:cubicBezTo>
                  <a:cubicBezTo>
                    <a:pt x="67" y="103"/>
                    <a:pt x="67" y="103"/>
                    <a:pt x="67" y="103"/>
                  </a:cubicBezTo>
                  <a:cubicBezTo>
                    <a:pt x="120" y="103"/>
                    <a:pt x="120" y="103"/>
                    <a:pt x="120" y="103"/>
                  </a:cubicBezTo>
                  <a:cubicBezTo>
                    <a:pt x="123" y="103"/>
                    <a:pt x="125" y="102"/>
                    <a:pt x="125" y="99"/>
                  </a:cubicBezTo>
                  <a:cubicBezTo>
                    <a:pt x="125" y="81"/>
                    <a:pt x="125" y="81"/>
                    <a:pt x="125" y="81"/>
                  </a:cubicBezTo>
                  <a:cubicBezTo>
                    <a:pt x="125" y="78"/>
                    <a:pt x="123" y="76"/>
                    <a:pt x="120" y="76"/>
                  </a:cubicBezTo>
                  <a:cubicBezTo>
                    <a:pt x="67" y="76"/>
                    <a:pt x="67" y="76"/>
                    <a:pt x="67" y="76"/>
                  </a:cubicBezTo>
                  <a:cubicBezTo>
                    <a:pt x="67" y="55"/>
                    <a:pt x="67" y="55"/>
                    <a:pt x="67" y="55"/>
                  </a:cubicBezTo>
                  <a:cubicBezTo>
                    <a:pt x="67" y="38"/>
                    <a:pt x="76" y="27"/>
                    <a:pt x="91" y="27"/>
                  </a:cubicBezTo>
                  <a:cubicBezTo>
                    <a:pt x="102" y="27"/>
                    <a:pt x="110" y="30"/>
                    <a:pt x="122" y="37"/>
                  </a:cubicBezTo>
                  <a:cubicBezTo>
                    <a:pt x="123" y="38"/>
                    <a:pt x="124" y="38"/>
                    <a:pt x="125" y="38"/>
                  </a:cubicBezTo>
                  <a:cubicBezTo>
                    <a:pt x="127" y="38"/>
                    <a:pt x="128" y="36"/>
                    <a:pt x="128" y="33"/>
                  </a:cubicBezTo>
                  <a:cubicBezTo>
                    <a:pt x="128" y="16"/>
                    <a:pt x="128" y="16"/>
                    <a:pt x="128" y="16"/>
                  </a:cubicBezTo>
                  <a:cubicBezTo>
                    <a:pt x="128" y="13"/>
                    <a:pt x="128" y="11"/>
                    <a:pt x="125" y="9"/>
                  </a:cubicBezTo>
                  <a:cubicBezTo>
                    <a:pt x="114" y="3"/>
                    <a:pt x="103" y="0"/>
                    <a:pt x="89" y="0"/>
                  </a:cubicBezTo>
                  <a:cubicBezTo>
                    <a:pt x="54" y="0"/>
                    <a:pt x="39" y="29"/>
                    <a:pt x="39"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a:p>
          </p:txBody>
        </p:sp>
        <p:sp>
          <p:nvSpPr>
            <p:cNvPr id="36" name="Freeform 14">
              <a:extLst>
                <a:ext uri="{FF2B5EF4-FFF2-40B4-BE49-F238E27FC236}">
                  <a16:creationId xmlns:a16="http://schemas.microsoft.com/office/drawing/2014/main" id="{A63014A3-9209-4CC4-A492-249744C9A62A}"/>
                </a:ext>
              </a:extLst>
            </p:cNvPr>
            <p:cNvSpPr>
              <a:spLocks/>
            </p:cNvSpPr>
            <p:nvPr/>
          </p:nvSpPr>
          <p:spPr bwMode="auto">
            <a:xfrm>
              <a:off x="2071" y="1578"/>
              <a:ext cx="632" cy="631"/>
            </a:xfrm>
            <a:custGeom>
              <a:avLst/>
              <a:gdLst>
                <a:gd name="T0" fmla="*/ 181 w 334"/>
                <a:gd name="T1" fmla="*/ 1 h 333"/>
                <a:gd name="T2" fmla="*/ 180 w 334"/>
                <a:gd name="T3" fmla="*/ 4 h 333"/>
                <a:gd name="T4" fmla="*/ 180 w 334"/>
                <a:gd name="T5" fmla="*/ 26 h 333"/>
                <a:gd name="T6" fmla="*/ 180 w 334"/>
                <a:gd name="T7" fmla="*/ 26 h 333"/>
                <a:gd name="T8" fmla="*/ 182 w 334"/>
                <a:gd name="T9" fmla="*/ 28 h 333"/>
                <a:gd name="T10" fmla="*/ 306 w 334"/>
                <a:gd name="T11" fmla="*/ 166 h 333"/>
                <a:gd name="T12" fmla="*/ 167 w 334"/>
                <a:gd name="T13" fmla="*/ 305 h 333"/>
                <a:gd name="T14" fmla="*/ 28 w 334"/>
                <a:gd name="T15" fmla="*/ 166 h 333"/>
                <a:gd name="T16" fmla="*/ 152 w 334"/>
                <a:gd name="T17" fmla="*/ 28 h 333"/>
                <a:gd name="T18" fmla="*/ 154 w 334"/>
                <a:gd name="T19" fmla="*/ 26 h 333"/>
                <a:gd name="T20" fmla="*/ 154 w 334"/>
                <a:gd name="T21" fmla="*/ 26 h 333"/>
                <a:gd name="T22" fmla="*/ 154 w 334"/>
                <a:gd name="T23" fmla="*/ 4 h 333"/>
                <a:gd name="T24" fmla="*/ 153 w 334"/>
                <a:gd name="T25" fmla="*/ 1 h 333"/>
                <a:gd name="T26" fmla="*/ 150 w 334"/>
                <a:gd name="T27" fmla="*/ 0 h 333"/>
                <a:gd name="T28" fmla="*/ 149 w 334"/>
                <a:gd name="T29" fmla="*/ 0 h 333"/>
                <a:gd name="T30" fmla="*/ 149 w 334"/>
                <a:gd name="T31" fmla="*/ 0 h 333"/>
                <a:gd name="T32" fmla="*/ 0 w 334"/>
                <a:gd name="T33" fmla="*/ 166 h 333"/>
                <a:gd name="T34" fmla="*/ 167 w 334"/>
                <a:gd name="T35" fmla="*/ 333 h 333"/>
                <a:gd name="T36" fmla="*/ 334 w 334"/>
                <a:gd name="T37" fmla="*/ 166 h 333"/>
                <a:gd name="T38" fmla="*/ 185 w 334"/>
                <a:gd name="T39" fmla="*/ 0 h 333"/>
                <a:gd name="T40" fmla="*/ 185 w 334"/>
                <a:gd name="T41" fmla="*/ 0 h 333"/>
                <a:gd name="T42" fmla="*/ 184 w 334"/>
                <a:gd name="T43" fmla="*/ 0 h 333"/>
                <a:gd name="T44" fmla="*/ 181 w 334"/>
                <a:gd name="T45" fmla="*/ 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4" h="333">
                  <a:moveTo>
                    <a:pt x="181" y="1"/>
                  </a:moveTo>
                  <a:cubicBezTo>
                    <a:pt x="180" y="2"/>
                    <a:pt x="180" y="3"/>
                    <a:pt x="180" y="4"/>
                  </a:cubicBezTo>
                  <a:cubicBezTo>
                    <a:pt x="180" y="26"/>
                    <a:pt x="180" y="26"/>
                    <a:pt x="180" y="26"/>
                  </a:cubicBezTo>
                  <a:cubicBezTo>
                    <a:pt x="180" y="26"/>
                    <a:pt x="180" y="26"/>
                    <a:pt x="180" y="26"/>
                  </a:cubicBezTo>
                  <a:cubicBezTo>
                    <a:pt x="180" y="27"/>
                    <a:pt x="181" y="28"/>
                    <a:pt x="182" y="28"/>
                  </a:cubicBezTo>
                  <a:cubicBezTo>
                    <a:pt x="251" y="35"/>
                    <a:pt x="306" y="94"/>
                    <a:pt x="306" y="166"/>
                  </a:cubicBezTo>
                  <a:cubicBezTo>
                    <a:pt x="306" y="243"/>
                    <a:pt x="244" y="305"/>
                    <a:pt x="167" y="305"/>
                  </a:cubicBezTo>
                  <a:cubicBezTo>
                    <a:pt x="90" y="305"/>
                    <a:pt x="28" y="243"/>
                    <a:pt x="28" y="166"/>
                  </a:cubicBezTo>
                  <a:cubicBezTo>
                    <a:pt x="28" y="94"/>
                    <a:pt x="82" y="35"/>
                    <a:pt x="152" y="28"/>
                  </a:cubicBezTo>
                  <a:cubicBezTo>
                    <a:pt x="153" y="28"/>
                    <a:pt x="154" y="27"/>
                    <a:pt x="154" y="26"/>
                  </a:cubicBezTo>
                  <a:cubicBezTo>
                    <a:pt x="154" y="26"/>
                    <a:pt x="154" y="26"/>
                    <a:pt x="154" y="26"/>
                  </a:cubicBezTo>
                  <a:cubicBezTo>
                    <a:pt x="154" y="4"/>
                    <a:pt x="154" y="4"/>
                    <a:pt x="154" y="4"/>
                  </a:cubicBezTo>
                  <a:cubicBezTo>
                    <a:pt x="154" y="3"/>
                    <a:pt x="154" y="2"/>
                    <a:pt x="153" y="1"/>
                  </a:cubicBezTo>
                  <a:cubicBezTo>
                    <a:pt x="152" y="0"/>
                    <a:pt x="151" y="0"/>
                    <a:pt x="150" y="0"/>
                  </a:cubicBezTo>
                  <a:cubicBezTo>
                    <a:pt x="149" y="0"/>
                    <a:pt x="149" y="0"/>
                    <a:pt x="149" y="0"/>
                  </a:cubicBezTo>
                  <a:cubicBezTo>
                    <a:pt x="149" y="0"/>
                    <a:pt x="149" y="0"/>
                    <a:pt x="149" y="0"/>
                  </a:cubicBezTo>
                  <a:cubicBezTo>
                    <a:pt x="65" y="9"/>
                    <a:pt x="0" y="80"/>
                    <a:pt x="0" y="166"/>
                  </a:cubicBezTo>
                  <a:cubicBezTo>
                    <a:pt x="0" y="258"/>
                    <a:pt x="75" y="333"/>
                    <a:pt x="167" y="333"/>
                  </a:cubicBezTo>
                  <a:cubicBezTo>
                    <a:pt x="259" y="333"/>
                    <a:pt x="334" y="258"/>
                    <a:pt x="334" y="166"/>
                  </a:cubicBezTo>
                  <a:cubicBezTo>
                    <a:pt x="334" y="80"/>
                    <a:pt x="269" y="9"/>
                    <a:pt x="185" y="0"/>
                  </a:cubicBezTo>
                  <a:cubicBezTo>
                    <a:pt x="185" y="0"/>
                    <a:pt x="185" y="0"/>
                    <a:pt x="185" y="0"/>
                  </a:cubicBezTo>
                  <a:cubicBezTo>
                    <a:pt x="185" y="0"/>
                    <a:pt x="184" y="0"/>
                    <a:pt x="184" y="0"/>
                  </a:cubicBezTo>
                  <a:cubicBezTo>
                    <a:pt x="183" y="0"/>
                    <a:pt x="182" y="0"/>
                    <a:pt x="18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a:p>
          </p:txBody>
        </p:sp>
      </p:grpSp>
    </p:spTree>
    <p:extLst>
      <p:ext uri="{BB962C8B-B14F-4D97-AF65-F5344CB8AC3E}">
        <p14:creationId xmlns:p14="http://schemas.microsoft.com/office/powerpoint/2010/main" val="4285949544"/>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Agenda Slid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10880" y="1521184"/>
            <a:ext cx="6178854" cy="3817442"/>
          </a:xfrm>
        </p:spPr>
        <p:txBody>
          <a:bodyPr anchor="ctr"/>
          <a:lstStyle>
            <a:lvl1pPr marL="0" indent="0">
              <a:buNone/>
              <a:defRPr sz="3000" b="0">
                <a:solidFill>
                  <a:schemeClr val="tx2"/>
                </a:solidFill>
                <a:latin typeface="+mj-lt"/>
              </a:defRPr>
            </a:lvl1pPr>
            <a:lvl2pPr marL="521258" indent="0">
              <a:buNone/>
              <a:defRPr sz="2280">
                <a:solidFill>
                  <a:schemeClr val="tx1">
                    <a:tint val="75000"/>
                  </a:schemeClr>
                </a:solidFill>
              </a:defRPr>
            </a:lvl2pPr>
            <a:lvl3pPr marL="1042512" indent="0">
              <a:buNone/>
              <a:defRPr sz="2052">
                <a:solidFill>
                  <a:schemeClr val="tx1">
                    <a:tint val="75000"/>
                  </a:schemeClr>
                </a:solidFill>
              </a:defRPr>
            </a:lvl3pPr>
            <a:lvl4pPr marL="1563773" indent="0">
              <a:buNone/>
              <a:defRPr sz="1824">
                <a:solidFill>
                  <a:schemeClr val="tx1">
                    <a:tint val="75000"/>
                  </a:schemeClr>
                </a:solidFill>
              </a:defRPr>
            </a:lvl4pPr>
            <a:lvl5pPr marL="2085031" indent="0">
              <a:buNone/>
              <a:defRPr sz="1824">
                <a:solidFill>
                  <a:schemeClr val="tx1">
                    <a:tint val="75000"/>
                  </a:schemeClr>
                </a:solidFill>
              </a:defRPr>
            </a:lvl5pPr>
            <a:lvl6pPr marL="2606285" indent="0">
              <a:buNone/>
              <a:defRPr sz="1824">
                <a:solidFill>
                  <a:schemeClr val="tx1">
                    <a:tint val="75000"/>
                  </a:schemeClr>
                </a:solidFill>
              </a:defRPr>
            </a:lvl6pPr>
            <a:lvl7pPr marL="3127543" indent="0">
              <a:buNone/>
              <a:defRPr sz="1824">
                <a:solidFill>
                  <a:schemeClr val="tx1">
                    <a:tint val="75000"/>
                  </a:schemeClr>
                </a:solidFill>
              </a:defRPr>
            </a:lvl7pPr>
            <a:lvl8pPr marL="3648803" indent="0">
              <a:buNone/>
              <a:defRPr sz="1824">
                <a:solidFill>
                  <a:schemeClr val="tx1">
                    <a:tint val="75000"/>
                  </a:schemeClr>
                </a:solidFill>
              </a:defRPr>
            </a:lvl8pPr>
            <a:lvl9pPr marL="4170060" indent="0">
              <a:buNone/>
              <a:defRPr sz="1824">
                <a:solidFill>
                  <a:schemeClr val="tx1">
                    <a:tint val="75000"/>
                  </a:schemeClr>
                </a:solidFill>
              </a:defRPr>
            </a:lvl9pPr>
          </a:lstStyle>
          <a:p>
            <a:pPr lvl="0"/>
            <a:r>
              <a:rPr lang="en-US"/>
              <a:t>Click to edit Master text styles</a:t>
            </a:r>
          </a:p>
        </p:txBody>
      </p:sp>
      <p:sp>
        <p:nvSpPr>
          <p:cNvPr id="19" name="Title 18">
            <a:extLst>
              <a:ext uri="{FF2B5EF4-FFF2-40B4-BE49-F238E27FC236}">
                <a16:creationId xmlns:a16="http://schemas.microsoft.com/office/drawing/2014/main" id="{B47DF7D0-E13C-497A-8A71-C5A8B4D7F67C}"/>
              </a:ext>
            </a:extLst>
          </p:cNvPr>
          <p:cNvSpPr>
            <a:spLocks noGrp="1"/>
          </p:cNvSpPr>
          <p:nvPr>
            <p:ph type="title"/>
          </p:nvPr>
        </p:nvSpPr>
        <p:spPr/>
        <p:txBody>
          <a:bodyPr/>
          <a:lstStyle>
            <a:lvl1pPr>
              <a:defRPr sz="3200"/>
            </a:lvl1pPr>
          </a:lstStyle>
          <a:p>
            <a:r>
              <a:rPr lang="en-US"/>
              <a:t>Click to edit Master title style</a:t>
            </a:r>
            <a:endParaRPr lang="en-US" dirty="0"/>
          </a:p>
        </p:txBody>
      </p:sp>
    </p:spTree>
    <p:extLst>
      <p:ext uri="{BB962C8B-B14F-4D97-AF65-F5344CB8AC3E}">
        <p14:creationId xmlns:p14="http://schemas.microsoft.com/office/powerpoint/2010/main" val="3611331238"/>
      </p:ext>
    </p:extLst>
  </p:cSld>
  <p:clrMapOvr>
    <a:masterClrMapping/>
  </p:clrMapOvr>
  <p:transition>
    <p:fade/>
  </p:transition>
  <p:extLst>
    <p:ext uri="{DCECCB84-F9BA-43D5-87BE-67443E8EF086}">
      <p15:sldGuideLst xmlns:p15="http://schemas.microsoft.com/office/powerpoint/2012/main">
        <p15:guide id="1" pos="415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Section Header">
    <p:bg>
      <p:bgPr>
        <a:solidFill>
          <a:schemeClr val="tx2"/>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a:solidFill>
                  <a:schemeClr val="bg1"/>
                </a:solidFill>
              </a:defRPr>
            </a:lvl1pPr>
          </a:lstStyle>
          <a:p>
            <a:fld id="{32B354EE-31EA-4FC2-9496-7B6202183237}" type="slidenum">
              <a:rPr lang="en-US" smtClean="0"/>
              <a:pPr/>
              <a:t>‹#›</a:t>
            </a:fld>
            <a:endParaRPr lang="en-US"/>
          </a:p>
        </p:txBody>
      </p:sp>
      <p:sp>
        <p:nvSpPr>
          <p:cNvPr id="7" name="Title 6">
            <a:extLst>
              <a:ext uri="{FF2B5EF4-FFF2-40B4-BE49-F238E27FC236}">
                <a16:creationId xmlns:a16="http://schemas.microsoft.com/office/drawing/2014/main" id="{EE9D7C87-D037-4797-9A6A-B999C6F026D8}"/>
              </a:ext>
            </a:extLst>
          </p:cNvPr>
          <p:cNvSpPr>
            <a:spLocks noGrp="1"/>
          </p:cNvSpPr>
          <p:nvPr>
            <p:ph type="title"/>
          </p:nvPr>
        </p:nvSpPr>
        <p:spPr>
          <a:xfrm>
            <a:off x="410879" y="1521185"/>
            <a:ext cx="11368018" cy="3815631"/>
          </a:xfrm>
        </p:spPr>
        <p:txBody>
          <a:bodyPr anchor="ctr"/>
          <a:lstStyle>
            <a:lvl1pPr algn="ctr">
              <a:defRPr sz="6000">
                <a:solidFill>
                  <a:schemeClr val="accent1"/>
                </a:solidFill>
              </a:defRPr>
            </a:lvl1pPr>
          </a:lstStyle>
          <a:p>
            <a:r>
              <a:rPr lang="en-US"/>
              <a:t>Click to edit Master title style</a:t>
            </a:r>
            <a:endParaRPr lang="en-US" dirty="0"/>
          </a:p>
        </p:txBody>
      </p:sp>
    </p:spTree>
    <p:extLst>
      <p:ext uri="{BB962C8B-B14F-4D97-AF65-F5344CB8AC3E}">
        <p14:creationId xmlns:p14="http://schemas.microsoft.com/office/powerpoint/2010/main" val="2818972099"/>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Section Header Light Grey">
    <p:bg>
      <p:bgPr>
        <a:solidFill>
          <a:schemeClr val="accent2"/>
        </a:solid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920368" y="6332830"/>
            <a:ext cx="4784400" cy="273450"/>
          </a:xfrm>
          <a:prstGeom prst="rect">
            <a:avLst/>
          </a:prstGeom>
        </p:spPr>
        <p:txBody>
          <a:bodyPr/>
          <a:lstStyle>
            <a:lvl1pPr>
              <a:defRPr>
                <a:solidFill>
                  <a:schemeClr val="tx2"/>
                </a:solidFill>
              </a:defRPr>
            </a:lvl1pPr>
          </a:lstStyle>
          <a:p>
            <a:r>
              <a:rPr lang="en-GB"/>
              <a:t>Document Name</a:t>
            </a:r>
            <a:endParaRPr lang="en-US"/>
          </a:p>
        </p:txBody>
      </p:sp>
      <p:sp>
        <p:nvSpPr>
          <p:cNvPr id="6" name="Slide Number Placeholder 5"/>
          <p:cNvSpPr>
            <a:spLocks noGrp="1"/>
          </p:cNvSpPr>
          <p:nvPr>
            <p:ph type="sldNum" sz="quarter" idx="12"/>
          </p:nvPr>
        </p:nvSpPr>
        <p:spPr/>
        <p:txBody>
          <a:bodyPr/>
          <a:lstStyle>
            <a:lvl1pPr>
              <a:defRPr>
                <a:solidFill>
                  <a:schemeClr val="tx2"/>
                </a:solidFill>
              </a:defRPr>
            </a:lvl1pPr>
          </a:lstStyle>
          <a:p>
            <a:fld id="{32B354EE-31EA-4FC2-9496-7B6202183237}" type="slidenum">
              <a:rPr lang="en-US" smtClean="0"/>
              <a:pPr/>
              <a:t>‹#›</a:t>
            </a:fld>
            <a:endParaRPr lang="en-US"/>
          </a:p>
        </p:txBody>
      </p:sp>
      <p:sp>
        <p:nvSpPr>
          <p:cNvPr id="7" name="Title 6">
            <a:extLst>
              <a:ext uri="{FF2B5EF4-FFF2-40B4-BE49-F238E27FC236}">
                <a16:creationId xmlns:a16="http://schemas.microsoft.com/office/drawing/2014/main" id="{EE9D7C87-D037-4797-9A6A-B999C6F026D8}"/>
              </a:ext>
            </a:extLst>
          </p:cNvPr>
          <p:cNvSpPr>
            <a:spLocks noGrp="1"/>
          </p:cNvSpPr>
          <p:nvPr>
            <p:ph type="title"/>
          </p:nvPr>
        </p:nvSpPr>
        <p:spPr>
          <a:xfrm>
            <a:off x="410879" y="1521185"/>
            <a:ext cx="11368018" cy="3815631"/>
          </a:xfrm>
        </p:spPr>
        <p:txBody>
          <a:bodyPr anchor="ctr"/>
          <a:lstStyle>
            <a:lvl1pPr algn="ctr">
              <a:defRPr sz="6000">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2075667104"/>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Section Header Image">
    <p:bg>
      <p:bgPr>
        <a:solidFill>
          <a:schemeClr val="bg1">
            <a:lumMod val="85000"/>
          </a:schemeClr>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13105" y="1521184"/>
            <a:ext cx="6176627" cy="3817442"/>
          </a:xfrm>
        </p:spPr>
        <p:txBody>
          <a:bodyPr anchor="ctr"/>
          <a:lstStyle>
            <a:lvl1pPr marL="0" indent="0">
              <a:buNone/>
              <a:defRPr sz="4000" b="0">
                <a:solidFill>
                  <a:schemeClr val="bg1"/>
                </a:solidFill>
                <a:latin typeface="+mj-lt"/>
              </a:defRPr>
            </a:lvl1pPr>
            <a:lvl2pPr marL="521258" indent="0">
              <a:buNone/>
              <a:defRPr sz="2280">
                <a:solidFill>
                  <a:schemeClr val="tx1">
                    <a:tint val="75000"/>
                  </a:schemeClr>
                </a:solidFill>
              </a:defRPr>
            </a:lvl2pPr>
            <a:lvl3pPr marL="1042512" indent="0">
              <a:buNone/>
              <a:defRPr sz="2052">
                <a:solidFill>
                  <a:schemeClr val="tx1">
                    <a:tint val="75000"/>
                  </a:schemeClr>
                </a:solidFill>
              </a:defRPr>
            </a:lvl3pPr>
            <a:lvl4pPr marL="1563773" indent="0">
              <a:buNone/>
              <a:defRPr sz="1824">
                <a:solidFill>
                  <a:schemeClr val="tx1">
                    <a:tint val="75000"/>
                  </a:schemeClr>
                </a:solidFill>
              </a:defRPr>
            </a:lvl4pPr>
            <a:lvl5pPr marL="2085031" indent="0">
              <a:buNone/>
              <a:defRPr sz="1824">
                <a:solidFill>
                  <a:schemeClr val="tx1">
                    <a:tint val="75000"/>
                  </a:schemeClr>
                </a:solidFill>
              </a:defRPr>
            </a:lvl5pPr>
            <a:lvl6pPr marL="2606285" indent="0">
              <a:buNone/>
              <a:defRPr sz="1824">
                <a:solidFill>
                  <a:schemeClr val="tx1">
                    <a:tint val="75000"/>
                  </a:schemeClr>
                </a:solidFill>
              </a:defRPr>
            </a:lvl6pPr>
            <a:lvl7pPr marL="3127543" indent="0">
              <a:buNone/>
              <a:defRPr sz="1824">
                <a:solidFill>
                  <a:schemeClr val="tx1">
                    <a:tint val="75000"/>
                  </a:schemeClr>
                </a:solidFill>
              </a:defRPr>
            </a:lvl7pPr>
            <a:lvl8pPr marL="3648803" indent="0">
              <a:buNone/>
              <a:defRPr sz="1824">
                <a:solidFill>
                  <a:schemeClr val="tx1">
                    <a:tint val="75000"/>
                  </a:schemeClr>
                </a:solidFill>
              </a:defRPr>
            </a:lvl8pPr>
            <a:lvl9pPr marL="4170060" indent="0">
              <a:buNone/>
              <a:defRPr sz="1824">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a:xfrm>
            <a:off x="920368" y="6332830"/>
            <a:ext cx="4784400" cy="273450"/>
          </a:xfrm>
          <a:prstGeom prst="rect">
            <a:avLst/>
          </a:prstGeom>
        </p:spPr>
        <p:txBody>
          <a:bodyPr/>
          <a:lstStyle>
            <a:lvl1pPr>
              <a:defRPr>
                <a:solidFill>
                  <a:schemeClr val="bg1"/>
                </a:solidFill>
              </a:defRPr>
            </a:lvl1pPr>
          </a:lstStyle>
          <a:p>
            <a:r>
              <a:rPr lang="en-GB"/>
              <a:t>Document Name</a:t>
            </a:r>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32B354EE-31EA-4FC2-9496-7B6202183237}" type="slidenum">
              <a:rPr lang="en-US" smtClean="0"/>
              <a:pPr/>
              <a:t>‹#›</a:t>
            </a:fld>
            <a:endParaRPr lang="en-US"/>
          </a:p>
        </p:txBody>
      </p:sp>
      <p:sp>
        <p:nvSpPr>
          <p:cNvPr id="19" name="Title 18">
            <a:extLst>
              <a:ext uri="{FF2B5EF4-FFF2-40B4-BE49-F238E27FC236}">
                <a16:creationId xmlns:a16="http://schemas.microsoft.com/office/drawing/2014/main" id="{B47DF7D0-E13C-497A-8A71-C5A8B4D7F67C}"/>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683823057"/>
      </p:ext>
    </p:extLst>
  </p:cSld>
  <p:clrMapOvr>
    <a:masterClrMapping/>
  </p:clrMapOvr>
  <p:transition>
    <p:fade/>
  </p:transition>
  <p:extLst>
    <p:ext uri="{DCECCB84-F9BA-43D5-87BE-67443E8EF086}">
      <p15:sldGuideLst xmlns:p15="http://schemas.microsoft.com/office/powerpoint/2012/main">
        <p15:guide id="1" pos="415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920368" y="6332830"/>
            <a:ext cx="4784400" cy="273450"/>
          </a:xfrm>
          <a:prstGeom prst="rect">
            <a:avLst/>
          </a:prstGeom>
        </p:spPr>
        <p:txBody>
          <a:bodyPr/>
          <a:lstStyle/>
          <a:p>
            <a:r>
              <a:rPr lang="en-GB"/>
              <a:t>Document Name</a:t>
            </a:r>
            <a:endParaRPr lang="en-US"/>
          </a:p>
        </p:txBody>
      </p:sp>
      <p:sp>
        <p:nvSpPr>
          <p:cNvPr id="6" name="Slide Number Placeholder 5"/>
          <p:cNvSpPr>
            <a:spLocks noGrp="1"/>
          </p:cNvSpPr>
          <p:nvPr>
            <p:ph type="sldNum" sz="quarter" idx="12"/>
          </p:nvPr>
        </p:nvSpPr>
        <p:spPr/>
        <p:txBody>
          <a:bodyPr/>
          <a:lstStyle/>
          <a:p>
            <a:fld id="{32B354EE-31EA-4FC2-9496-7B6202183237}" type="slidenum">
              <a:rPr lang="en-US" smtClean="0"/>
              <a:t>‹#›</a:t>
            </a:fld>
            <a:endParaRPr lang="en-US"/>
          </a:p>
        </p:txBody>
      </p:sp>
      <p:sp>
        <p:nvSpPr>
          <p:cNvPr id="9" name="Content Placeholder 8">
            <a:extLst>
              <a:ext uri="{FF2B5EF4-FFF2-40B4-BE49-F238E27FC236}">
                <a16:creationId xmlns:a16="http://schemas.microsoft.com/office/drawing/2014/main" id="{AD5FF552-6074-447D-AD5E-8C1C43CCBFB0}"/>
              </a:ext>
            </a:extLst>
          </p:cNvPr>
          <p:cNvSpPr>
            <a:spLocks noGrp="1"/>
          </p:cNvSpPr>
          <p:nvPr>
            <p:ph sz="quarter" idx="13"/>
          </p:nvPr>
        </p:nvSpPr>
        <p:spPr>
          <a:xfrm>
            <a:off x="412920" y="1521184"/>
            <a:ext cx="6762580" cy="4494733"/>
          </a:xfrm>
        </p:spPr>
        <p:txBody>
          <a:bodyPr/>
          <a:lstStyle>
            <a:lvl1pPr>
              <a:defRPr sz="2400"/>
            </a:lvl1pPr>
            <a:lvl2pPr>
              <a:defRPr sz="2400"/>
            </a:lvl2pPr>
            <a:lvl3pPr>
              <a:defRPr sz="2400"/>
            </a:lvl3pPr>
            <a:lvl4pPr>
              <a:defRPr sz="2200"/>
            </a:lvl4pPr>
            <a:lvl5pP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itle 9">
            <a:extLst>
              <a:ext uri="{FF2B5EF4-FFF2-40B4-BE49-F238E27FC236}">
                <a16:creationId xmlns:a16="http://schemas.microsoft.com/office/drawing/2014/main" id="{977F6106-20AC-4F4E-811D-6D4EBFC2BE1B}"/>
              </a:ext>
            </a:extLst>
          </p:cNvPr>
          <p:cNvSpPr>
            <a:spLocks noGrp="1"/>
          </p:cNvSpPr>
          <p:nvPr>
            <p:ph type="title"/>
          </p:nvPr>
        </p:nvSpPr>
        <p:spPr/>
        <p:txBody>
          <a:bodyPr/>
          <a:lstStyle>
            <a:lvl1pPr>
              <a:defRPr sz="3200"/>
            </a:lvl1pPr>
          </a:lstStyle>
          <a:p>
            <a:r>
              <a:rPr lang="en-US"/>
              <a:t>Click to edit Master title style</a:t>
            </a:r>
            <a:endParaRPr lang="en-GB" dirty="0"/>
          </a:p>
        </p:txBody>
      </p:sp>
    </p:spTree>
    <p:extLst>
      <p:ext uri="{BB962C8B-B14F-4D97-AF65-F5344CB8AC3E}">
        <p14:creationId xmlns:p14="http://schemas.microsoft.com/office/powerpoint/2010/main" val="3513597710"/>
      </p:ext>
    </p:extLst>
  </p:cSld>
  <p:clrMapOvr>
    <a:masterClrMapping/>
  </p:clrMapOvr>
  <p:transition>
    <p:fade/>
  </p:transition>
  <p:extLst>
    <p:ext uri="{DCECCB84-F9BA-43D5-87BE-67443E8EF086}">
      <p15:sldGuideLst xmlns:p15="http://schemas.microsoft.com/office/powerpoint/2012/main">
        <p15:guide id="1" pos="452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and Content Dark">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10881" y="411083"/>
            <a:ext cx="11368018" cy="776038"/>
          </a:xfrm>
        </p:spPr>
        <p:txBody>
          <a:bodyPr/>
          <a:lstStyle>
            <a:lvl1pPr>
              <a:defRPr>
                <a:solidFill>
                  <a:schemeClr val="bg1"/>
                </a:solidFill>
              </a:defRPr>
            </a:lvl1pPr>
          </a:lstStyle>
          <a:p>
            <a:r>
              <a:rPr lang="en-US"/>
              <a:t>Click to edit Master title style</a:t>
            </a:r>
            <a:endParaRPr lang="en-US" dirty="0"/>
          </a:p>
        </p:txBody>
      </p:sp>
      <p:sp>
        <p:nvSpPr>
          <p:cNvPr id="5" name="Footer Placeholder 4"/>
          <p:cNvSpPr>
            <a:spLocks noGrp="1"/>
          </p:cNvSpPr>
          <p:nvPr>
            <p:ph type="ftr" sz="quarter" idx="11"/>
          </p:nvPr>
        </p:nvSpPr>
        <p:spPr>
          <a:xfrm>
            <a:off x="920368" y="6332830"/>
            <a:ext cx="4784400" cy="273450"/>
          </a:xfrm>
          <a:prstGeom prst="rect">
            <a:avLst/>
          </a:prstGeom>
        </p:spPr>
        <p:txBody>
          <a:bodyPr/>
          <a:lstStyle>
            <a:lvl1pPr>
              <a:defRPr>
                <a:solidFill>
                  <a:schemeClr val="bg1"/>
                </a:solidFill>
              </a:defRPr>
            </a:lvl1pPr>
          </a:lstStyle>
          <a:p>
            <a:r>
              <a:rPr lang="en-GB"/>
              <a:t>Document Name</a:t>
            </a:r>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32B354EE-31EA-4FC2-9496-7B6202183237}" type="slidenum">
              <a:rPr lang="en-US" smtClean="0"/>
              <a:pPr/>
              <a:t>‹#›</a:t>
            </a:fld>
            <a:endParaRPr lang="en-US"/>
          </a:p>
        </p:txBody>
      </p:sp>
      <p:sp>
        <p:nvSpPr>
          <p:cNvPr id="7" name="Content Placeholder 8">
            <a:extLst>
              <a:ext uri="{FF2B5EF4-FFF2-40B4-BE49-F238E27FC236}">
                <a16:creationId xmlns:a16="http://schemas.microsoft.com/office/drawing/2014/main" id="{8E40116B-71CA-472D-8400-6F4605D9D057}"/>
              </a:ext>
            </a:extLst>
          </p:cNvPr>
          <p:cNvSpPr>
            <a:spLocks noGrp="1"/>
          </p:cNvSpPr>
          <p:nvPr>
            <p:ph sz="quarter" idx="13"/>
          </p:nvPr>
        </p:nvSpPr>
        <p:spPr>
          <a:xfrm>
            <a:off x="412920" y="1521184"/>
            <a:ext cx="6762580" cy="4494733"/>
          </a:xfrm>
        </p:spPr>
        <p:txBody>
          <a:bodyPr/>
          <a:lstStyle>
            <a:lvl1pPr>
              <a:defRPr sz="2400">
                <a:solidFill>
                  <a:schemeClr val="bg1"/>
                </a:solidFill>
              </a:defRPr>
            </a:lvl1pPr>
            <a:lvl2pPr>
              <a:defRPr sz="2400">
                <a:solidFill>
                  <a:schemeClr val="bg1"/>
                </a:solidFill>
              </a:defRPr>
            </a:lvl2pPr>
            <a:lvl3pPr>
              <a:defRPr sz="2400">
                <a:solidFill>
                  <a:schemeClr val="accent3"/>
                </a:solidFill>
              </a:defRPr>
            </a:lvl3pPr>
            <a:lvl4pPr>
              <a:buClr>
                <a:schemeClr val="accent3"/>
              </a:buClr>
              <a:defRPr sz="2200">
                <a:solidFill>
                  <a:schemeClr val="bg1"/>
                </a:solidFill>
              </a:defRPr>
            </a:lvl4pPr>
            <a:lvl5pPr>
              <a:buClr>
                <a:schemeClr val="accent3"/>
              </a:buClr>
              <a:defRPr sz="2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103864663"/>
      </p:ext>
    </p:extLst>
  </p:cSld>
  <p:clrMapOvr>
    <a:masterClrMapping/>
  </p:clrMapOvr>
  <p:transition>
    <p:fade/>
  </p:transition>
  <p:extLst>
    <p:ext uri="{DCECCB84-F9BA-43D5-87BE-67443E8EF086}">
      <p15:sldGuideLst xmlns:p15="http://schemas.microsoft.com/office/powerpoint/2012/main">
        <p15:guide id="1" pos="452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en-BE"/>
          </a:p>
        </p:txBody>
      </p:sp>
      <p:sp>
        <p:nvSpPr>
          <p:cNvPr id="6" name="Slide Number Placeholder 5"/>
          <p:cNvSpPr>
            <a:spLocks noGrp="1"/>
          </p:cNvSpPr>
          <p:nvPr>
            <p:ph type="sldNum" sz="quarter" idx="12"/>
          </p:nvPr>
        </p:nvSpPr>
        <p:spPr/>
        <p:txBody>
          <a:bodyPr/>
          <a:lstStyle/>
          <a:p>
            <a:fld id="{9F5F79E4-174E-4D15-B5B9-2923F86E0116}" type="slidenum">
              <a:rPr lang="en-BE" smtClean="0"/>
              <a:t>‹#›</a:t>
            </a:fld>
            <a:endParaRPr lang="en-BE"/>
          </a:p>
        </p:txBody>
      </p:sp>
      <p:sp>
        <p:nvSpPr>
          <p:cNvPr id="9" name="Content Placeholder 8">
            <a:extLst>
              <a:ext uri="{FF2B5EF4-FFF2-40B4-BE49-F238E27FC236}">
                <a16:creationId xmlns:a16="http://schemas.microsoft.com/office/drawing/2014/main" id="{AD5FF552-6074-447D-AD5E-8C1C43CCBFB0}"/>
              </a:ext>
            </a:extLst>
          </p:cNvPr>
          <p:cNvSpPr>
            <a:spLocks noGrp="1"/>
          </p:cNvSpPr>
          <p:nvPr>
            <p:ph sz="quarter" idx="13"/>
          </p:nvPr>
        </p:nvSpPr>
        <p:spPr>
          <a:xfrm>
            <a:off x="412920" y="1521184"/>
            <a:ext cx="6762580" cy="4494733"/>
          </a:xfrm>
        </p:spPr>
        <p:txBody>
          <a:bodyPr/>
          <a:lstStyle>
            <a:lvl1pPr>
              <a:defRPr sz="2400"/>
            </a:lvl1pPr>
            <a:lvl2pPr>
              <a:defRPr sz="2400"/>
            </a:lvl2pPr>
            <a:lvl3pPr>
              <a:defRPr sz="2400"/>
            </a:lvl3pPr>
            <a:lvl4pPr>
              <a:defRPr sz="2200"/>
            </a:lvl4pPr>
            <a:lvl5pP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itle 9">
            <a:extLst>
              <a:ext uri="{FF2B5EF4-FFF2-40B4-BE49-F238E27FC236}">
                <a16:creationId xmlns:a16="http://schemas.microsoft.com/office/drawing/2014/main" id="{977F6106-20AC-4F4E-811D-6D4EBFC2BE1B}"/>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12947751"/>
      </p:ext>
    </p:extLst>
  </p:cSld>
  <p:clrMapOvr>
    <a:masterClrMapping/>
  </p:clrMapOvr>
  <p:transition>
    <p:fade/>
  </p:transition>
  <p:extLst>
    <p:ext uri="{DCECCB84-F9BA-43D5-87BE-67443E8EF086}">
      <p15:sldGuideLst xmlns:p15="http://schemas.microsoft.com/office/powerpoint/2012/main">
        <p15:guide id="1" pos="452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10878" y="1521184"/>
            <a:ext cx="5292112" cy="44947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486790" y="1521184"/>
            <a:ext cx="5292112" cy="44947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a:xfrm>
            <a:off x="920368" y="6332830"/>
            <a:ext cx="4784400" cy="273450"/>
          </a:xfrm>
          <a:prstGeom prst="rect">
            <a:avLst/>
          </a:prstGeom>
        </p:spPr>
        <p:txBody>
          <a:bodyPr/>
          <a:lstStyle/>
          <a:p>
            <a:r>
              <a:rPr lang="en-GB"/>
              <a:t>Document Name</a:t>
            </a:r>
            <a:endParaRPr lang="en-US"/>
          </a:p>
        </p:txBody>
      </p:sp>
      <p:sp>
        <p:nvSpPr>
          <p:cNvPr id="7" name="Slide Number Placeholder 6"/>
          <p:cNvSpPr>
            <a:spLocks noGrp="1"/>
          </p:cNvSpPr>
          <p:nvPr>
            <p:ph type="sldNum" sz="quarter" idx="12"/>
          </p:nvPr>
        </p:nvSpPr>
        <p:spPr/>
        <p:txBody>
          <a:bodyPr/>
          <a:lstStyle/>
          <a:p>
            <a:fld id="{32B354EE-31EA-4FC2-9496-7B6202183237}" type="slidenum">
              <a:rPr lang="en-US" smtClean="0"/>
              <a:t>‹#›</a:t>
            </a:fld>
            <a:endParaRPr lang="en-US"/>
          </a:p>
        </p:txBody>
      </p:sp>
      <p:sp>
        <p:nvSpPr>
          <p:cNvPr id="8" name="Title 7">
            <a:extLst>
              <a:ext uri="{FF2B5EF4-FFF2-40B4-BE49-F238E27FC236}">
                <a16:creationId xmlns:a16="http://schemas.microsoft.com/office/drawing/2014/main" id="{2BEC790B-BB37-46AF-9CC2-582F081B6401}"/>
              </a:ext>
            </a:extLst>
          </p:cNvPr>
          <p:cNvSpPr>
            <a:spLocks noGrp="1"/>
          </p:cNvSpPr>
          <p:nvPr>
            <p:ph type="title"/>
          </p:nvPr>
        </p:nvSpPr>
        <p:spPr/>
        <p:txBody>
          <a:bodyPr/>
          <a:lstStyle>
            <a:lvl1pPr>
              <a:defRPr sz="3200"/>
            </a:lvl1pPr>
          </a:lstStyle>
          <a:p>
            <a:r>
              <a:rPr lang="en-US"/>
              <a:t>Click to edit Master title style</a:t>
            </a:r>
            <a:endParaRPr lang="en-US" dirty="0"/>
          </a:p>
        </p:txBody>
      </p:sp>
    </p:spTree>
    <p:extLst>
      <p:ext uri="{BB962C8B-B14F-4D97-AF65-F5344CB8AC3E}">
        <p14:creationId xmlns:p14="http://schemas.microsoft.com/office/powerpoint/2010/main" val="44738011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ext and 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623EE699-16B4-4E6C-852E-7A2C3D133E42}"/>
              </a:ext>
            </a:extLst>
          </p:cNvPr>
          <p:cNvSpPr>
            <a:spLocks noGrp="1"/>
          </p:cNvSpPr>
          <p:nvPr>
            <p:ph type="pic" sz="quarter" idx="13"/>
          </p:nvPr>
        </p:nvSpPr>
        <p:spPr>
          <a:xfrm>
            <a:off x="6096906" y="4"/>
            <a:ext cx="6095094" cy="6858000"/>
          </a:xfrm>
          <a:solidFill>
            <a:schemeClr val="bg1">
              <a:lumMod val="85000"/>
            </a:schemeClr>
          </a:solidFill>
        </p:spPr>
        <p:txBody>
          <a:bodyPr/>
          <a:lstStyle/>
          <a:p>
            <a:r>
              <a:rPr lang="en-US"/>
              <a:t>Click icon to add picture</a:t>
            </a:r>
            <a:endParaRPr lang="en-GB"/>
          </a:p>
        </p:txBody>
      </p:sp>
      <p:sp>
        <p:nvSpPr>
          <p:cNvPr id="2" name="Title 1"/>
          <p:cNvSpPr>
            <a:spLocks noGrp="1"/>
          </p:cNvSpPr>
          <p:nvPr>
            <p:ph type="title"/>
          </p:nvPr>
        </p:nvSpPr>
        <p:spPr>
          <a:xfrm>
            <a:off x="410878" y="411083"/>
            <a:ext cx="5292112" cy="776038"/>
          </a:xfrm>
        </p:spPr>
        <p:txBody>
          <a:bodyPr/>
          <a:lstStyle/>
          <a:p>
            <a:r>
              <a:rPr lang="en-US"/>
              <a:t>Click to edit Master title style</a:t>
            </a:r>
            <a:endParaRPr lang="en-US" dirty="0"/>
          </a:p>
        </p:txBody>
      </p:sp>
      <p:sp>
        <p:nvSpPr>
          <p:cNvPr id="3" name="Content Placeholder 2"/>
          <p:cNvSpPr>
            <a:spLocks noGrp="1"/>
          </p:cNvSpPr>
          <p:nvPr>
            <p:ph sz="half" idx="1"/>
          </p:nvPr>
        </p:nvSpPr>
        <p:spPr>
          <a:xfrm>
            <a:off x="410878" y="1521184"/>
            <a:ext cx="5292112" cy="44947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a:xfrm>
            <a:off x="920368" y="6332830"/>
            <a:ext cx="4784400" cy="273450"/>
          </a:xfrm>
          <a:prstGeom prst="rect">
            <a:avLst/>
          </a:prstGeom>
        </p:spPr>
        <p:txBody>
          <a:bodyPr/>
          <a:lstStyle/>
          <a:p>
            <a:r>
              <a:rPr lang="en-GB"/>
              <a:t>Document Name</a:t>
            </a:r>
            <a:endParaRPr lang="en-US"/>
          </a:p>
        </p:txBody>
      </p:sp>
      <p:sp>
        <p:nvSpPr>
          <p:cNvPr id="7" name="Slide Number Placeholder 6"/>
          <p:cNvSpPr>
            <a:spLocks noGrp="1"/>
          </p:cNvSpPr>
          <p:nvPr>
            <p:ph type="sldNum" sz="quarter" idx="12"/>
          </p:nvPr>
        </p:nvSpPr>
        <p:spPr/>
        <p:txBody>
          <a:bodyPr/>
          <a:lstStyle/>
          <a:p>
            <a:fld id="{32B354EE-31EA-4FC2-9496-7B6202183237}" type="slidenum">
              <a:rPr lang="en-US" smtClean="0"/>
              <a:t>‹#›</a:t>
            </a:fld>
            <a:endParaRPr lang="en-US"/>
          </a:p>
        </p:txBody>
      </p:sp>
    </p:spTree>
    <p:extLst>
      <p:ext uri="{BB962C8B-B14F-4D97-AF65-F5344CB8AC3E}">
        <p14:creationId xmlns:p14="http://schemas.microsoft.com/office/powerpoint/2010/main" val="1048016576"/>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ext and Image Lef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623EE699-16B4-4E6C-852E-7A2C3D133E42}"/>
              </a:ext>
            </a:extLst>
          </p:cNvPr>
          <p:cNvSpPr>
            <a:spLocks noGrp="1"/>
          </p:cNvSpPr>
          <p:nvPr>
            <p:ph type="pic" sz="quarter" idx="13"/>
          </p:nvPr>
        </p:nvSpPr>
        <p:spPr>
          <a:xfrm>
            <a:off x="3" y="-1"/>
            <a:ext cx="6095094" cy="6858000"/>
          </a:xfrm>
          <a:solidFill>
            <a:schemeClr val="bg1">
              <a:lumMod val="85000"/>
            </a:schemeClr>
          </a:solidFill>
        </p:spPr>
        <p:txBody>
          <a:bodyPr/>
          <a:lstStyle/>
          <a:p>
            <a:r>
              <a:rPr lang="en-US"/>
              <a:t>Click icon to add picture</a:t>
            </a:r>
            <a:endParaRPr lang="en-GB"/>
          </a:p>
        </p:txBody>
      </p:sp>
      <p:sp>
        <p:nvSpPr>
          <p:cNvPr id="2" name="Title 1"/>
          <p:cNvSpPr>
            <a:spLocks noGrp="1"/>
          </p:cNvSpPr>
          <p:nvPr>
            <p:ph type="title"/>
          </p:nvPr>
        </p:nvSpPr>
        <p:spPr>
          <a:xfrm>
            <a:off x="6487200" y="411083"/>
            <a:ext cx="5292000" cy="776038"/>
          </a:xfrm>
        </p:spPr>
        <p:txBody>
          <a:bodyPr/>
          <a:lstStyle/>
          <a:p>
            <a:r>
              <a:rPr lang="en-US"/>
              <a:t>Click to edit Master title style</a:t>
            </a:r>
            <a:endParaRPr lang="en-US" dirty="0"/>
          </a:p>
        </p:txBody>
      </p:sp>
      <p:sp>
        <p:nvSpPr>
          <p:cNvPr id="3" name="Content Placeholder 2"/>
          <p:cNvSpPr>
            <a:spLocks noGrp="1"/>
          </p:cNvSpPr>
          <p:nvPr>
            <p:ph sz="half" idx="1"/>
          </p:nvPr>
        </p:nvSpPr>
        <p:spPr>
          <a:xfrm>
            <a:off x="6487200" y="1521184"/>
            <a:ext cx="5292000" cy="44947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a:xfrm>
            <a:off x="920368" y="6332830"/>
            <a:ext cx="4784400" cy="273450"/>
          </a:xfrm>
          <a:prstGeom prst="rect">
            <a:avLst/>
          </a:prstGeom>
        </p:spPr>
        <p:txBody>
          <a:bodyPr/>
          <a:lstStyle/>
          <a:p>
            <a:r>
              <a:rPr lang="en-GB"/>
              <a:t>Document Name</a:t>
            </a:r>
            <a:endParaRPr lang="en-US"/>
          </a:p>
        </p:txBody>
      </p:sp>
      <p:sp>
        <p:nvSpPr>
          <p:cNvPr id="7" name="Slide Number Placeholder 6"/>
          <p:cNvSpPr>
            <a:spLocks noGrp="1"/>
          </p:cNvSpPr>
          <p:nvPr>
            <p:ph type="sldNum" sz="quarter" idx="12"/>
          </p:nvPr>
        </p:nvSpPr>
        <p:spPr/>
        <p:txBody>
          <a:bodyPr/>
          <a:lstStyle/>
          <a:p>
            <a:fld id="{32B354EE-31EA-4FC2-9496-7B6202183237}" type="slidenum">
              <a:rPr lang="en-US" smtClean="0"/>
              <a:t>‹#›</a:t>
            </a:fld>
            <a:endParaRPr lang="en-US"/>
          </a:p>
        </p:txBody>
      </p:sp>
    </p:spTree>
    <p:extLst>
      <p:ext uri="{BB962C8B-B14F-4D97-AF65-F5344CB8AC3E}">
        <p14:creationId xmlns:p14="http://schemas.microsoft.com/office/powerpoint/2010/main" val="2515081393"/>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ext, Key Info and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623EE699-16B4-4E6C-852E-7A2C3D133E42}"/>
              </a:ext>
            </a:extLst>
          </p:cNvPr>
          <p:cNvSpPr>
            <a:spLocks noGrp="1"/>
          </p:cNvSpPr>
          <p:nvPr>
            <p:ph type="pic" sz="quarter" idx="13"/>
          </p:nvPr>
        </p:nvSpPr>
        <p:spPr>
          <a:xfrm>
            <a:off x="6096906" y="3429905"/>
            <a:ext cx="6095094" cy="3428095"/>
          </a:xfrm>
          <a:solidFill>
            <a:schemeClr val="bg1">
              <a:lumMod val="85000"/>
            </a:schemeClr>
          </a:solidFill>
        </p:spPr>
        <p:txBody>
          <a:bodyPr/>
          <a:lstStyle/>
          <a:p>
            <a:r>
              <a:rPr lang="en-US"/>
              <a:t>Click icon to add picture</a:t>
            </a:r>
            <a:endParaRPr lang="en-GB"/>
          </a:p>
        </p:txBody>
      </p:sp>
      <p:sp>
        <p:nvSpPr>
          <p:cNvPr id="3" name="Content Placeholder 2"/>
          <p:cNvSpPr>
            <a:spLocks noGrp="1"/>
          </p:cNvSpPr>
          <p:nvPr>
            <p:ph sz="half" idx="1"/>
          </p:nvPr>
        </p:nvSpPr>
        <p:spPr>
          <a:xfrm>
            <a:off x="410878" y="1521184"/>
            <a:ext cx="5292112" cy="4494733"/>
          </a:xfrm>
        </p:spPr>
        <p:txBody>
          <a:bodyPr/>
          <a:lstStyle>
            <a:lvl1pPr>
              <a:defRPr sz="1597"/>
            </a:lvl1pPr>
            <a:lvl2pPr>
              <a:defRPr sz="1597"/>
            </a:lvl2pPr>
            <a:lvl3pPr>
              <a:defRPr sz="1597"/>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a:xfrm>
            <a:off x="920368" y="6332830"/>
            <a:ext cx="4784400" cy="273450"/>
          </a:xfrm>
          <a:prstGeom prst="rect">
            <a:avLst/>
          </a:prstGeom>
        </p:spPr>
        <p:txBody>
          <a:bodyPr/>
          <a:lstStyle/>
          <a:p>
            <a:r>
              <a:rPr lang="en-GB"/>
              <a:t>Document Name</a:t>
            </a:r>
            <a:endParaRPr lang="en-US"/>
          </a:p>
        </p:txBody>
      </p:sp>
      <p:sp>
        <p:nvSpPr>
          <p:cNvPr id="7" name="Slide Number Placeholder 6"/>
          <p:cNvSpPr>
            <a:spLocks noGrp="1"/>
          </p:cNvSpPr>
          <p:nvPr>
            <p:ph type="sldNum" sz="quarter" idx="12"/>
          </p:nvPr>
        </p:nvSpPr>
        <p:spPr/>
        <p:txBody>
          <a:bodyPr/>
          <a:lstStyle/>
          <a:p>
            <a:fld id="{32B354EE-31EA-4FC2-9496-7B6202183237}" type="slidenum">
              <a:rPr lang="en-US" smtClean="0"/>
              <a:t>‹#›</a:t>
            </a:fld>
            <a:endParaRPr lang="en-US"/>
          </a:p>
        </p:txBody>
      </p:sp>
      <p:sp>
        <p:nvSpPr>
          <p:cNvPr id="5" name="Text Placeholder 4">
            <a:extLst>
              <a:ext uri="{FF2B5EF4-FFF2-40B4-BE49-F238E27FC236}">
                <a16:creationId xmlns:a16="http://schemas.microsoft.com/office/drawing/2014/main" id="{F57219E9-6258-4F28-A57E-2D2A7A1479EF}"/>
              </a:ext>
            </a:extLst>
          </p:cNvPr>
          <p:cNvSpPr>
            <a:spLocks noGrp="1"/>
          </p:cNvSpPr>
          <p:nvPr>
            <p:ph type="body" sz="quarter" idx="14"/>
          </p:nvPr>
        </p:nvSpPr>
        <p:spPr>
          <a:xfrm>
            <a:off x="6096906" y="4"/>
            <a:ext cx="6095094" cy="3429905"/>
          </a:xfrm>
          <a:gradFill>
            <a:gsLst>
              <a:gs pos="50000">
                <a:srgbClr val="00E487"/>
              </a:gs>
              <a:gs pos="100000">
                <a:srgbClr val="1ECBD0"/>
              </a:gs>
            </a:gsLst>
            <a:lin ang="18900000" scaled="0"/>
          </a:gradFill>
        </p:spPr>
        <p:txBody>
          <a:bodyPr lIns="360000" tIns="360000" rIns="360000" bIns="360000" anchor="ctr"/>
          <a:lstStyle>
            <a:lvl1pPr algn="ctr">
              <a:defRPr sz="3400">
                <a:solidFill>
                  <a:schemeClr val="tx2"/>
                </a:solidFill>
                <a:latin typeface="+mj-lt"/>
              </a:defRPr>
            </a:lvl1pPr>
          </a:lstStyle>
          <a:p>
            <a:pPr lvl="0"/>
            <a:r>
              <a:rPr lang="en-US"/>
              <a:t>Click to edit Master text styles</a:t>
            </a:r>
          </a:p>
        </p:txBody>
      </p:sp>
      <p:sp>
        <p:nvSpPr>
          <p:cNvPr id="4" name="Title 3">
            <a:extLst>
              <a:ext uri="{FF2B5EF4-FFF2-40B4-BE49-F238E27FC236}">
                <a16:creationId xmlns:a16="http://schemas.microsoft.com/office/drawing/2014/main" id="{73F85738-4ACC-4932-9AC9-54B0CFBC9C5F}"/>
              </a:ext>
            </a:extLst>
          </p:cNvPr>
          <p:cNvSpPr>
            <a:spLocks noGrp="1"/>
          </p:cNvSpPr>
          <p:nvPr>
            <p:ph type="title"/>
          </p:nvPr>
        </p:nvSpPr>
        <p:spPr>
          <a:xfrm>
            <a:off x="410879" y="410669"/>
            <a:ext cx="5292111" cy="776038"/>
          </a:xfrm>
        </p:spPr>
        <p:txBody>
          <a:bodyPr/>
          <a:lstStyle/>
          <a:p>
            <a:r>
              <a:rPr lang="en-US"/>
              <a:t>Click to edit Master title style</a:t>
            </a:r>
            <a:endParaRPr lang="en-GB"/>
          </a:p>
        </p:txBody>
      </p:sp>
    </p:spTree>
    <p:extLst>
      <p:ext uri="{BB962C8B-B14F-4D97-AF65-F5344CB8AC3E}">
        <p14:creationId xmlns:p14="http://schemas.microsoft.com/office/powerpoint/2010/main" val="413133967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Key Figure and Content">
    <p:spTree>
      <p:nvGrpSpPr>
        <p:cNvPr id="1" name=""/>
        <p:cNvGrpSpPr/>
        <p:nvPr/>
      </p:nvGrpSpPr>
      <p:grpSpPr>
        <a:xfrm>
          <a:off x="0" y="0"/>
          <a:ext cx="0" cy="0"/>
          <a:chOff x="0" y="0"/>
          <a:chExt cx="0" cy="0"/>
        </a:xfrm>
      </p:grpSpPr>
      <p:sp>
        <p:nvSpPr>
          <p:cNvPr id="9" name="Text Placeholder 4">
            <a:extLst>
              <a:ext uri="{FF2B5EF4-FFF2-40B4-BE49-F238E27FC236}">
                <a16:creationId xmlns:a16="http://schemas.microsoft.com/office/drawing/2014/main" id="{2AF37378-9CE3-46C1-80C8-30215DE1AF63}"/>
              </a:ext>
            </a:extLst>
          </p:cNvPr>
          <p:cNvSpPr>
            <a:spLocks noGrp="1"/>
          </p:cNvSpPr>
          <p:nvPr>
            <p:ph type="body" sz="quarter" idx="14"/>
          </p:nvPr>
        </p:nvSpPr>
        <p:spPr>
          <a:xfrm>
            <a:off x="906" y="-905"/>
            <a:ext cx="6095094" cy="6858905"/>
          </a:xfrm>
          <a:solidFill>
            <a:schemeClr val="accent3"/>
          </a:solidFill>
        </p:spPr>
        <p:txBody>
          <a:bodyPr lIns="360000" tIns="360000" rIns="360000" bIns="360000" anchor="ctr"/>
          <a:lstStyle>
            <a:lvl1pPr algn="ctr">
              <a:defRPr sz="4600">
                <a:solidFill>
                  <a:schemeClr val="tx2"/>
                </a:solidFill>
                <a:latin typeface="+mj-lt"/>
              </a:defRPr>
            </a:lvl1pPr>
          </a:lstStyle>
          <a:p>
            <a:pPr lvl="0"/>
            <a:r>
              <a:rPr lang="en-US"/>
              <a:t>Click to edit Master text styles</a:t>
            </a:r>
          </a:p>
        </p:txBody>
      </p:sp>
      <p:sp>
        <p:nvSpPr>
          <p:cNvPr id="2" name="Title 1"/>
          <p:cNvSpPr>
            <a:spLocks noGrp="1"/>
          </p:cNvSpPr>
          <p:nvPr>
            <p:ph type="title"/>
          </p:nvPr>
        </p:nvSpPr>
        <p:spPr>
          <a:xfrm>
            <a:off x="6487200" y="411083"/>
            <a:ext cx="5292000" cy="776038"/>
          </a:xfrm>
        </p:spPr>
        <p:txBody>
          <a:bodyPr/>
          <a:lstStyle/>
          <a:p>
            <a:r>
              <a:rPr lang="en-US"/>
              <a:t>Click to edit Master title style</a:t>
            </a:r>
            <a:endParaRPr lang="en-US" dirty="0"/>
          </a:p>
        </p:txBody>
      </p:sp>
      <p:sp>
        <p:nvSpPr>
          <p:cNvPr id="3" name="Content Placeholder 2"/>
          <p:cNvSpPr>
            <a:spLocks noGrp="1"/>
          </p:cNvSpPr>
          <p:nvPr>
            <p:ph sz="half" idx="1"/>
          </p:nvPr>
        </p:nvSpPr>
        <p:spPr>
          <a:xfrm>
            <a:off x="6487200" y="1521184"/>
            <a:ext cx="5292000" cy="44947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a:xfrm>
            <a:off x="920368" y="6332830"/>
            <a:ext cx="4784400" cy="273450"/>
          </a:xfrm>
          <a:prstGeom prst="rect">
            <a:avLst/>
          </a:prstGeom>
        </p:spPr>
        <p:txBody>
          <a:bodyPr/>
          <a:lstStyle/>
          <a:p>
            <a:r>
              <a:rPr lang="en-GB"/>
              <a:t>Document Name</a:t>
            </a:r>
            <a:endParaRPr lang="en-US"/>
          </a:p>
        </p:txBody>
      </p:sp>
      <p:sp>
        <p:nvSpPr>
          <p:cNvPr id="7" name="Slide Number Placeholder 6"/>
          <p:cNvSpPr>
            <a:spLocks noGrp="1"/>
          </p:cNvSpPr>
          <p:nvPr>
            <p:ph type="sldNum" sz="quarter" idx="12"/>
          </p:nvPr>
        </p:nvSpPr>
        <p:spPr/>
        <p:txBody>
          <a:bodyPr/>
          <a:lstStyle/>
          <a:p>
            <a:fld id="{32B354EE-31EA-4FC2-9496-7B6202183237}" type="slidenum">
              <a:rPr lang="en-US" smtClean="0"/>
              <a:t>‹#›</a:t>
            </a:fld>
            <a:endParaRPr lang="en-US"/>
          </a:p>
        </p:txBody>
      </p:sp>
    </p:spTree>
    <p:extLst>
      <p:ext uri="{BB962C8B-B14F-4D97-AF65-F5344CB8AC3E}">
        <p14:creationId xmlns:p14="http://schemas.microsoft.com/office/powerpoint/2010/main" val="1179071035"/>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ext and Large Image">
    <p:bg>
      <p:bgPr>
        <a:solidFill>
          <a:schemeClr val="tx2"/>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C1E61418-E972-40CA-AF1C-5059724D8739}"/>
              </a:ext>
            </a:extLst>
          </p:cNvPr>
          <p:cNvSpPr>
            <a:spLocks noGrp="1"/>
          </p:cNvSpPr>
          <p:nvPr>
            <p:ph type="pic" sz="quarter" idx="14"/>
          </p:nvPr>
        </p:nvSpPr>
        <p:spPr>
          <a:xfrm>
            <a:off x="3660000" y="0"/>
            <a:ext cx="8532000" cy="6858000"/>
          </a:xfrm>
          <a:solidFill>
            <a:schemeClr val="bg1">
              <a:lumMod val="85000"/>
            </a:schemeClr>
          </a:solidFill>
        </p:spPr>
        <p:txBody>
          <a:bodyPr/>
          <a:lstStyle/>
          <a:p>
            <a:r>
              <a:rPr lang="en-US"/>
              <a:t>Click icon to add picture</a:t>
            </a:r>
            <a:endParaRPr lang="en-GB" dirty="0"/>
          </a:p>
        </p:txBody>
      </p:sp>
      <p:sp>
        <p:nvSpPr>
          <p:cNvPr id="4" name="Footer Placeholder 3">
            <a:extLst>
              <a:ext uri="{FF2B5EF4-FFF2-40B4-BE49-F238E27FC236}">
                <a16:creationId xmlns:a16="http://schemas.microsoft.com/office/drawing/2014/main" id="{265266B1-3B43-413F-B581-A2BA7F232AAD}"/>
              </a:ext>
            </a:extLst>
          </p:cNvPr>
          <p:cNvSpPr>
            <a:spLocks noGrp="1"/>
          </p:cNvSpPr>
          <p:nvPr>
            <p:ph type="ftr" sz="quarter" idx="11"/>
          </p:nvPr>
        </p:nvSpPr>
        <p:spPr>
          <a:xfrm>
            <a:off x="920368" y="6332830"/>
            <a:ext cx="4784400" cy="273450"/>
          </a:xfrm>
          <a:prstGeom prst="rect">
            <a:avLst/>
          </a:prstGeom>
        </p:spPr>
        <p:txBody>
          <a:bodyPr/>
          <a:lstStyle>
            <a:lvl1pPr>
              <a:defRPr>
                <a:solidFill>
                  <a:schemeClr val="bg1"/>
                </a:solidFill>
              </a:defRPr>
            </a:lvl1pPr>
          </a:lstStyle>
          <a:p>
            <a:r>
              <a:rPr lang="en-GB"/>
              <a:t>Document Name</a:t>
            </a:r>
            <a:endParaRPr lang="en-US"/>
          </a:p>
        </p:txBody>
      </p:sp>
      <p:sp>
        <p:nvSpPr>
          <p:cNvPr id="5" name="Slide Number Placeholder 4">
            <a:extLst>
              <a:ext uri="{FF2B5EF4-FFF2-40B4-BE49-F238E27FC236}">
                <a16:creationId xmlns:a16="http://schemas.microsoft.com/office/drawing/2014/main" id="{114087E5-4709-465C-88EF-C43AFDD767F1}"/>
              </a:ext>
            </a:extLst>
          </p:cNvPr>
          <p:cNvSpPr>
            <a:spLocks noGrp="1"/>
          </p:cNvSpPr>
          <p:nvPr>
            <p:ph type="sldNum" sz="quarter" idx="12"/>
          </p:nvPr>
        </p:nvSpPr>
        <p:spPr/>
        <p:txBody>
          <a:bodyPr/>
          <a:lstStyle>
            <a:lvl1pPr>
              <a:defRPr>
                <a:solidFill>
                  <a:schemeClr val="bg1"/>
                </a:solidFill>
              </a:defRPr>
            </a:lvl1pPr>
          </a:lstStyle>
          <a:p>
            <a:fld id="{32B354EE-31EA-4FC2-9496-7B6202183237}" type="slidenum">
              <a:rPr lang="en-US" smtClean="0"/>
              <a:pPr/>
              <a:t>‹#›</a:t>
            </a:fld>
            <a:endParaRPr lang="en-US"/>
          </a:p>
        </p:txBody>
      </p:sp>
      <p:sp>
        <p:nvSpPr>
          <p:cNvPr id="7" name="Text Placeholder 6">
            <a:extLst>
              <a:ext uri="{FF2B5EF4-FFF2-40B4-BE49-F238E27FC236}">
                <a16:creationId xmlns:a16="http://schemas.microsoft.com/office/drawing/2014/main" id="{D7F08074-975D-439A-8214-343997E50101}"/>
              </a:ext>
            </a:extLst>
          </p:cNvPr>
          <p:cNvSpPr>
            <a:spLocks noGrp="1"/>
          </p:cNvSpPr>
          <p:nvPr>
            <p:ph type="body" sz="quarter" idx="13"/>
          </p:nvPr>
        </p:nvSpPr>
        <p:spPr>
          <a:xfrm>
            <a:off x="413104" y="1521184"/>
            <a:ext cx="2830327" cy="4494733"/>
          </a:xfrm>
        </p:spPr>
        <p:txBody>
          <a:bodyPr/>
          <a:lstStyle>
            <a:lvl1pPr>
              <a:defRPr>
                <a:solidFill>
                  <a:schemeClr val="bg1"/>
                </a:solidFill>
              </a:defRPr>
            </a:lvl1pPr>
            <a:lvl2pPr>
              <a:defRPr>
                <a:solidFill>
                  <a:schemeClr val="bg1"/>
                </a:solidFill>
              </a:defRPr>
            </a:lvl2pPr>
            <a:lvl3pPr>
              <a:defRPr>
                <a:solidFill>
                  <a:schemeClr val="accent3"/>
                </a:solidFill>
              </a:defRPr>
            </a:lvl3pPr>
            <a:lvl4pPr>
              <a:buClr>
                <a:schemeClr val="accent3"/>
              </a:buClr>
              <a:defRPr>
                <a:solidFill>
                  <a:schemeClr val="bg1"/>
                </a:solidFill>
              </a:defRPr>
            </a:lvl4pPr>
            <a:lvl5pPr>
              <a:buClr>
                <a:schemeClr val="accent3"/>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C4B74708-2400-4449-A566-F6158A62A027}"/>
              </a:ext>
            </a:extLst>
          </p:cNvPr>
          <p:cNvSpPr>
            <a:spLocks noGrp="1"/>
          </p:cNvSpPr>
          <p:nvPr>
            <p:ph type="title"/>
          </p:nvPr>
        </p:nvSpPr>
        <p:spPr>
          <a:xfrm>
            <a:off x="410879" y="410669"/>
            <a:ext cx="2830327" cy="776038"/>
          </a:xfrm>
        </p:spPr>
        <p:txBody>
          <a:bodyPr/>
          <a:lstStyle>
            <a:lvl1pPr>
              <a:defRPr>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78364246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wo Content Dark Righ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D86AC41-762B-4924-A899-F81343A12E1E}"/>
              </a:ext>
            </a:extLst>
          </p:cNvPr>
          <p:cNvSpPr/>
          <p:nvPr/>
        </p:nvSpPr>
        <p:spPr>
          <a:xfrm>
            <a:off x="6096001" y="4"/>
            <a:ext cx="6096000" cy="6858000"/>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42" dirty="0"/>
          </a:p>
        </p:txBody>
      </p:sp>
      <p:sp>
        <p:nvSpPr>
          <p:cNvPr id="3" name="Content Placeholder 2"/>
          <p:cNvSpPr>
            <a:spLocks noGrp="1"/>
          </p:cNvSpPr>
          <p:nvPr>
            <p:ph sz="half" idx="1"/>
          </p:nvPr>
        </p:nvSpPr>
        <p:spPr>
          <a:xfrm>
            <a:off x="410878" y="1521184"/>
            <a:ext cx="5292112" cy="44947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486790" y="1521184"/>
            <a:ext cx="5292112" cy="4494733"/>
          </a:xfrm>
        </p:spPr>
        <p:txBody>
          <a:bodyPr/>
          <a:lstStyle>
            <a:lvl1pPr>
              <a:defRPr>
                <a:solidFill>
                  <a:schemeClr val="bg1"/>
                </a:solidFill>
              </a:defRPr>
            </a:lvl1pPr>
            <a:lvl2pPr>
              <a:defRPr>
                <a:solidFill>
                  <a:schemeClr val="bg1"/>
                </a:solidFill>
              </a:defRPr>
            </a:lvl2pPr>
            <a:lvl3pPr>
              <a:defRPr>
                <a:solidFill>
                  <a:schemeClr val="accent3"/>
                </a:solidFill>
              </a:defRPr>
            </a:lvl3pPr>
            <a:lvl4pPr>
              <a:buClr>
                <a:schemeClr val="accent3"/>
              </a:buClr>
              <a:defRPr>
                <a:solidFill>
                  <a:schemeClr val="bg1"/>
                </a:solidFill>
              </a:defRPr>
            </a:lvl4pPr>
            <a:lvl5pPr>
              <a:buClr>
                <a:schemeClr val="accent3"/>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a:xfrm>
            <a:off x="920368" y="6332830"/>
            <a:ext cx="4784400" cy="273450"/>
          </a:xfrm>
          <a:prstGeom prst="rect">
            <a:avLst/>
          </a:prstGeom>
        </p:spPr>
        <p:txBody>
          <a:bodyPr/>
          <a:lstStyle/>
          <a:p>
            <a:r>
              <a:rPr lang="en-GB"/>
              <a:t>Document Name</a:t>
            </a:r>
            <a:endParaRPr lang="en-US"/>
          </a:p>
        </p:txBody>
      </p:sp>
      <p:sp>
        <p:nvSpPr>
          <p:cNvPr id="7" name="Slide Number Placeholder 6"/>
          <p:cNvSpPr>
            <a:spLocks noGrp="1"/>
          </p:cNvSpPr>
          <p:nvPr>
            <p:ph type="sldNum" sz="quarter" idx="12"/>
          </p:nvPr>
        </p:nvSpPr>
        <p:spPr/>
        <p:txBody>
          <a:bodyPr/>
          <a:lstStyle/>
          <a:p>
            <a:fld id="{32B354EE-31EA-4FC2-9496-7B6202183237}" type="slidenum">
              <a:rPr lang="en-US" smtClean="0"/>
              <a:t>‹#›</a:t>
            </a:fld>
            <a:endParaRPr lang="en-US"/>
          </a:p>
        </p:txBody>
      </p:sp>
      <p:sp>
        <p:nvSpPr>
          <p:cNvPr id="8" name="Title 7">
            <a:extLst>
              <a:ext uri="{FF2B5EF4-FFF2-40B4-BE49-F238E27FC236}">
                <a16:creationId xmlns:a16="http://schemas.microsoft.com/office/drawing/2014/main" id="{97185569-060C-4071-87A6-3F288164C3BB}"/>
              </a:ext>
            </a:extLst>
          </p:cNvPr>
          <p:cNvSpPr>
            <a:spLocks noGrp="1"/>
          </p:cNvSpPr>
          <p:nvPr>
            <p:ph type="title"/>
          </p:nvPr>
        </p:nvSpPr>
        <p:spPr>
          <a:xfrm>
            <a:off x="410879" y="410669"/>
            <a:ext cx="5292111" cy="776038"/>
          </a:xfrm>
        </p:spPr>
        <p:txBody>
          <a:bodyPr/>
          <a:lstStyle/>
          <a:p>
            <a:r>
              <a:rPr lang="en-US"/>
              <a:t>Click to edit Master title style</a:t>
            </a:r>
            <a:endParaRPr lang="en-GB" dirty="0"/>
          </a:p>
        </p:txBody>
      </p:sp>
      <p:grpSp>
        <p:nvGrpSpPr>
          <p:cNvPr id="20" name="Group 4">
            <a:extLst>
              <a:ext uri="{FF2B5EF4-FFF2-40B4-BE49-F238E27FC236}">
                <a16:creationId xmlns:a16="http://schemas.microsoft.com/office/drawing/2014/main" id="{AC999FBB-C1D6-4B26-85DA-C35A9AE89FCD}"/>
              </a:ext>
            </a:extLst>
          </p:cNvPr>
          <p:cNvGrpSpPr>
            <a:grpSpLocks noChangeAspect="1"/>
          </p:cNvGrpSpPr>
          <p:nvPr/>
        </p:nvGrpSpPr>
        <p:grpSpPr bwMode="auto">
          <a:xfrm>
            <a:off x="11179123" y="6332830"/>
            <a:ext cx="607829" cy="148182"/>
            <a:chOff x="2071" y="1578"/>
            <a:chExt cx="2587" cy="631"/>
          </a:xfrm>
          <a:gradFill>
            <a:gsLst>
              <a:gs pos="50000">
                <a:srgbClr val="00E487"/>
              </a:gs>
              <a:gs pos="100000">
                <a:srgbClr val="1ECBD0"/>
              </a:gs>
            </a:gsLst>
            <a:lin ang="18900000" scaled="0"/>
          </a:gradFill>
        </p:grpSpPr>
        <p:sp>
          <p:nvSpPr>
            <p:cNvPr id="21" name="Freeform 5">
              <a:extLst>
                <a:ext uri="{FF2B5EF4-FFF2-40B4-BE49-F238E27FC236}">
                  <a16:creationId xmlns:a16="http://schemas.microsoft.com/office/drawing/2014/main" id="{1EF72B13-9B15-4498-BB43-905E33674BDE}"/>
                </a:ext>
              </a:extLst>
            </p:cNvPr>
            <p:cNvSpPr>
              <a:spLocks/>
            </p:cNvSpPr>
            <p:nvPr/>
          </p:nvSpPr>
          <p:spPr bwMode="auto">
            <a:xfrm>
              <a:off x="2765" y="1728"/>
              <a:ext cx="244" cy="318"/>
            </a:xfrm>
            <a:custGeom>
              <a:avLst/>
              <a:gdLst>
                <a:gd name="T0" fmla="*/ 12 w 129"/>
                <a:gd name="T1" fmla="*/ 0 h 168"/>
                <a:gd name="T2" fmla="*/ 8 w 129"/>
                <a:gd name="T3" fmla="*/ 4 h 168"/>
                <a:gd name="T4" fmla="*/ 8 w 129"/>
                <a:gd name="T5" fmla="*/ 25 h 168"/>
                <a:gd name="T6" fmla="*/ 12 w 129"/>
                <a:gd name="T7" fmla="*/ 29 h 168"/>
                <a:gd name="T8" fmla="*/ 48 w 129"/>
                <a:gd name="T9" fmla="*/ 29 h 168"/>
                <a:gd name="T10" fmla="*/ 48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2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2" y="0"/>
                  </a:moveTo>
                  <a:cubicBezTo>
                    <a:pt x="9" y="0"/>
                    <a:pt x="8" y="1"/>
                    <a:pt x="8" y="4"/>
                  </a:cubicBezTo>
                  <a:cubicBezTo>
                    <a:pt x="8" y="25"/>
                    <a:pt x="8" y="25"/>
                    <a:pt x="8" y="25"/>
                  </a:cubicBezTo>
                  <a:cubicBezTo>
                    <a:pt x="8" y="27"/>
                    <a:pt x="9" y="29"/>
                    <a:pt x="12" y="29"/>
                  </a:cubicBezTo>
                  <a:cubicBezTo>
                    <a:pt x="48" y="29"/>
                    <a:pt x="48" y="29"/>
                    <a:pt x="48" y="29"/>
                  </a:cubicBezTo>
                  <a:cubicBezTo>
                    <a:pt x="48" y="140"/>
                    <a:pt x="48" y="140"/>
                    <a:pt x="48"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8" y="140"/>
                    <a:pt x="125" y="140"/>
                  </a:cubicBezTo>
                  <a:cubicBezTo>
                    <a:pt x="76" y="140"/>
                    <a:pt x="76" y="140"/>
                    <a:pt x="76" y="140"/>
                  </a:cubicBezTo>
                  <a:cubicBezTo>
                    <a:pt x="76" y="4"/>
                    <a:pt x="76" y="4"/>
                    <a:pt x="76" y="4"/>
                  </a:cubicBezTo>
                  <a:cubicBezTo>
                    <a:pt x="76" y="1"/>
                    <a:pt x="75" y="0"/>
                    <a:pt x="72" y="0"/>
                  </a:cubicBez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dirty="0"/>
            </a:p>
          </p:txBody>
        </p:sp>
        <p:sp>
          <p:nvSpPr>
            <p:cNvPr id="22" name="Freeform 6">
              <a:extLst>
                <a:ext uri="{FF2B5EF4-FFF2-40B4-BE49-F238E27FC236}">
                  <a16:creationId xmlns:a16="http://schemas.microsoft.com/office/drawing/2014/main" id="{B395E17D-434D-496F-ACED-68402E0837A9}"/>
                </a:ext>
              </a:extLst>
            </p:cNvPr>
            <p:cNvSpPr>
              <a:spLocks/>
            </p:cNvSpPr>
            <p:nvPr/>
          </p:nvSpPr>
          <p:spPr bwMode="auto">
            <a:xfrm>
              <a:off x="3798" y="1728"/>
              <a:ext cx="244" cy="318"/>
            </a:xfrm>
            <a:custGeom>
              <a:avLst/>
              <a:gdLst>
                <a:gd name="T0" fmla="*/ 11 w 129"/>
                <a:gd name="T1" fmla="*/ 0 h 168"/>
                <a:gd name="T2" fmla="*/ 8 w 129"/>
                <a:gd name="T3" fmla="*/ 4 h 168"/>
                <a:gd name="T4" fmla="*/ 8 w 129"/>
                <a:gd name="T5" fmla="*/ 25 h 168"/>
                <a:gd name="T6" fmla="*/ 11 w 129"/>
                <a:gd name="T7" fmla="*/ 29 h 168"/>
                <a:gd name="T8" fmla="*/ 47 w 129"/>
                <a:gd name="T9" fmla="*/ 29 h 168"/>
                <a:gd name="T10" fmla="*/ 47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1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1" y="0"/>
                  </a:moveTo>
                  <a:cubicBezTo>
                    <a:pt x="9" y="0"/>
                    <a:pt x="8" y="1"/>
                    <a:pt x="8" y="4"/>
                  </a:cubicBezTo>
                  <a:cubicBezTo>
                    <a:pt x="8" y="25"/>
                    <a:pt x="8" y="25"/>
                    <a:pt x="8" y="25"/>
                  </a:cubicBezTo>
                  <a:cubicBezTo>
                    <a:pt x="8" y="27"/>
                    <a:pt x="9" y="29"/>
                    <a:pt x="11" y="29"/>
                  </a:cubicBezTo>
                  <a:cubicBezTo>
                    <a:pt x="47" y="29"/>
                    <a:pt x="47" y="29"/>
                    <a:pt x="47" y="29"/>
                  </a:cubicBezTo>
                  <a:cubicBezTo>
                    <a:pt x="47" y="140"/>
                    <a:pt x="47" y="140"/>
                    <a:pt x="47"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7" y="140"/>
                    <a:pt x="125" y="140"/>
                  </a:cubicBezTo>
                  <a:cubicBezTo>
                    <a:pt x="76" y="140"/>
                    <a:pt x="76" y="140"/>
                    <a:pt x="76" y="140"/>
                  </a:cubicBezTo>
                  <a:cubicBezTo>
                    <a:pt x="76" y="4"/>
                    <a:pt x="76" y="4"/>
                    <a:pt x="76" y="4"/>
                  </a:cubicBezTo>
                  <a:cubicBezTo>
                    <a:pt x="75" y="1"/>
                    <a:pt x="74" y="0"/>
                    <a:pt x="72" y="0"/>
                  </a:cubicBez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dirty="0"/>
            </a:p>
          </p:txBody>
        </p:sp>
        <p:sp>
          <p:nvSpPr>
            <p:cNvPr id="23" name="Freeform 7">
              <a:extLst>
                <a:ext uri="{FF2B5EF4-FFF2-40B4-BE49-F238E27FC236}">
                  <a16:creationId xmlns:a16="http://schemas.microsoft.com/office/drawing/2014/main" id="{A5E2052B-5DD0-4BE1-B45C-38CD489F4334}"/>
                </a:ext>
              </a:extLst>
            </p:cNvPr>
            <p:cNvSpPr>
              <a:spLocks/>
            </p:cNvSpPr>
            <p:nvPr/>
          </p:nvSpPr>
          <p:spPr bwMode="auto">
            <a:xfrm>
              <a:off x="4361" y="1728"/>
              <a:ext cx="297" cy="464"/>
            </a:xfrm>
            <a:custGeom>
              <a:avLst/>
              <a:gdLst>
                <a:gd name="T0" fmla="*/ 132 w 157"/>
                <a:gd name="T1" fmla="*/ 0 h 245"/>
                <a:gd name="T2" fmla="*/ 127 w 157"/>
                <a:gd name="T3" fmla="*/ 3 h 245"/>
                <a:gd name="T4" fmla="*/ 127 w 157"/>
                <a:gd name="T5" fmla="*/ 3 h 245"/>
                <a:gd name="T6" fmla="*/ 79 w 157"/>
                <a:gd name="T7" fmla="*/ 128 h 245"/>
                <a:gd name="T8" fmla="*/ 30 w 157"/>
                <a:gd name="T9" fmla="*/ 4 h 245"/>
                <a:gd name="T10" fmla="*/ 25 w 157"/>
                <a:gd name="T11" fmla="*/ 0 h 245"/>
                <a:gd name="T12" fmla="*/ 4 w 157"/>
                <a:gd name="T13" fmla="*/ 0 h 245"/>
                <a:gd name="T14" fmla="*/ 0 w 157"/>
                <a:gd name="T15" fmla="*/ 3 h 245"/>
                <a:gd name="T16" fmla="*/ 1 w 157"/>
                <a:gd name="T17" fmla="*/ 6 h 245"/>
                <a:gd name="T18" fmla="*/ 1 w 157"/>
                <a:gd name="T19" fmla="*/ 6 h 245"/>
                <a:gd name="T20" fmla="*/ 1 w 157"/>
                <a:gd name="T21" fmla="*/ 6 h 245"/>
                <a:gd name="T22" fmla="*/ 64 w 157"/>
                <a:gd name="T23" fmla="*/ 168 h 245"/>
                <a:gd name="T24" fmla="*/ 59 w 157"/>
                <a:gd name="T25" fmla="*/ 182 h 245"/>
                <a:gd name="T26" fmla="*/ 48 w 157"/>
                <a:gd name="T27" fmla="*/ 205 h 245"/>
                <a:gd name="T28" fmla="*/ 38 w 157"/>
                <a:gd name="T29" fmla="*/ 215 h 245"/>
                <a:gd name="T30" fmla="*/ 30 w 157"/>
                <a:gd name="T31" fmla="*/ 217 h 245"/>
                <a:gd name="T32" fmla="*/ 26 w 157"/>
                <a:gd name="T33" fmla="*/ 216 h 245"/>
                <a:gd name="T34" fmla="*/ 14 w 157"/>
                <a:gd name="T35" fmla="*/ 213 h 245"/>
                <a:gd name="T36" fmla="*/ 7 w 157"/>
                <a:gd name="T37" fmla="*/ 210 h 245"/>
                <a:gd name="T38" fmla="*/ 3 w 157"/>
                <a:gd name="T39" fmla="*/ 215 h 245"/>
                <a:gd name="T40" fmla="*/ 3 w 157"/>
                <a:gd name="T41" fmla="*/ 233 h 245"/>
                <a:gd name="T42" fmla="*/ 3 w 157"/>
                <a:gd name="T43" fmla="*/ 233 h 245"/>
                <a:gd name="T44" fmla="*/ 7 w 157"/>
                <a:gd name="T45" fmla="*/ 240 h 245"/>
                <a:gd name="T46" fmla="*/ 32 w 157"/>
                <a:gd name="T47" fmla="*/ 245 h 245"/>
                <a:gd name="T48" fmla="*/ 54 w 157"/>
                <a:gd name="T49" fmla="*/ 238 h 245"/>
                <a:gd name="T50" fmla="*/ 73 w 157"/>
                <a:gd name="T51" fmla="*/ 220 h 245"/>
                <a:gd name="T52" fmla="*/ 79 w 157"/>
                <a:gd name="T53" fmla="*/ 208 h 245"/>
                <a:gd name="T54" fmla="*/ 156 w 157"/>
                <a:gd name="T55" fmla="*/ 6 h 245"/>
                <a:gd name="T56" fmla="*/ 157 w 157"/>
                <a:gd name="T57" fmla="*/ 3 h 245"/>
                <a:gd name="T58" fmla="*/ 153 w 157"/>
                <a:gd name="T59" fmla="*/ 0 h 245"/>
                <a:gd name="T60" fmla="*/ 132 w 157"/>
                <a:gd name="T6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7" h="245">
                  <a:moveTo>
                    <a:pt x="132" y="0"/>
                  </a:moveTo>
                  <a:cubicBezTo>
                    <a:pt x="129" y="0"/>
                    <a:pt x="128" y="1"/>
                    <a:pt x="127" y="3"/>
                  </a:cubicBezTo>
                  <a:cubicBezTo>
                    <a:pt x="127" y="3"/>
                    <a:pt x="127" y="3"/>
                    <a:pt x="127" y="3"/>
                  </a:cubicBezTo>
                  <a:cubicBezTo>
                    <a:pt x="79" y="128"/>
                    <a:pt x="79" y="128"/>
                    <a:pt x="79" y="128"/>
                  </a:cubicBezTo>
                  <a:cubicBezTo>
                    <a:pt x="30" y="4"/>
                    <a:pt x="30" y="4"/>
                    <a:pt x="30" y="4"/>
                  </a:cubicBezTo>
                  <a:cubicBezTo>
                    <a:pt x="29" y="1"/>
                    <a:pt x="28" y="0"/>
                    <a:pt x="25" y="0"/>
                  </a:cubicBezTo>
                  <a:cubicBezTo>
                    <a:pt x="4" y="0"/>
                    <a:pt x="4" y="0"/>
                    <a:pt x="4" y="0"/>
                  </a:cubicBezTo>
                  <a:cubicBezTo>
                    <a:pt x="2" y="0"/>
                    <a:pt x="0" y="1"/>
                    <a:pt x="0" y="3"/>
                  </a:cubicBezTo>
                  <a:cubicBezTo>
                    <a:pt x="0" y="4"/>
                    <a:pt x="1" y="5"/>
                    <a:pt x="1" y="6"/>
                  </a:cubicBezTo>
                  <a:cubicBezTo>
                    <a:pt x="1" y="6"/>
                    <a:pt x="1" y="6"/>
                    <a:pt x="1" y="6"/>
                  </a:cubicBezTo>
                  <a:cubicBezTo>
                    <a:pt x="1" y="6"/>
                    <a:pt x="1" y="6"/>
                    <a:pt x="1" y="6"/>
                  </a:cubicBezTo>
                  <a:cubicBezTo>
                    <a:pt x="64" y="168"/>
                    <a:pt x="64" y="168"/>
                    <a:pt x="64" y="168"/>
                  </a:cubicBezTo>
                  <a:cubicBezTo>
                    <a:pt x="59" y="182"/>
                    <a:pt x="59" y="182"/>
                    <a:pt x="59" y="182"/>
                  </a:cubicBezTo>
                  <a:cubicBezTo>
                    <a:pt x="57" y="187"/>
                    <a:pt x="53" y="199"/>
                    <a:pt x="48" y="205"/>
                  </a:cubicBezTo>
                  <a:cubicBezTo>
                    <a:pt x="44" y="211"/>
                    <a:pt x="42" y="213"/>
                    <a:pt x="38" y="215"/>
                  </a:cubicBezTo>
                  <a:cubicBezTo>
                    <a:pt x="35" y="216"/>
                    <a:pt x="33" y="217"/>
                    <a:pt x="30" y="217"/>
                  </a:cubicBezTo>
                  <a:cubicBezTo>
                    <a:pt x="28" y="217"/>
                    <a:pt x="27" y="217"/>
                    <a:pt x="26" y="216"/>
                  </a:cubicBezTo>
                  <a:cubicBezTo>
                    <a:pt x="22" y="216"/>
                    <a:pt x="18" y="214"/>
                    <a:pt x="14" y="213"/>
                  </a:cubicBezTo>
                  <a:cubicBezTo>
                    <a:pt x="11" y="212"/>
                    <a:pt x="9" y="210"/>
                    <a:pt x="7" y="210"/>
                  </a:cubicBezTo>
                  <a:cubicBezTo>
                    <a:pt x="5" y="210"/>
                    <a:pt x="3" y="212"/>
                    <a:pt x="3" y="215"/>
                  </a:cubicBezTo>
                  <a:cubicBezTo>
                    <a:pt x="3" y="233"/>
                    <a:pt x="3" y="233"/>
                    <a:pt x="3" y="233"/>
                  </a:cubicBezTo>
                  <a:cubicBezTo>
                    <a:pt x="3" y="233"/>
                    <a:pt x="3" y="233"/>
                    <a:pt x="3" y="233"/>
                  </a:cubicBezTo>
                  <a:cubicBezTo>
                    <a:pt x="3" y="236"/>
                    <a:pt x="4" y="238"/>
                    <a:pt x="7" y="240"/>
                  </a:cubicBezTo>
                  <a:cubicBezTo>
                    <a:pt x="15" y="243"/>
                    <a:pt x="21" y="245"/>
                    <a:pt x="32" y="245"/>
                  </a:cubicBezTo>
                  <a:cubicBezTo>
                    <a:pt x="41" y="244"/>
                    <a:pt x="47" y="242"/>
                    <a:pt x="54" y="238"/>
                  </a:cubicBezTo>
                  <a:cubicBezTo>
                    <a:pt x="61" y="233"/>
                    <a:pt x="67" y="227"/>
                    <a:pt x="73" y="220"/>
                  </a:cubicBezTo>
                  <a:cubicBezTo>
                    <a:pt x="75" y="216"/>
                    <a:pt x="77" y="212"/>
                    <a:pt x="79" y="208"/>
                  </a:cubicBezTo>
                  <a:cubicBezTo>
                    <a:pt x="83" y="200"/>
                    <a:pt x="144" y="40"/>
                    <a:pt x="156" y="6"/>
                  </a:cubicBezTo>
                  <a:cubicBezTo>
                    <a:pt x="157" y="5"/>
                    <a:pt x="157" y="4"/>
                    <a:pt x="157" y="3"/>
                  </a:cubicBezTo>
                  <a:cubicBezTo>
                    <a:pt x="157" y="1"/>
                    <a:pt x="155" y="0"/>
                    <a:pt x="153" y="0"/>
                  </a:cubicBezTo>
                  <a:lnTo>
                    <a:pt x="1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dirty="0"/>
            </a:p>
          </p:txBody>
        </p:sp>
        <p:sp>
          <p:nvSpPr>
            <p:cNvPr id="24" name="Freeform 8">
              <a:extLst>
                <a:ext uri="{FF2B5EF4-FFF2-40B4-BE49-F238E27FC236}">
                  <a16:creationId xmlns:a16="http://schemas.microsoft.com/office/drawing/2014/main" id="{29E97861-81A0-48C0-8AEF-CACA7732ED6E}"/>
                </a:ext>
              </a:extLst>
            </p:cNvPr>
            <p:cNvSpPr>
              <a:spLocks/>
            </p:cNvSpPr>
            <p:nvPr/>
          </p:nvSpPr>
          <p:spPr bwMode="auto">
            <a:xfrm>
              <a:off x="3457" y="1726"/>
              <a:ext cx="263" cy="322"/>
            </a:xfrm>
            <a:custGeom>
              <a:avLst/>
              <a:gdLst>
                <a:gd name="T0" fmla="*/ 28 w 139"/>
                <a:gd name="T1" fmla="*/ 21 h 170"/>
                <a:gd name="T2" fmla="*/ 28 w 139"/>
                <a:gd name="T3" fmla="*/ 6 h 170"/>
                <a:gd name="T4" fmla="*/ 25 w 139"/>
                <a:gd name="T5" fmla="*/ 3 h 170"/>
                <a:gd name="T6" fmla="*/ 4 w 139"/>
                <a:gd name="T7" fmla="*/ 3 h 170"/>
                <a:gd name="T8" fmla="*/ 0 w 139"/>
                <a:gd name="T9" fmla="*/ 6 h 170"/>
                <a:gd name="T10" fmla="*/ 0 w 139"/>
                <a:gd name="T11" fmla="*/ 167 h 170"/>
                <a:gd name="T12" fmla="*/ 4 w 139"/>
                <a:gd name="T13" fmla="*/ 170 h 170"/>
                <a:gd name="T14" fmla="*/ 25 w 139"/>
                <a:gd name="T15" fmla="*/ 170 h 170"/>
                <a:gd name="T16" fmla="*/ 28 w 139"/>
                <a:gd name="T17" fmla="*/ 167 h 170"/>
                <a:gd name="T18" fmla="*/ 28 w 139"/>
                <a:gd name="T19" fmla="*/ 68 h 170"/>
                <a:gd name="T20" fmla="*/ 70 w 139"/>
                <a:gd name="T21" fmla="*/ 28 h 170"/>
                <a:gd name="T22" fmla="*/ 111 w 139"/>
                <a:gd name="T23" fmla="*/ 68 h 170"/>
                <a:gd name="T24" fmla="*/ 111 w 139"/>
                <a:gd name="T25" fmla="*/ 167 h 170"/>
                <a:gd name="T26" fmla="*/ 111 w 139"/>
                <a:gd name="T27" fmla="*/ 167 h 170"/>
                <a:gd name="T28" fmla="*/ 114 w 139"/>
                <a:gd name="T29" fmla="*/ 170 h 170"/>
                <a:gd name="T30" fmla="*/ 136 w 139"/>
                <a:gd name="T31" fmla="*/ 170 h 170"/>
                <a:gd name="T32" fmla="*/ 139 w 139"/>
                <a:gd name="T33" fmla="*/ 167 h 170"/>
                <a:gd name="T34" fmla="*/ 139 w 139"/>
                <a:gd name="T35" fmla="*/ 68 h 170"/>
                <a:gd name="T36" fmla="*/ 139 w 139"/>
                <a:gd name="T37" fmla="*/ 68 h 170"/>
                <a:gd name="T38" fmla="*/ 139 w 139"/>
                <a:gd name="T39" fmla="*/ 68 h 170"/>
                <a:gd name="T40" fmla="*/ 120 w 139"/>
                <a:gd name="T41" fmla="*/ 20 h 170"/>
                <a:gd name="T42" fmla="*/ 70 w 139"/>
                <a:gd name="T43" fmla="*/ 0 h 170"/>
                <a:gd name="T44" fmla="*/ 28 w 139"/>
                <a:gd name="T45" fmla="*/ 2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170">
                  <a:moveTo>
                    <a:pt x="28" y="21"/>
                  </a:moveTo>
                  <a:cubicBezTo>
                    <a:pt x="28" y="6"/>
                    <a:pt x="28" y="6"/>
                    <a:pt x="28" y="6"/>
                  </a:cubicBezTo>
                  <a:cubicBezTo>
                    <a:pt x="28" y="4"/>
                    <a:pt x="27" y="3"/>
                    <a:pt x="25" y="3"/>
                  </a:cubicBezTo>
                  <a:cubicBezTo>
                    <a:pt x="4" y="3"/>
                    <a:pt x="4" y="3"/>
                    <a:pt x="4" y="3"/>
                  </a:cubicBezTo>
                  <a:cubicBezTo>
                    <a:pt x="1" y="3"/>
                    <a:pt x="0" y="4"/>
                    <a:pt x="0" y="6"/>
                  </a:cubicBezTo>
                  <a:cubicBezTo>
                    <a:pt x="0" y="167"/>
                    <a:pt x="0" y="167"/>
                    <a:pt x="0" y="167"/>
                  </a:cubicBezTo>
                  <a:cubicBezTo>
                    <a:pt x="0" y="169"/>
                    <a:pt x="1" y="170"/>
                    <a:pt x="4" y="170"/>
                  </a:cubicBezTo>
                  <a:cubicBezTo>
                    <a:pt x="25" y="170"/>
                    <a:pt x="25" y="170"/>
                    <a:pt x="25" y="170"/>
                  </a:cubicBezTo>
                  <a:cubicBezTo>
                    <a:pt x="27" y="170"/>
                    <a:pt x="28" y="169"/>
                    <a:pt x="28" y="167"/>
                  </a:cubicBezTo>
                  <a:cubicBezTo>
                    <a:pt x="28" y="68"/>
                    <a:pt x="28" y="68"/>
                    <a:pt x="28" y="68"/>
                  </a:cubicBezTo>
                  <a:cubicBezTo>
                    <a:pt x="28" y="49"/>
                    <a:pt x="42" y="28"/>
                    <a:pt x="70" y="28"/>
                  </a:cubicBezTo>
                  <a:cubicBezTo>
                    <a:pt x="97" y="28"/>
                    <a:pt x="111" y="49"/>
                    <a:pt x="111" y="68"/>
                  </a:cubicBezTo>
                  <a:cubicBezTo>
                    <a:pt x="111" y="167"/>
                    <a:pt x="111" y="167"/>
                    <a:pt x="111" y="167"/>
                  </a:cubicBezTo>
                  <a:cubicBezTo>
                    <a:pt x="111" y="167"/>
                    <a:pt x="111" y="167"/>
                    <a:pt x="111" y="167"/>
                  </a:cubicBezTo>
                  <a:cubicBezTo>
                    <a:pt x="111" y="169"/>
                    <a:pt x="112" y="170"/>
                    <a:pt x="114" y="170"/>
                  </a:cubicBezTo>
                  <a:cubicBezTo>
                    <a:pt x="136" y="170"/>
                    <a:pt x="136" y="170"/>
                    <a:pt x="136" y="170"/>
                  </a:cubicBezTo>
                  <a:cubicBezTo>
                    <a:pt x="138" y="170"/>
                    <a:pt x="139" y="169"/>
                    <a:pt x="139" y="167"/>
                  </a:cubicBezTo>
                  <a:cubicBezTo>
                    <a:pt x="139" y="68"/>
                    <a:pt x="139" y="68"/>
                    <a:pt x="139" y="68"/>
                  </a:cubicBezTo>
                  <a:cubicBezTo>
                    <a:pt x="139" y="68"/>
                    <a:pt x="139" y="68"/>
                    <a:pt x="139" y="68"/>
                  </a:cubicBezTo>
                  <a:cubicBezTo>
                    <a:pt x="139" y="68"/>
                    <a:pt x="139" y="68"/>
                    <a:pt x="139" y="68"/>
                  </a:cubicBezTo>
                  <a:cubicBezTo>
                    <a:pt x="139" y="51"/>
                    <a:pt x="133" y="35"/>
                    <a:pt x="120" y="20"/>
                  </a:cubicBezTo>
                  <a:cubicBezTo>
                    <a:pt x="109" y="7"/>
                    <a:pt x="88" y="0"/>
                    <a:pt x="70" y="0"/>
                  </a:cubicBezTo>
                  <a:cubicBezTo>
                    <a:pt x="41" y="0"/>
                    <a:pt x="28" y="21"/>
                    <a:pt x="28"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dirty="0"/>
            </a:p>
          </p:txBody>
        </p:sp>
        <p:sp>
          <p:nvSpPr>
            <p:cNvPr id="25" name="Freeform 9">
              <a:extLst>
                <a:ext uri="{FF2B5EF4-FFF2-40B4-BE49-F238E27FC236}">
                  <a16:creationId xmlns:a16="http://schemas.microsoft.com/office/drawing/2014/main" id="{0D779E3A-0123-49DB-8413-A23AC0E07A51}"/>
                </a:ext>
              </a:extLst>
            </p:cNvPr>
            <p:cNvSpPr>
              <a:spLocks/>
            </p:cNvSpPr>
            <p:nvPr/>
          </p:nvSpPr>
          <p:spPr bwMode="auto">
            <a:xfrm>
              <a:off x="2264" y="1724"/>
              <a:ext cx="246" cy="328"/>
            </a:xfrm>
            <a:custGeom>
              <a:avLst/>
              <a:gdLst>
                <a:gd name="T0" fmla="*/ 4 w 130"/>
                <a:gd name="T1" fmla="*/ 48 h 173"/>
                <a:gd name="T2" fmla="*/ 56 w 130"/>
                <a:gd name="T3" fmla="*/ 97 h 173"/>
                <a:gd name="T4" fmla="*/ 57 w 130"/>
                <a:gd name="T5" fmla="*/ 98 h 173"/>
                <a:gd name="T6" fmla="*/ 101 w 130"/>
                <a:gd name="T7" fmla="*/ 124 h 173"/>
                <a:gd name="T8" fmla="*/ 66 w 130"/>
                <a:gd name="T9" fmla="*/ 146 h 173"/>
                <a:gd name="T10" fmla="*/ 30 w 130"/>
                <a:gd name="T11" fmla="*/ 118 h 173"/>
                <a:gd name="T12" fmla="*/ 26 w 130"/>
                <a:gd name="T13" fmla="*/ 114 h 173"/>
                <a:gd name="T14" fmla="*/ 5 w 130"/>
                <a:gd name="T15" fmla="*/ 114 h 173"/>
                <a:gd name="T16" fmla="*/ 0 w 130"/>
                <a:gd name="T17" fmla="*/ 118 h 173"/>
                <a:gd name="T18" fmla="*/ 65 w 130"/>
                <a:gd name="T19" fmla="*/ 173 h 173"/>
                <a:gd name="T20" fmla="*/ 130 w 130"/>
                <a:gd name="T21" fmla="*/ 120 h 173"/>
                <a:gd name="T22" fmla="*/ 72 w 130"/>
                <a:gd name="T23" fmla="*/ 74 h 173"/>
                <a:gd name="T24" fmla="*/ 32 w 130"/>
                <a:gd name="T25" fmla="*/ 48 h 173"/>
                <a:gd name="T26" fmla="*/ 63 w 130"/>
                <a:gd name="T27" fmla="*/ 27 h 173"/>
                <a:gd name="T28" fmla="*/ 97 w 130"/>
                <a:gd name="T29" fmla="*/ 49 h 173"/>
                <a:gd name="T30" fmla="*/ 102 w 130"/>
                <a:gd name="T31" fmla="*/ 53 h 173"/>
                <a:gd name="T32" fmla="*/ 120 w 130"/>
                <a:gd name="T33" fmla="*/ 53 h 173"/>
                <a:gd name="T34" fmla="*/ 125 w 130"/>
                <a:gd name="T35" fmla="*/ 48 h 173"/>
                <a:gd name="T36" fmla="*/ 63 w 130"/>
                <a:gd name="T37" fmla="*/ 0 h 173"/>
                <a:gd name="T38" fmla="*/ 4 w 130"/>
                <a:gd name="T39" fmla="*/ 4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173">
                  <a:moveTo>
                    <a:pt x="4" y="48"/>
                  </a:moveTo>
                  <a:cubicBezTo>
                    <a:pt x="4" y="77"/>
                    <a:pt x="19" y="91"/>
                    <a:pt x="56" y="97"/>
                  </a:cubicBezTo>
                  <a:cubicBezTo>
                    <a:pt x="57" y="98"/>
                    <a:pt x="57" y="98"/>
                    <a:pt x="57" y="98"/>
                  </a:cubicBezTo>
                  <a:cubicBezTo>
                    <a:pt x="83" y="102"/>
                    <a:pt x="101" y="105"/>
                    <a:pt x="101" y="124"/>
                  </a:cubicBezTo>
                  <a:cubicBezTo>
                    <a:pt x="101" y="139"/>
                    <a:pt x="83" y="146"/>
                    <a:pt x="66" y="146"/>
                  </a:cubicBezTo>
                  <a:cubicBezTo>
                    <a:pt x="46" y="146"/>
                    <a:pt x="33" y="136"/>
                    <a:pt x="30" y="118"/>
                  </a:cubicBezTo>
                  <a:cubicBezTo>
                    <a:pt x="30" y="116"/>
                    <a:pt x="29" y="114"/>
                    <a:pt x="26" y="114"/>
                  </a:cubicBezTo>
                  <a:cubicBezTo>
                    <a:pt x="5" y="114"/>
                    <a:pt x="5" y="114"/>
                    <a:pt x="5" y="114"/>
                  </a:cubicBezTo>
                  <a:cubicBezTo>
                    <a:pt x="2" y="114"/>
                    <a:pt x="0" y="116"/>
                    <a:pt x="0" y="118"/>
                  </a:cubicBezTo>
                  <a:cubicBezTo>
                    <a:pt x="0" y="150"/>
                    <a:pt x="27" y="173"/>
                    <a:pt x="65" y="173"/>
                  </a:cubicBezTo>
                  <a:cubicBezTo>
                    <a:pt x="104" y="173"/>
                    <a:pt x="130" y="151"/>
                    <a:pt x="130" y="120"/>
                  </a:cubicBezTo>
                  <a:cubicBezTo>
                    <a:pt x="130" y="86"/>
                    <a:pt x="100" y="79"/>
                    <a:pt x="72" y="74"/>
                  </a:cubicBezTo>
                  <a:cubicBezTo>
                    <a:pt x="37" y="68"/>
                    <a:pt x="32" y="58"/>
                    <a:pt x="32" y="48"/>
                  </a:cubicBezTo>
                  <a:cubicBezTo>
                    <a:pt x="32" y="32"/>
                    <a:pt x="49" y="27"/>
                    <a:pt x="63" y="27"/>
                  </a:cubicBezTo>
                  <a:cubicBezTo>
                    <a:pt x="82" y="27"/>
                    <a:pt x="94" y="34"/>
                    <a:pt x="97" y="49"/>
                  </a:cubicBezTo>
                  <a:cubicBezTo>
                    <a:pt x="98" y="51"/>
                    <a:pt x="98" y="53"/>
                    <a:pt x="102" y="53"/>
                  </a:cubicBezTo>
                  <a:cubicBezTo>
                    <a:pt x="120" y="53"/>
                    <a:pt x="120" y="53"/>
                    <a:pt x="120" y="53"/>
                  </a:cubicBezTo>
                  <a:cubicBezTo>
                    <a:pt x="123" y="53"/>
                    <a:pt x="125" y="51"/>
                    <a:pt x="125" y="48"/>
                  </a:cubicBezTo>
                  <a:cubicBezTo>
                    <a:pt x="125" y="19"/>
                    <a:pt x="100" y="0"/>
                    <a:pt x="63" y="0"/>
                  </a:cubicBezTo>
                  <a:cubicBezTo>
                    <a:pt x="22" y="0"/>
                    <a:pt x="4" y="25"/>
                    <a:pt x="4" y="4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dirty="0"/>
            </a:p>
          </p:txBody>
        </p:sp>
        <p:sp>
          <p:nvSpPr>
            <p:cNvPr id="26" name="Freeform 10">
              <a:extLst>
                <a:ext uri="{FF2B5EF4-FFF2-40B4-BE49-F238E27FC236}">
                  <a16:creationId xmlns:a16="http://schemas.microsoft.com/office/drawing/2014/main" id="{4F51EF93-B585-496B-B94C-E8BE3985236A}"/>
                </a:ext>
              </a:extLst>
            </p:cNvPr>
            <p:cNvSpPr>
              <a:spLocks/>
            </p:cNvSpPr>
            <p:nvPr/>
          </p:nvSpPr>
          <p:spPr bwMode="auto">
            <a:xfrm>
              <a:off x="3062" y="1722"/>
              <a:ext cx="312" cy="474"/>
            </a:xfrm>
            <a:custGeom>
              <a:avLst/>
              <a:gdLst>
                <a:gd name="T0" fmla="*/ 67 w 165"/>
                <a:gd name="T1" fmla="*/ 0 h 250"/>
                <a:gd name="T2" fmla="*/ 0 w 165"/>
                <a:gd name="T3" fmla="*/ 86 h 250"/>
                <a:gd name="T4" fmla="*/ 82 w 165"/>
                <a:gd name="T5" fmla="*/ 174 h 250"/>
                <a:gd name="T6" fmla="*/ 137 w 165"/>
                <a:gd name="T7" fmla="*/ 152 h 250"/>
                <a:gd name="T8" fmla="*/ 137 w 165"/>
                <a:gd name="T9" fmla="*/ 173 h 250"/>
                <a:gd name="T10" fmla="*/ 89 w 165"/>
                <a:gd name="T11" fmla="*/ 222 h 250"/>
                <a:gd name="T12" fmla="*/ 48 w 165"/>
                <a:gd name="T13" fmla="*/ 194 h 250"/>
                <a:gd name="T14" fmla="*/ 43 w 165"/>
                <a:gd name="T15" fmla="*/ 190 h 250"/>
                <a:gd name="T16" fmla="*/ 24 w 165"/>
                <a:gd name="T17" fmla="*/ 190 h 250"/>
                <a:gd name="T18" fmla="*/ 19 w 165"/>
                <a:gd name="T19" fmla="*/ 195 h 250"/>
                <a:gd name="T20" fmla="*/ 89 w 165"/>
                <a:gd name="T21" fmla="*/ 250 h 250"/>
                <a:gd name="T22" fmla="*/ 165 w 165"/>
                <a:gd name="T23" fmla="*/ 174 h 250"/>
                <a:gd name="T24" fmla="*/ 165 w 165"/>
                <a:gd name="T25" fmla="*/ 7 h 250"/>
                <a:gd name="T26" fmla="*/ 162 w 165"/>
                <a:gd name="T27" fmla="*/ 4 h 250"/>
                <a:gd name="T28" fmla="*/ 140 w 165"/>
                <a:gd name="T29" fmla="*/ 4 h 250"/>
                <a:gd name="T30" fmla="*/ 137 w 165"/>
                <a:gd name="T31" fmla="*/ 7 h 250"/>
                <a:gd name="T32" fmla="*/ 137 w 165"/>
                <a:gd name="T33" fmla="*/ 21 h 250"/>
                <a:gd name="T34" fmla="*/ 99 w 165"/>
                <a:gd name="T35" fmla="*/ 0 h 250"/>
                <a:gd name="T36" fmla="*/ 96 w 165"/>
                <a:gd name="T37" fmla="*/ 3 h 250"/>
                <a:gd name="T38" fmla="*/ 96 w 165"/>
                <a:gd name="T39" fmla="*/ 28 h 250"/>
                <a:gd name="T40" fmla="*/ 97 w 165"/>
                <a:gd name="T41" fmla="*/ 31 h 250"/>
                <a:gd name="T42" fmla="*/ 138 w 165"/>
                <a:gd name="T43" fmla="*/ 87 h 250"/>
                <a:gd name="T44" fmla="*/ 83 w 165"/>
                <a:gd name="T45" fmla="*/ 146 h 250"/>
                <a:gd name="T46" fmla="*/ 29 w 165"/>
                <a:gd name="T47" fmla="*/ 87 h 250"/>
                <a:gd name="T48" fmla="*/ 68 w 165"/>
                <a:gd name="T49" fmla="*/ 31 h 250"/>
                <a:gd name="T50" fmla="*/ 70 w 165"/>
                <a:gd name="T51" fmla="*/ 29 h 250"/>
                <a:gd name="T52" fmla="*/ 70 w 165"/>
                <a:gd name="T53" fmla="*/ 3 h 250"/>
                <a:gd name="T54" fmla="*/ 67 w 165"/>
                <a:gd name="T55" fmla="*/ 0 h 250"/>
                <a:gd name="T56" fmla="*/ 67 w 165"/>
                <a:gd name="T57"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5" h="250">
                  <a:moveTo>
                    <a:pt x="67" y="0"/>
                  </a:moveTo>
                  <a:cubicBezTo>
                    <a:pt x="29" y="8"/>
                    <a:pt x="0" y="44"/>
                    <a:pt x="0" y="86"/>
                  </a:cubicBezTo>
                  <a:cubicBezTo>
                    <a:pt x="0" y="135"/>
                    <a:pt x="37" y="174"/>
                    <a:pt x="82" y="174"/>
                  </a:cubicBezTo>
                  <a:cubicBezTo>
                    <a:pt x="103" y="174"/>
                    <a:pt x="122" y="166"/>
                    <a:pt x="137" y="152"/>
                  </a:cubicBezTo>
                  <a:cubicBezTo>
                    <a:pt x="137" y="173"/>
                    <a:pt x="137" y="173"/>
                    <a:pt x="137" y="173"/>
                  </a:cubicBezTo>
                  <a:cubicBezTo>
                    <a:pt x="137" y="205"/>
                    <a:pt x="120" y="222"/>
                    <a:pt x="89" y="222"/>
                  </a:cubicBezTo>
                  <a:cubicBezTo>
                    <a:pt x="66" y="222"/>
                    <a:pt x="52" y="213"/>
                    <a:pt x="48" y="194"/>
                  </a:cubicBezTo>
                  <a:cubicBezTo>
                    <a:pt x="47" y="192"/>
                    <a:pt x="46" y="190"/>
                    <a:pt x="43" y="190"/>
                  </a:cubicBezTo>
                  <a:cubicBezTo>
                    <a:pt x="24" y="190"/>
                    <a:pt x="24" y="190"/>
                    <a:pt x="24" y="190"/>
                  </a:cubicBezTo>
                  <a:cubicBezTo>
                    <a:pt x="21" y="190"/>
                    <a:pt x="19" y="192"/>
                    <a:pt x="19" y="195"/>
                  </a:cubicBezTo>
                  <a:cubicBezTo>
                    <a:pt x="22" y="228"/>
                    <a:pt x="51" y="250"/>
                    <a:pt x="89" y="250"/>
                  </a:cubicBezTo>
                  <a:cubicBezTo>
                    <a:pt x="135" y="250"/>
                    <a:pt x="165" y="219"/>
                    <a:pt x="165" y="174"/>
                  </a:cubicBezTo>
                  <a:cubicBezTo>
                    <a:pt x="165" y="7"/>
                    <a:pt x="165" y="7"/>
                    <a:pt x="165" y="7"/>
                  </a:cubicBezTo>
                  <a:cubicBezTo>
                    <a:pt x="165" y="5"/>
                    <a:pt x="164" y="4"/>
                    <a:pt x="162" y="4"/>
                  </a:cubicBezTo>
                  <a:cubicBezTo>
                    <a:pt x="140" y="4"/>
                    <a:pt x="140" y="4"/>
                    <a:pt x="140" y="4"/>
                  </a:cubicBezTo>
                  <a:cubicBezTo>
                    <a:pt x="138" y="4"/>
                    <a:pt x="137" y="5"/>
                    <a:pt x="137" y="7"/>
                  </a:cubicBezTo>
                  <a:cubicBezTo>
                    <a:pt x="137" y="21"/>
                    <a:pt x="137" y="21"/>
                    <a:pt x="137" y="21"/>
                  </a:cubicBezTo>
                  <a:cubicBezTo>
                    <a:pt x="126" y="11"/>
                    <a:pt x="113" y="4"/>
                    <a:pt x="99" y="0"/>
                  </a:cubicBezTo>
                  <a:cubicBezTo>
                    <a:pt x="97" y="0"/>
                    <a:pt x="96" y="1"/>
                    <a:pt x="96" y="3"/>
                  </a:cubicBezTo>
                  <a:cubicBezTo>
                    <a:pt x="96" y="28"/>
                    <a:pt x="96" y="28"/>
                    <a:pt x="96" y="28"/>
                  </a:cubicBezTo>
                  <a:cubicBezTo>
                    <a:pt x="96" y="29"/>
                    <a:pt x="96" y="30"/>
                    <a:pt x="97" y="31"/>
                  </a:cubicBezTo>
                  <a:cubicBezTo>
                    <a:pt x="121" y="37"/>
                    <a:pt x="138" y="60"/>
                    <a:pt x="138" y="87"/>
                  </a:cubicBezTo>
                  <a:cubicBezTo>
                    <a:pt x="138" y="119"/>
                    <a:pt x="114" y="146"/>
                    <a:pt x="83" y="146"/>
                  </a:cubicBezTo>
                  <a:cubicBezTo>
                    <a:pt x="53" y="146"/>
                    <a:pt x="29" y="119"/>
                    <a:pt x="29" y="87"/>
                  </a:cubicBezTo>
                  <a:cubicBezTo>
                    <a:pt x="29" y="61"/>
                    <a:pt x="45" y="38"/>
                    <a:pt x="68" y="31"/>
                  </a:cubicBezTo>
                  <a:cubicBezTo>
                    <a:pt x="69" y="31"/>
                    <a:pt x="70" y="30"/>
                    <a:pt x="70" y="29"/>
                  </a:cubicBezTo>
                  <a:cubicBezTo>
                    <a:pt x="70" y="3"/>
                    <a:pt x="70" y="3"/>
                    <a:pt x="70" y="3"/>
                  </a:cubicBezTo>
                  <a:cubicBezTo>
                    <a:pt x="70" y="1"/>
                    <a:pt x="69" y="0"/>
                    <a:pt x="67" y="0"/>
                  </a:cubicBezTo>
                  <a:cubicBezTo>
                    <a:pt x="67" y="0"/>
                    <a:pt x="67" y="0"/>
                    <a:pt x="6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dirty="0"/>
            </a:p>
          </p:txBody>
        </p:sp>
        <p:sp>
          <p:nvSpPr>
            <p:cNvPr id="27" name="Oval 11">
              <a:extLst>
                <a:ext uri="{FF2B5EF4-FFF2-40B4-BE49-F238E27FC236}">
                  <a16:creationId xmlns:a16="http://schemas.microsoft.com/office/drawing/2014/main" id="{781972F2-AA1F-442F-B2D7-23EDE922FF06}"/>
                </a:ext>
              </a:extLst>
            </p:cNvPr>
            <p:cNvSpPr>
              <a:spLocks noChangeArrowheads="1"/>
            </p:cNvSpPr>
            <p:nvPr/>
          </p:nvSpPr>
          <p:spPr bwMode="auto">
            <a:xfrm>
              <a:off x="284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dirty="0"/>
            </a:p>
          </p:txBody>
        </p:sp>
        <p:sp>
          <p:nvSpPr>
            <p:cNvPr id="28" name="Oval 12">
              <a:extLst>
                <a:ext uri="{FF2B5EF4-FFF2-40B4-BE49-F238E27FC236}">
                  <a16:creationId xmlns:a16="http://schemas.microsoft.com/office/drawing/2014/main" id="{BC311869-F154-41A1-AE1A-2BB4BC44553F}"/>
                </a:ext>
              </a:extLst>
            </p:cNvPr>
            <p:cNvSpPr>
              <a:spLocks noChangeArrowheads="1"/>
            </p:cNvSpPr>
            <p:nvPr/>
          </p:nvSpPr>
          <p:spPr bwMode="auto">
            <a:xfrm>
              <a:off x="387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dirty="0"/>
            </a:p>
          </p:txBody>
        </p:sp>
        <p:sp>
          <p:nvSpPr>
            <p:cNvPr id="29" name="Freeform 13">
              <a:extLst>
                <a:ext uri="{FF2B5EF4-FFF2-40B4-BE49-F238E27FC236}">
                  <a16:creationId xmlns:a16="http://schemas.microsoft.com/office/drawing/2014/main" id="{90BD3BAD-FEE2-4A45-B755-58079972566E}"/>
                </a:ext>
              </a:extLst>
            </p:cNvPr>
            <p:cNvSpPr>
              <a:spLocks/>
            </p:cNvSpPr>
            <p:nvPr/>
          </p:nvSpPr>
          <p:spPr bwMode="auto">
            <a:xfrm>
              <a:off x="4062" y="1584"/>
              <a:ext cx="242" cy="462"/>
            </a:xfrm>
            <a:custGeom>
              <a:avLst/>
              <a:gdLst>
                <a:gd name="T0" fmla="*/ 39 w 128"/>
                <a:gd name="T1" fmla="*/ 55 h 244"/>
                <a:gd name="T2" fmla="*/ 39 w 128"/>
                <a:gd name="T3" fmla="*/ 76 h 244"/>
                <a:gd name="T4" fmla="*/ 4 w 128"/>
                <a:gd name="T5" fmla="*/ 76 h 244"/>
                <a:gd name="T6" fmla="*/ 0 w 128"/>
                <a:gd name="T7" fmla="*/ 81 h 244"/>
                <a:gd name="T8" fmla="*/ 0 w 128"/>
                <a:gd name="T9" fmla="*/ 99 h 244"/>
                <a:gd name="T10" fmla="*/ 4 w 128"/>
                <a:gd name="T11" fmla="*/ 103 h 244"/>
                <a:gd name="T12" fmla="*/ 39 w 128"/>
                <a:gd name="T13" fmla="*/ 103 h 244"/>
                <a:gd name="T14" fmla="*/ 39 w 128"/>
                <a:gd name="T15" fmla="*/ 239 h 244"/>
                <a:gd name="T16" fmla="*/ 44 w 128"/>
                <a:gd name="T17" fmla="*/ 244 h 244"/>
                <a:gd name="T18" fmla="*/ 62 w 128"/>
                <a:gd name="T19" fmla="*/ 244 h 244"/>
                <a:gd name="T20" fmla="*/ 67 w 128"/>
                <a:gd name="T21" fmla="*/ 239 h 244"/>
                <a:gd name="T22" fmla="*/ 67 w 128"/>
                <a:gd name="T23" fmla="*/ 103 h 244"/>
                <a:gd name="T24" fmla="*/ 120 w 128"/>
                <a:gd name="T25" fmla="*/ 103 h 244"/>
                <a:gd name="T26" fmla="*/ 125 w 128"/>
                <a:gd name="T27" fmla="*/ 99 h 244"/>
                <a:gd name="T28" fmla="*/ 125 w 128"/>
                <a:gd name="T29" fmla="*/ 81 h 244"/>
                <a:gd name="T30" fmla="*/ 120 w 128"/>
                <a:gd name="T31" fmla="*/ 76 h 244"/>
                <a:gd name="T32" fmla="*/ 67 w 128"/>
                <a:gd name="T33" fmla="*/ 76 h 244"/>
                <a:gd name="T34" fmla="*/ 67 w 128"/>
                <a:gd name="T35" fmla="*/ 55 h 244"/>
                <a:gd name="T36" fmla="*/ 91 w 128"/>
                <a:gd name="T37" fmla="*/ 27 h 244"/>
                <a:gd name="T38" fmla="*/ 122 w 128"/>
                <a:gd name="T39" fmla="*/ 37 h 244"/>
                <a:gd name="T40" fmla="*/ 125 w 128"/>
                <a:gd name="T41" fmla="*/ 38 h 244"/>
                <a:gd name="T42" fmla="*/ 128 w 128"/>
                <a:gd name="T43" fmla="*/ 33 h 244"/>
                <a:gd name="T44" fmla="*/ 128 w 128"/>
                <a:gd name="T45" fmla="*/ 16 h 244"/>
                <a:gd name="T46" fmla="*/ 125 w 128"/>
                <a:gd name="T47" fmla="*/ 9 h 244"/>
                <a:gd name="T48" fmla="*/ 89 w 128"/>
                <a:gd name="T49" fmla="*/ 0 h 244"/>
                <a:gd name="T50" fmla="*/ 39 w 128"/>
                <a:gd name="T51" fmla="*/ 5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244">
                  <a:moveTo>
                    <a:pt x="39" y="55"/>
                  </a:moveTo>
                  <a:cubicBezTo>
                    <a:pt x="39" y="76"/>
                    <a:pt x="39" y="76"/>
                    <a:pt x="39" y="76"/>
                  </a:cubicBezTo>
                  <a:cubicBezTo>
                    <a:pt x="4" y="76"/>
                    <a:pt x="4" y="76"/>
                    <a:pt x="4" y="76"/>
                  </a:cubicBezTo>
                  <a:cubicBezTo>
                    <a:pt x="1" y="76"/>
                    <a:pt x="0" y="78"/>
                    <a:pt x="0" y="81"/>
                  </a:cubicBezTo>
                  <a:cubicBezTo>
                    <a:pt x="0" y="99"/>
                    <a:pt x="0" y="99"/>
                    <a:pt x="0" y="99"/>
                  </a:cubicBezTo>
                  <a:cubicBezTo>
                    <a:pt x="0" y="102"/>
                    <a:pt x="1" y="103"/>
                    <a:pt x="4" y="103"/>
                  </a:cubicBezTo>
                  <a:cubicBezTo>
                    <a:pt x="39" y="103"/>
                    <a:pt x="39" y="103"/>
                    <a:pt x="39" y="103"/>
                  </a:cubicBezTo>
                  <a:cubicBezTo>
                    <a:pt x="39" y="239"/>
                    <a:pt x="39" y="239"/>
                    <a:pt x="39" y="239"/>
                  </a:cubicBezTo>
                  <a:cubicBezTo>
                    <a:pt x="39" y="242"/>
                    <a:pt x="41" y="244"/>
                    <a:pt x="44" y="244"/>
                  </a:cubicBezTo>
                  <a:cubicBezTo>
                    <a:pt x="62" y="244"/>
                    <a:pt x="62" y="244"/>
                    <a:pt x="62" y="244"/>
                  </a:cubicBezTo>
                  <a:cubicBezTo>
                    <a:pt x="65" y="244"/>
                    <a:pt x="67" y="242"/>
                    <a:pt x="67" y="239"/>
                  </a:cubicBezTo>
                  <a:cubicBezTo>
                    <a:pt x="67" y="103"/>
                    <a:pt x="67" y="103"/>
                    <a:pt x="67" y="103"/>
                  </a:cubicBezTo>
                  <a:cubicBezTo>
                    <a:pt x="120" y="103"/>
                    <a:pt x="120" y="103"/>
                    <a:pt x="120" y="103"/>
                  </a:cubicBezTo>
                  <a:cubicBezTo>
                    <a:pt x="123" y="103"/>
                    <a:pt x="125" y="102"/>
                    <a:pt x="125" y="99"/>
                  </a:cubicBezTo>
                  <a:cubicBezTo>
                    <a:pt x="125" y="81"/>
                    <a:pt x="125" y="81"/>
                    <a:pt x="125" y="81"/>
                  </a:cubicBezTo>
                  <a:cubicBezTo>
                    <a:pt x="125" y="78"/>
                    <a:pt x="123" y="76"/>
                    <a:pt x="120" y="76"/>
                  </a:cubicBezTo>
                  <a:cubicBezTo>
                    <a:pt x="67" y="76"/>
                    <a:pt x="67" y="76"/>
                    <a:pt x="67" y="76"/>
                  </a:cubicBezTo>
                  <a:cubicBezTo>
                    <a:pt x="67" y="55"/>
                    <a:pt x="67" y="55"/>
                    <a:pt x="67" y="55"/>
                  </a:cubicBezTo>
                  <a:cubicBezTo>
                    <a:pt x="67" y="38"/>
                    <a:pt x="76" y="27"/>
                    <a:pt x="91" y="27"/>
                  </a:cubicBezTo>
                  <a:cubicBezTo>
                    <a:pt x="102" y="27"/>
                    <a:pt x="110" y="30"/>
                    <a:pt x="122" y="37"/>
                  </a:cubicBezTo>
                  <a:cubicBezTo>
                    <a:pt x="123" y="38"/>
                    <a:pt x="124" y="38"/>
                    <a:pt x="125" y="38"/>
                  </a:cubicBezTo>
                  <a:cubicBezTo>
                    <a:pt x="127" y="38"/>
                    <a:pt x="128" y="36"/>
                    <a:pt x="128" y="33"/>
                  </a:cubicBezTo>
                  <a:cubicBezTo>
                    <a:pt x="128" y="16"/>
                    <a:pt x="128" y="16"/>
                    <a:pt x="128" y="16"/>
                  </a:cubicBezTo>
                  <a:cubicBezTo>
                    <a:pt x="128" y="13"/>
                    <a:pt x="128" y="11"/>
                    <a:pt x="125" y="9"/>
                  </a:cubicBezTo>
                  <a:cubicBezTo>
                    <a:pt x="114" y="3"/>
                    <a:pt x="103" y="0"/>
                    <a:pt x="89" y="0"/>
                  </a:cubicBezTo>
                  <a:cubicBezTo>
                    <a:pt x="54" y="0"/>
                    <a:pt x="39" y="29"/>
                    <a:pt x="39"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dirty="0"/>
            </a:p>
          </p:txBody>
        </p:sp>
        <p:sp>
          <p:nvSpPr>
            <p:cNvPr id="30" name="Freeform 14">
              <a:extLst>
                <a:ext uri="{FF2B5EF4-FFF2-40B4-BE49-F238E27FC236}">
                  <a16:creationId xmlns:a16="http://schemas.microsoft.com/office/drawing/2014/main" id="{03B1CC70-8E47-4D3D-9382-CF481F7A985B}"/>
                </a:ext>
              </a:extLst>
            </p:cNvPr>
            <p:cNvSpPr>
              <a:spLocks/>
            </p:cNvSpPr>
            <p:nvPr/>
          </p:nvSpPr>
          <p:spPr bwMode="auto">
            <a:xfrm>
              <a:off x="2071" y="1578"/>
              <a:ext cx="632" cy="631"/>
            </a:xfrm>
            <a:custGeom>
              <a:avLst/>
              <a:gdLst>
                <a:gd name="T0" fmla="*/ 181 w 334"/>
                <a:gd name="T1" fmla="*/ 1 h 333"/>
                <a:gd name="T2" fmla="*/ 180 w 334"/>
                <a:gd name="T3" fmla="*/ 4 h 333"/>
                <a:gd name="T4" fmla="*/ 180 w 334"/>
                <a:gd name="T5" fmla="*/ 26 h 333"/>
                <a:gd name="T6" fmla="*/ 180 w 334"/>
                <a:gd name="T7" fmla="*/ 26 h 333"/>
                <a:gd name="T8" fmla="*/ 182 w 334"/>
                <a:gd name="T9" fmla="*/ 28 h 333"/>
                <a:gd name="T10" fmla="*/ 306 w 334"/>
                <a:gd name="T11" fmla="*/ 166 h 333"/>
                <a:gd name="T12" fmla="*/ 167 w 334"/>
                <a:gd name="T13" fmla="*/ 305 h 333"/>
                <a:gd name="T14" fmla="*/ 28 w 334"/>
                <a:gd name="T15" fmla="*/ 166 h 333"/>
                <a:gd name="T16" fmla="*/ 152 w 334"/>
                <a:gd name="T17" fmla="*/ 28 h 333"/>
                <a:gd name="T18" fmla="*/ 154 w 334"/>
                <a:gd name="T19" fmla="*/ 26 h 333"/>
                <a:gd name="T20" fmla="*/ 154 w 334"/>
                <a:gd name="T21" fmla="*/ 26 h 333"/>
                <a:gd name="T22" fmla="*/ 154 w 334"/>
                <a:gd name="T23" fmla="*/ 4 h 333"/>
                <a:gd name="T24" fmla="*/ 153 w 334"/>
                <a:gd name="T25" fmla="*/ 1 h 333"/>
                <a:gd name="T26" fmla="*/ 150 w 334"/>
                <a:gd name="T27" fmla="*/ 0 h 333"/>
                <a:gd name="T28" fmla="*/ 149 w 334"/>
                <a:gd name="T29" fmla="*/ 0 h 333"/>
                <a:gd name="T30" fmla="*/ 149 w 334"/>
                <a:gd name="T31" fmla="*/ 0 h 333"/>
                <a:gd name="T32" fmla="*/ 0 w 334"/>
                <a:gd name="T33" fmla="*/ 166 h 333"/>
                <a:gd name="T34" fmla="*/ 167 w 334"/>
                <a:gd name="T35" fmla="*/ 333 h 333"/>
                <a:gd name="T36" fmla="*/ 334 w 334"/>
                <a:gd name="T37" fmla="*/ 166 h 333"/>
                <a:gd name="T38" fmla="*/ 185 w 334"/>
                <a:gd name="T39" fmla="*/ 0 h 333"/>
                <a:gd name="T40" fmla="*/ 185 w 334"/>
                <a:gd name="T41" fmla="*/ 0 h 333"/>
                <a:gd name="T42" fmla="*/ 184 w 334"/>
                <a:gd name="T43" fmla="*/ 0 h 333"/>
                <a:gd name="T44" fmla="*/ 181 w 334"/>
                <a:gd name="T45" fmla="*/ 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4" h="333">
                  <a:moveTo>
                    <a:pt x="181" y="1"/>
                  </a:moveTo>
                  <a:cubicBezTo>
                    <a:pt x="180" y="2"/>
                    <a:pt x="180" y="3"/>
                    <a:pt x="180" y="4"/>
                  </a:cubicBezTo>
                  <a:cubicBezTo>
                    <a:pt x="180" y="26"/>
                    <a:pt x="180" y="26"/>
                    <a:pt x="180" y="26"/>
                  </a:cubicBezTo>
                  <a:cubicBezTo>
                    <a:pt x="180" y="26"/>
                    <a:pt x="180" y="26"/>
                    <a:pt x="180" y="26"/>
                  </a:cubicBezTo>
                  <a:cubicBezTo>
                    <a:pt x="180" y="27"/>
                    <a:pt x="181" y="28"/>
                    <a:pt x="182" y="28"/>
                  </a:cubicBezTo>
                  <a:cubicBezTo>
                    <a:pt x="251" y="35"/>
                    <a:pt x="306" y="94"/>
                    <a:pt x="306" y="166"/>
                  </a:cubicBezTo>
                  <a:cubicBezTo>
                    <a:pt x="306" y="243"/>
                    <a:pt x="244" y="305"/>
                    <a:pt x="167" y="305"/>
                  </a:cubicBezTo>
                  <a:cubicBezTo>
                    <a:pt x="90" y="305"/>
                    <a:pt x="28" y="243"/>
                    <a:pt x="28" y="166"/>
                  </a:cubicBezTo>
                  <a:cubicBezTo>
                    <a:pt x="28" y="94"/>
                    <a:pt x="82" y="35"/>
                    <a:pt x="152" y="28"/>
                  </a:cubicBezTo>
                  <a:cubicBezTo>
                    <a:pt x="153" y="28"/>
                    <a:pt x="154" y="27"/>
                    <a:pt x="154" y="26"/>
                  </a:cubicBezTo>
                  <a:cubicBezTo>
                    <a:pt x="154" y="26"/>
                    <a:pt x="154" y="26"/>
                    <a:pt x="154" y="26"/>
                  </a:cubicBezTo>
                  <a:cubicBezTo>
                    <a:pt x="154" y="4"/>
                    <a:pt x="154" y="4"/>
                    <a:pt x="154" y="4"/>
                  </a:cubicBezTo>
                  <a:cubicBezTo>
                    <a:pt x="154" y="3"/>
                    <a:pt x="154" y="2"/>
                    <a:pt x="153" y="1"/>
                  </a:cubicBezTo>
                  <a:cubicBezTo>
                    <a:pt x="152" y="0"/>
                    <a:pt x="151" y="0"/>
                    <a:pt x="150" y="0"/>
                  </a:cubicBezTo>
                  <a:cubicBezTo>
                    <a:pt x="149" y="0"/>
                    <a:pt x="149" y="0"/>
                    <a:pt x="149" y="0"/>
                  </a:cubicBezTo>
                  <a:cubicBezTo>
                    <a:pt x="149" y="0"/>
                    <a:pt x="149" y="0"/>
                    <a:pt x="149" y="0"/>
                  </a:cubicBezTo>
                  <a:cubicBezTo>
                    <a:pt x="65" y="9"/>
                    <a:pt x="0" y="80"/>
                    <a:pt x="0" y="166"/>
                  </a:cubicBezTo>
                  <a:cubicBezTo>
                    <a:pt x="0" y="258"/>
                    <a:pt x="75" y="333"/>
                    <a:pt x="167" y="333"/>
                  </a:cubicBezTo>
                  <a:cubicBezTo>
                    <a:pt x="259" y="333"/>
                    <a:pt x="334" y="258"/>
                    <a:pt x="334" y="166"/>
                  </a:cubicBezTo>
                  <a:cubicBezTo>
                    <a:pt x="334" y="80"/>
                    <a:pt x="269" y="9"/>
                    <a:pt x="185" y="0"/>
                  </a:cubicBezTo>
                  <a:cubicBezTo>
                    <a:pt x="185" y="0"/>
                    <a:pt x="185" y="0"/>
                    <a:pt x="185" y="0"/>
                  </a:cubicBezTo>
                  <a:cubicBezTo>
                    <a:pt x="185" y="0"/>
                    <a:pt x="184" y="0"/>
                    <a:pt x="184" y="0"/>
                  </a:cubicBezTo>
                  <a:cubicBezTo>
                    <a:pt x="183" y="0"/>
                    <a:pt x="182" y="0"/>
                    <a:pt x="18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dirty="0"/>
            </a:p>
          </p:txBody>
        </p:sp>
      </p:grpSp>
      <p:sp>
        <p:nvSpPr>
          <p:cNvPr id="19" name="Rectangle 18">
            <a:extLst>
              <a:ext uri="{FF2B5EF4-FFF2-40B4-BE49-F238E27FC236}">
                <a16:creationId xmlns:a16="http://schemas.microsoft.com/office/drawing/2014/main" id="{C89D3181-F756-471B-A9E1-577B92A61DC4}"/>
              </a:ext>
            </a:extLst>
          </p:cNvPr>
          <p:cNvSpPr/>
          <p:nvPr/>
        </p:nvSpPr>
        <p:spPr>
          <a:xfrm>
            <a:off x="6096001" y="4"/>
            <a:ext cx="6096000" cy="6858000"/>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42"/>
          </a:p>
        </p:txBody>
      </p:sp>
      <p:grpSp>
        <p:nvGrpSpPr>
          <p:cNvPr id="31" name="Group 4">
            <a:extLst>
              <a:ext uri="{FF2B5EF4-FFF2-40B4-BE49-F238E27FC236}">
                <a16:creationId xmlns:a16="http://schemas.microsoft.com/office/drawing/2014/main" id="{D62BFD05-3DEA-4475-9F7B-5E5643E4B904}"/>
              </a:ext>
            </a:extLst>
          </p:cNvPr>
          <p:cNvGrpSpPr>
            <a:grpSpLocks noChangeAspect="1"/>
          </p:cNvGrpSpPr>
          <p:nvPr/>
        </p:nvGrpSpPr>
        <p:grpSpPr bwMode="auto">
          <a:xfrm>
            <a:off x="11179123" y="6332830"/>
            <a:ext cx="607829" cy="148182"/>
            <a:chOff x="2071" y="1578"/>
            <a:chExt cx="2587" cy="631"/>
          </a:xfrm>
          <a:gradFill>
            <a:gsLst>
              <a:gs pos="50000">
                <a:srgbClr val="00E487"/>
              </a:gs>
              <a:gs pos="100000">
                <a:srgbClr val="1ECBD0"/>
              </a:gs>
            </a:gsLst>
            <a:lin ang="18900000" scaled="0"/>
          </a:gradFill>
        </p:grpSpPr>
        <p:sp>
          <p:nvSpPr>
            <p:cNvPr id="32" name="Freeform 5">
              <a:extLst>
                <a:ext uri="{FF2B5EF4-FFF2-40B4-BE49-F238E27FC236}">
                  <a16:creationId xmlns:a16="http://schemas.microsoft.com/office/drawing/2014/main" id="{FF0D59D2-A963-4FDC-95AC-B5FF9B779B26}"/>
                </a:ext>
              </a:extLst>
            </p:cNvPr>
            <p:cNvSpPr>
              <a:spLocks/>
            </p:cNvSpPr>
            <p:nvPr/>
          </p:nvSpPr>
          <p:spPr bwMode="auto">
            <a:xfrm>
              <a:off x="2765" y="1728"/>
              <a:ext cx="244" cy="318"/>
            </a:xfrm>
            <a:custGeom>
              <a:avLst/>
              <a:gdLst>
                <a:gd name="T0" fmla="*/ 12 w 129"/>
                <a:gd name="T1" fmla="*/ 0 h 168"/>
                <a:gd name="T2" fmla="*/ 8 w 129"/>
                <a:gd name="T3" fmla="*/ 4 h 168"/>
                <a:gd name="T4" fmla="*/ 8 w 129"/>
                <a:gd name="T5" fmla="*/ 25 h 168"/>
                <a:gd name="T6" fmla="*/ 12 w 129"/>
                <a:gd name="T7" fmla="*/ 29 h 168"/>
                <a:gd name="T8" fmla="*/ 48 w 129"/>
                <a:gd name="T9" fmla="*/ 29 h 168"/>
                <a:gd name="T10" fmla="*/ 48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2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2" y="0"/>
                  </a:moveTo>
                  <a:cubicBezTo>
                    <a:pt x="9" y="0"/>
                    <a:pt x="8" y="1"/>
                    <a:pt x="8" y="4"/>
                  </a:cubicBezTo>
                  <a:cubicBezTo>
                    <a:pt x="8" y="25"/>
                    <a:pt x="8" y="25"/>
                    <a:pt x="8" y="25"/>
                  </a:cubicBezTo>
                  <a:cubicBezTo>
                    <a:pt x="8" y="27"/>
                    <a:pt x="9" y="29"/>
                    <a:pt x="12" y="29"/>
                  </a:cubicBezTo>
                  <a:cubicBezTo>
                    <a:pt x="48" y="29"/>
                    <a:pt x="48" y="29"/>
                    <a:pt x="48" y="29"/>
                  </a:cubicBezTo>
                  <a:cubicBezTo>
                    <a:pt x="48" y="140"/>
                    <a:pt x="48" y="140"/>
                    <a:pt x="48"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8" y="140"/>
                    <a:pt x="125" y="140"/>
                  </a:cubicBezTo>
                  <a:cubicBezTo>
                    <a:pt x="76" y="140"/>
                    <a:pt x="76" y="140"/>
                    <a:pt x="76" y="140"/>
                  </a:cubicBezTo>
                  <a:cubicBezTo>
                    <a:pt x="76" y="4"/>
                    <a:pt x="76" y="4"/>
                    <a:pt x="76" y="4"/>
                  </a:cubicBezTo>
                  <a:cubicBezTo>
                    <a:pt x="76" y="1"/>
                    <a:pt x="75" y="0"/>
                    <a:pt x="72" y="0"/>
                  </a:cubicBez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a:p>
          </p:txBody>
        </p:sp>
        <p:sp>
          <p:nvSpPr>
            <p:cNvPr id="33" name="Freeform 6">
              <a:extLst>
                <a:ext uri="{FF2B5EF4-FFF2-40B4-BE49-F238E27FC236}">
                  <a16:creationId xmlns:a16="http://schemas.microsoft.com/office/drawing/2014/main" id="{8B59E9DC-097B-4EE3-A818-192F865579F0}"/>
                </a:ext>
              </a:extLst>
            </p:cNvPr>
            <p:cNvSpPr>
              <a:spLocks/>
            </p:cNvSpPr>
            <p:nvPr/>
          </p:nvSpPr>
          <p:spPr bwMode="auto">
            <a:xfrm>
              <a:off x="3798" y="1728"/>
              <a:ext cx="244" cy="318"/>
            </a:xfrm>
            <a:custGeom>
              <a:avLst/>
              <a:gdLst>
                <a:gd name="T0" fmla="*/ 11 w 129"/>
                <a:gd name="T1" fmla="*/ 0 h 168"/>
                <a:gd name="T2" fmla="*/ 8 w 129"/>
                <a:gd name="T3" fmla="*/ 4 h 168"/>
                <a:gd name="T4" fmla="*/ 8 w 129"/>
                <a:gd name="T5" fmla="*/ 25 h 168"/>
                <a:gd name="T6" fmla="*/ 11 w 129"/>
                <a:gd name="T7" fmla="*/ 29 h 168"/>
                <a:gd name="T8" fmla="*/ 47 w 129"/>
                <a:gd name="T9" fmla="*/ 29 h 168"/>
                <a:gd name="T10" fmla="*/ 47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1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1" y="0"/>
                  </a:moveTo>
                  <a:cubicBezTo>
                    <a:pt x="9" y="0"/>
                    <a:pt x="8" y="1"/>
                    <a:pt x="8" y="4"/>
                  </a:cubicBezTo>
                  <a:cubicBezTo>
                    <a:pt x="8" y="25"/>
                    <a:pt x="8" y="25"/>
                    <a:pt x="8" y="25"/>
                  </a:cubicBezTo>
                  <a:cubicBezTo>
                    <a:pt x="8" y="27"/>
                    <a:pt x="9" y="29"/>
                    <a:pt x="11" y="29"/>
                  </a:cubicBezTo>
                  <a:cubicBezTo>
                    <a:pt x="47" y="29"/>
                    <a:pt x="47" y="29"/>
                    <a:pt x="47" y="29"/>
                  </a:cubicBezTo>
                  <a:cubicBezTo>
                    <a:pt x="47" y="140"/>
                    <a:pt x="47" y="140"/>
                    <a:pt x="47"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7" y="140"/>
                    <a:pt x="125" y="140"/>
                  </a:cubicBezTo>
                  <a:cubicBezTo>
                    <a:pt x="76" y="140"/>
                    <a:pt x="76" y="140"/>
                    <a:pt x="76" y="140"/>
                  </a:cubicBezTo>
                  <a:cubicBezTo>
                    <a:pt x="76" y="4"/>
                    <a:pt x="76" y="4"/>
                    <a:pt x="76" y="4"/>
                  </a:cubicBezTo>
                  <a:cubicBezTo>
                    <a:pt x="75" y="1"/>
                    <a:pt x="74" y="0"/>
                    <a:pt x="72" y="0"/>
                  </a:cubicBez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a:p>
          </p:txBody>
        </p:sp>
        <p:sp>
          <p:nvSpPr>
            <p:cNvPr id="34" name="Freeform 7">
              <a:extLst>
                <a:ext uri="{FF2B5EF4-FFF2-40B4-BE49-F238E27FC236}">
                  <a16:creationId xmlns:a16="http://schemas.microsoft.com/office/drawing/2014/main" id="{99711D03-1308-49DB-AA4D-8CD350C4E5EA}"/>
                </a:ext>
              </a:extLst>
            </p:cNvPr>
            <p:cNvSpPr>
              <a:spLocks/>
            </p:cNvSpPr>
            <p:nvPr/>
          </p:nvSpPr>
          <p:spPr bwMode="auto">
            <a:xfrm>
              <a:off x="4361" y="1728"/>
              <a:ext cx="297" cy="464"/>
            </a:xfrm>
            <a:custGeom>
              <a:avLst/>
              <a:gdLst>
                <a:gd name="T0" fmla="*/ 132 w 157"/>
                <a:gd name="T1" fmla="*/ 0 h 245"/>
                <a:gd name="T2" fmla="*/ 127 w 157"/>
                <a:gd name="T3" fmla="*/ 3 h 245"/>
                <a:gd name="T4" fmla="*/ 127 w 157"/>
                <a:gd name="T5" fmla="*/ 3 h 245"/>
                <a:gd name="T6" fmla="*/ 79 w 157"/>
                <a:gd name="T7" fmla="*/ 128 h 245"/>
                <a:gd name="T8" fmla="*/ 30 w 157"/>
                <a:gd name="T9" fmla="*/ 4 h 245"/>
                <a:gd name="T10" fmla="*/ 25 w 157"/>
                <a:gd name="T11" fmla="*/ 0 h 245"/>
                <a:gd name="T12" fmla="*/ 4 w 157"/>
                <a:gd name="T13" fmla="*/ 0 h 245"/>
                <a:gd name="T14" fmla="*/ 0 w 157"/>
                <a:gd name="T15" fmla="*/ 3 h 245"/>
                <a:gd name="T16" fmla="*/ 1 w 157"/>
                <a:gd name="T17" fmla="*/ 6 h 245"/>
                <a:gd name="T18" fmla="*/ 1 w 157"/>
                <a:gd name="T19" fmla="*/ 6 h 245"/>
                <a:gd name="T20" fmla="*/ 1 w 157"/>
                <a:gd name="T21" fmla="*/ 6 h 245"/>
                <a:gd name="T22" fmla="*/ 64 w 157"/>
                <a:gd name="T23" fmla="*/ 168 h 245"/>
                <a:gd name="T24" fmla="*/ 59 w 157"/>
                <a:gd name="T25" fmla="*/ 182 h 245"/>
                <a:gd name="T26" fmla="*/ 48 w 157"/>
                <a:gd name="T27" fmla="*/ 205 h 245"/>
                <a:gd name="T28" fmla="*/ 38 w 157"/>
                <a:gd name="T29" fmla="*/ 215 h 245"/>
                <a:gd name="T30" fmla="*/ 30 w 157"/>
                <a:gd name="T31" fmla="*/ 217 h 245"/>
                <a:gd name="T32" fmla="*/ 26 w 157"/>
                <a:gd name="T33" fmla="*/ 216 h 245"/>
                <a:gd name="T34" fmla="*/ 14 w 157"/>
                <a:gd name="T35" fmla="*/ 213 h 245"/>
                <a:gd name="T36" fmla="*/ 7 w 157"/>
                <a:gd name="T37" fmla="*/ 210 h 245"/>
                <a:gd name="T38" fmla="*/ 3 w 157"/>
                <a:gd name="T39" fmla="*/ 215 h 245"/>
                <a:gd name="T40" fmla="*/ 3 w 157"/>
                <a:gd name="T41" fmla="*/ 233 h 245"/>
                <a:gd name="T42" fmla="*/ 3 w 157"/>
                <a:gd name="T43" fmla="*/ 233 h 245"/>
                <a:gd name="T44" fmla="*/ 7 w 157"/>
                <a:gd name="T45" fmla="*/ 240 h 245"/>
                <a:gd name="T46" fmla="*/ 32 w 157"/>
                <a:gd name="T47" fmla="*/ 245 h 245"/>
                <a:gd name="T48" fmla="*/ 54 w 157"/>
                <a:gd name="T49" fmla="*/ 238 h 245"/>
                <a:gd name="T50" fmla="*/ 73 w 157"/>
                <a:gd name="T51" fmla="*/ 220 h 245"/>
                <a:gd name="T52" fmla="*/ 79 w 157"/>
                <a:gd name="T53" fmla="*/ 208 h 245"/>
                <a:gd name="T54" fmla="*/ 156 w 157"/>
                <a:gd name="T55" fmla="*/ 6 h 245"/>
                <a:gd name="T56" fmla="*/ 157 w 157"/>
                <a:gd name="T57" fmla="*/ 3 h 245"/>
                <a:gd name="T58" fmla="*/ 153 w 157"/>
                <a:gd name="T59" fmla="*/ 0 h 245"/>
                <a:gd name="T60" fmla="*/ 132 w 157"/>
                <a:gd name="T6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7" h="245">
                  <a:moveTo>
                    <a:pt x="132" y="0"/>
                  </a:moveTo>
                  <a:cubicBezTo>
                    <a:pt x="129" y="0"/>
                    <a:pt x="128" y="1"/>
                    <a:pt x="127" y="3"/>
                  </a:cubicBezTo>
                  <a:cubicBezTo>
                    <a:pt x="127" y="3"/>
                    <a:pt x="127" y="3"/>
                    <a:pt x="127" y="3"/>
                  </a:cubicBezTo>
                  <a:cubicBezTo>
                    <a:pt x="79" y="128"/>
                    <a:pt x="79" y="128"/>
                    <a:pt x="79" y="128"/>
                  </a:cubicBezTo>
                  <a:cubicBezTo>
                    <a:pt x="30" y="4"/>
                    <a:pt x="30" y="4"/>
                    <a:pt x="30" y="4"/>
                  </a:cubicBezTo>
                  <a:cubicBezTo>
                    <a:pt x="29" y="1"/>
                    <a:pt x="28" y="0"/>
                    <a:pt x="25" y="0"/>
                  </a:cubicBezTo>
                  <a:cubicBezTo>
                    <a:pt x="4" y="0"/>
                    <a:pt x="4" y="0"/>
                    <a:pt x="4" y="0"/>
                  </a:cubicBezTo>
                  <a:cubicBezTo>
                    <a:pt x="2" y="0"/>
                    <a:pt x="0" y="1"/>
                    <a:pt x="0" y="3"/>
                  </a:cubicBezTo>
                  <a:cubicBezTo>
                    <a:pt x="0" y="4"/>
                    <a:pt x="1" y="5"/>
                    <a:pt x="1" y="6"/>
                  </a:cubicBezTo>
                  <a:cubicBezTo>
                    <a:pt x="1" y="6"/>
                    <a:pt x="1" y="6"/>
                    <a:pt x="1" y="6"/>
                  </a:cubicBezTo>
                  <a:cubicBezTo>
                    <a:pt x="1" y="6"/>
                    <a:pt x="1" y="6"/>
                    <a:pt x="1" y="6"/>
                  </a:cubicBezTo>
                  <a:cubicBezTo>
                    <a:pt x="64" y="168"/>
                    <a:pt x="64" y="168"/>
                    <a:pt x="64" y="168"/>
                  </a:cubicBezTo>
                  <a:cubicBezTo>
                    <a:pt x="59" y="182"/>
                    <a:pt x="59" y="182"/>
                    <a:pt x="59" y="182"/>
                  </a:cubicBezTo>
                  <a:cubicBezTo>
                    <a:pt x="57" y="187"/>
                    <a:pt x="53" y="199"/>
                    <a:pt x="48" y="205"/>
                  </a:cubicBezTo>
                  <a:cubicBezTo>
                    <a:pt x="44" y="211"/>
                    <a:pt x="42" y="213"/>
                    <a:pt x="38" y="215"/>
                  </a:cubicBezTo>
                  <a:cubicBezTo>
                    <a:pt x="35" y="216"/>
                    <a:pt x="33" y="217"/>
                    <a:pt x="30" y="217"/>
                  </a:cubicBezTo>
                  <a:cubicBezTo>
                    <a:pt x="28" y="217"/>
                    <a:pt x="27" y="217"/>
                    <a:pt x="26" y="216"/>
                  </a:cubicBezTo>
                  <a:cubicBezTo>
                    <a:pt x="22" y="216"/>
                    <a:pt x="18" y="214"/>
                    <a:pt x="14" y="213"/>
                  </a:cubicBezTo>
                  <a:cubicBezTo>
                    <a:pt x="11" y="212"/>
                    <a:pt x="9" y="210"/>
                    <a:pt x="7" y="210"/>
                  </a:cubicBezTo>
                  <a:cubicBezTo>
                    <a:pt x="5" y="210"/>
                    <a:pt x="3" y="212"/>
                    <a:pt x="3" y="215"/>
                  </a:cubicBezTo>
                  <a:cubicBezTo>
                    <a:pt x="3" y="233"/>
                    <a:pt x="3" y="233"/>
                    <a:pt x="3" y="233"/>
                  </a:cubicBezTo>
                  <a:cubicBezTo>
                    <a:pt x="3" y="233"/>
                    <a:pt x="3" y="233"/>
                    <a:pt x="3" y="233"/>
                  </a:cubicBezTo>
                  <a:cubicBezTo>
                    <a:pt x="3" y="236"/>
                    <a:pt x="4" y="238"/>
                    <a:pt x="7" y="240"/>
                  </a:cubicBezTo>
                  <a:cubicBezTo>
                    <a:pt x="15" y="243"/>
                    <a:pt x="21" y="245"/>
                    <a:pt x="32" y="245"/>
                  </a:cubicBezTo>
                  <a:cubicBezTo>
                    <a:pt x="41" y="244"/>
                    <a:pt x="47" y="242"/>
                    <a:pt x="54" y="238"/>
                  </a:cubicBezTo>
                  <a:cubicBezTo>
                    <a:pt x="61" y="233"/>
                    <a:pt x="67" y="227"/>
                    <a:pt x="73" y="220"/>
                  </a:cubicBezTo>
                  <a:cubicBezTo>
                    <a:pt x="75" y="216"/>
                    <a:pt x="77" y="212"/>
                    <a:pt x="79" y="208"/>
                  </a:cubicBezTo>
                  <a:cubicBezTo>
                    <a:pt x="83" y="200"/>
                    <a:pt x="144" y="40"/>
                    <a:pt x="156" y="6"/>
                  </a:cubicBezTo>
                  <a:cubicBezTo>
                    <a:pt x="157" y="5"/>
                    <a:pt x="157" y="4"/>
                    <a:pt x="157" y="3"/>
                  </a:cubicBezTo>
                  <a:cubicBezTo>
                    <a:pt x="157" y="1"/>
                    <a:pt x="155" y="0"/>
                    <a:pt x="153" y="0"/>
                  </a:cubicBezTo>
                  <a:lnTo>
                    <a:pt x="1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a:p>
          </p:txBody>
        </p:sp>
        <p:sp>
          <p:nvSpPr>
            <p:cNvPr id="35" name="Freeform 8">
              <a:extLst>
                <a:ext uri="{FF2B5EF4-FFF2-40B4-BE49-F238E27FC236}">
                  <a16:creationId xmlns:a16="http://schemas.microsoft.com/office/drawing/2014/main" id="{3C638E81-9A7F-4E3F-908A-B742E08F0DFC}"/>
                </a:ext>
              </a:extLst>
            </p:cNvPr>
            <p:cNvSpPr>
              <a:spLocks/>
            </p:cNvSpPr>
            <p:nvPr/>
          </p:nvSpPr>
          <p:spPr bwMode="auto">
            <a:xfrm>
              <a:off x="3457" y="1726"/>
              <a:ext cx="263" cy="322"/>
            </a:xfrm>
            <a:custGeom>
              <a:avLst/>
              <a:gdLst>
                <a:gd name="T0" fmla="*/ 28 w 139"/>
                <a:gd name="T1" fmla="*/ 21 h 170"/>
                <a:gd name="T2" fmla="*/ 28 w 139"/>
                <a:gd name="T3" fmla="*/ 6 h 170"/>
                <a:gd name="T4" fmla="*/ 25 w 139"/>
                <a:gd name="T5" fmla="*/ 3 h 170"/>
                <a:gd name="T6" fmla="*/ 4 w 139"/>
                <a:gd name="T7" fmla="*/ 3 h 170"/>
                <a:gd name="T8" fmla="*/ 0 w 139"/>
                <a:gd name="T9" fmla="*/ 6 h 170"/>
                <a:gd name="T10" fmla="*/ 0 w 139"/>
                <a:gd name="T11" fmla="*/ 167 h 170"/>
                <a:gd name="T12" fmla="*/ 4 w 139"/>
                <a:gd name="T13" fmla="*/ 170 h 170"/>
                <a:gd name="T14" fmla="*/ 25 w 139"/>
                <a:gd name="T15" fmla="*/ 170 h 170"/>
                <a:gd name="T16" fmla="*/ 28 w 139"/>
                <a:gd name="T17" fmla="*/ 167 h 170"/>
                <a:gd name="T18" fmla="*/ 28 w 139"/>
                <a:gd name="T19" fmla="*/ 68 h 170"/>
                <a:gd name="T20" fmla="*/ 70 w 139"/>
                <a:gd name="T21" fmla="*/ 28 h 170"/>
                <a:gd name="T22" fmla="*/ 111 w 139"/>
                <a:gd name="T23" fmla="*/ 68 h 170"/>
                <a:gd name="T24" fmla="*/ 111 w 139"/>
                <a:gd name="T25" fmla="*/ 167 h 170"/>
                <a:gd name="T26" fmla="*/ 111 w 139"/>
                <a:gd name="T27" fmla="*/ 167 h 170"/>
                <a:gd name="T28" fmla="*/ 114 w 139"/>
                <a:gd name="T29" fmla="*/ 170 h 170"/>
                <a:gd name="T30" fmla="*/ 136 w 139"/>
                <a:gd name="T31" fmla="*/ 170 h 170"/>
                <a:gd name="T32" fmla="*/ 139 w 139"/>
                <a:gd name="T33" fmla="*/ 167 h 170"/>
                <a:gd name="T34" fmla="*/ 139 w 139"/>
                <a:gd name="T35" fmla="*/ 68 h 170"/>
                <a:gd name="T36" fmla="*/ 139 w 139"/>
                <a:gd name="T37" fmla="*/ 68 h 170"/>
                <a:gd name="T38" fmla="*/ 139 w 139"/>
                <a:gd name="T39" fmla="*/ 68 h 170"/>
                <a:gd name="T40" fmla="*/ 120 w 139"/>
                <a:gd name="T41" fmla="*/ 20 h 170"/>
                <a:gd name="T42" fmla="*/ 70 w 139"/>
                <a:gd name="T43" fmla="*/ 0 h 170"/>
                <a:gd name="T44" fmla="*/ 28 w 139"/>
                <a:gd name="T45" fmla="*/ 2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170">
                  <a:moveTo>
                    <a:pt x="28" y="21"/>
                  </a:moveTo>
                  <a:cubicBezTo>
                    <a:pt x="28" y="6"/>
                    <a:pt x="28" y="6"/>
                    <a:pt x="28" y="6"/>
                  </a:cubicBezTo>
                  <a:cubicBezTo>
                    <a:pt x="28" y="4"/>
                    <a:pt x="27" y="3"/>
                    <a:pt x="25" y="3"/>
                  </a:cubicBezTo>
                  <a:cubicBezTo>
                    <a:pt x="4" y="3"/>
                    <a:pt x="4" y="3"/>
                    <a:pt x="4" y="3"/>
                  </a:cubicBezTo>
                  <a:cubicBezTo>
                    <a:pt x="1" y="3"/>
                    <a:pt x="0" y="4"/>
                    <a:pt x="0" y="6"/>
                  </a:cubicBezTo>
                  <a:cubicBezTo>
                    <a:pt x="0" y="167"/>
                    <a:pt x="0" y="167"/>
                    <a:pt x="0" y="167"/>
                  </a:cubicBezTo>
                  <a:cubicBezTo>
                    <a:pt x="0" y="169"/>
                    <a:pt x="1" y="170"/>
                    <a:pt x="4" y="170"/>
                  </a:cubicBezTo>
                  <a:cubicBezTo>
                    <a:pt x="25" y="170"/>
                    <a:pt x="25" y="170"/>
                    <a:pt x="25" y="170"/>
                  </a:cubicBezTo>
                  <a:cubicBezTo>
                    <a:pt x="27" y="170"/>
                    <a:pt x="28" y="169"/>
                    <a:pt x="28" y="167"/>
                  </a:cubicBezTo>
                  <a:cubicBezTo>
                    <a:pt x="28" y="68"/>
                    <a:pt x="28" y="68"/>
                    <a:pt x="28" y="68"/>
                  </a:cubicBezTo>
                  <a:cubicBezTo>
                    <a:pt x="28" y="49"/>
                    <a:pt x="42" y="28"/>
                    <a:pt x="70" y="28"/>
                  </a:cubicBezTo>
                  <a:cubicBezTo>
                    <a:pt x="97" y="28"/>
                    <a:pt x="111" y="49"/>
                    <a:pt x="111" y="68"/>
                  </a:cubicBezTo>
                  <a:cubicBezTo>
                    <a:pt x="111" y="167"/>
                    <a:pt x="111" y="167"/>
                    <a:pt x="111" y="167"/>
                  </a:cubicBezTo>
                  <a:cubicBezTo>
                    <a:pt x="111" y="167"/>
                    <a:pt x="111" y="167"/>
                    <a:pt x="111" y="167"/>
                  </a:cubicBezTo>
                  <a:cubicBezTo>
                    <a:pt x="111" y="169"/>
                    <a:pt x="112" y="170"/>
                    <a:pt x="114" y="170"/>
                  </a:cubicBezTo>
                  <a:cubicBezTo>
                    <a:pt x="136" y="170"/>
                    <a:pt x="136" y="170"/>
                    <a:pt x="136" y="170"/>
                  </a:cubicBezTo>
                  <a:cubicBezTo>
                    <a:pt x="138" y="170"/>
                    <a:pt x="139" y="169"/>
                    <a:pt x="139" y="167"/>
                  </a:cubicBezTo>
                  <a:cubicBezTo>
                    <a:pt x="139" y="68"/>
                    <a:pt x="139" y="68"/>
                    <a:pt x="139" y="68"/>
                  </a:cubicBezTo>
                  <a:cubicBezTo>
                    <a:pt x="139" y="68"/>
                    <a:pt x="139" y="68"/>
                    <a:pt x="139" y="68"/>
                  </a:cubicBezTo>
                  <a:cubicBezTo>
                    <a:pt x="139" y="68"/>
                    <a:pt x="139" y="68"/>
                    <a:pt x="139" y="68"/>
                  </a:cubicBezTo>
                  <a:cubicBezTo>
                    <a:pt x="139" y="51"/>
                    <a:pt x="133" y="35"/>
                    <a:pt x="120" y="20"/>
                  </a:cubicBezTo>
                  <a:cubicBezTo>
                    <a:pt x="109" y="7"/>
                    <a:pt x="88" y="0"/>
                    <a:pt x="70" y="0"/>
                  </a:cubicBezTo>
                  <a:cubicBezTo>
                    <a:pt x="41" y="0"/>
                    <a:pt x="28" y="21"/>
                    <a:pt x="28"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a:p>
          </p:txBody>
        </p:sp>
        <p:sp>
          <p:nvSpPr>
            <p:cNvPr id="36" name="Freeform 9">
              <a:extLst>
                <a:ext uri="{FF2B5EF4-FFF2-40B4-BE49-F238E27FC236}">
                  <a16:creationId xmlns:a16="http://schemas.microsoft.com/office/drawing/2014/main" id="{D66E2DC8-64A2-4CF1-AAB7-C38028FFBC39}"/>
                </a:ext>
              </a:extLst>
            </p:cNvPr>
            <p:cNvSpPr>
              <a:spLocks/>
            </p:cNvSpPr>
            <p:nvPr/>
          </p:nvSpPr>
          <p:spPr bwMode="auto">
            <a:xfrm>
              <a:off x="2264" y="1724"/>
              <a:ext cx="246" cy="328"/>
            </a:xfrm>
            <a:custGeom>
              <a:avLst/>
              <a:gdLst>
                <a:gd name="T0" fmla="*/ 4 w 130"/>
                <a:gd name="T1" fmla="*/ 48 h 173"/>
                <a:gd name="T2" fmla="*/ 56 w 130"/>
                <a:gd name="T3" fmla="*/ 97 h 173"/>
                <a:gd name="T4" fmla="*/ 57 w 130"/>
                <a:gd name="T5" fmla="*/ 98 h 173"/>
                <a:gd name="T6" fmla="*/ 101 w 130"/>
                <a:gd name="T7" fmla="*/ 124 h 173"/>
                <a:gd name="T8" fmla="*/ 66 w 130"/>
                <a:gd name="T9" fmla="*/ 146 h 173"/>
                <a:gd name="T10" fmla="*/ 30 w 130"/>
                <a:gd name="T11" fmla="*/ 118 h 173"/>
                <a:gd name="T12" fmla="*/ 26 w 130"/>
                <a:gd name="T13" fmla="*/ 114 h 173"/>
                <a:gd name="T14" fmla="*/ 5 w 130"/>
                <a:gd name="T15" fmla="*/ 114 h 173"/>
                <a:gd name="T16" fmla="*/ 0 w 130"/>
                <a:gd name="T17" fmla="*/ 118 h 173"/>
                <a:gd name="T18" fmla="*/ 65 w 130"/>
                <a:gd name="T19" fmla="*/ 173 h 173"/>
                <a:gd name="T20" fmla="*/ 130 w 130"/>
                <a:gd name="T21" fmla="*/ 120 h 173"/>
                <a:gd name="T22" fmla="*/ 72 w 130"/>
                <a:gd name="T23" fmla="*/ 74 h 173"/>
                <a:gd name="T24" fmla="*/ 32 w 130"/>
                <a:gd name="T25" fmla="*/ 48 h 173"/>
                <a:gd name="T26" fmla="*/ 63 w 130"/>
                <a:gd name="T27" fmla="*/ 27 h 173"/>
                <a:gd name="T28" fmla="*/ 97 w 130"/>
                <a:gd name="T29" fmla="*/ 49 h 173"/>
                <a:gd name="T30" fmla="*/ 102 w 130"/>
                <a:gd name="T31" fmla="*/ 53 h 173"/>
                <a:gd name="T32" fmla="*/ 120 w 130"/>
                <a:gd name="T33" fmla="*/ 53 h 173"/>
                <a:gd name="T34" fmla="*/ 125 w 130"/>
                <a:gd name="T35" fmla="*/ 48 h 173"/>
                <a:gd name="T36" fmla="*/ 63 w 130"/>
                <a:gd name="T37" fmla="*/ 0 h 173"/>
                <a:gd name="T38" fmla="*/ 4 w 130"/>
                <a:gd name="T39" fmla="*/ 4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173">
                  <a:moveTo>
                    <a:pt x="4" y="48"/>
                  </a:moveTo>
                  <a:cubicBezTo>
                    <a:pt x="4" y="77"/>
                    <a:pt x="19" y="91"/>
                    <a:pt x="56" y="97"/>
                  </a:cubicBezTo>
                  <a:cubicBezTo>
                    <a:pt x="57" y="98"/>
                    <a:pt x="57" y="98"/>
                    <a:pt x="57" y="98"/>
                  </a:cubicBezTo>
                  <a:cubicBezTo>
                    <a:pt x="83" y="102"/>
                    <a:pt x="101" y="105"/>
                    <a:pt x="101" y="124"/>
                  </a:cubicBezTo>
                  <a:cubicBezTo>
                    <a:pt x="101" y="139"/>
                    <a:pt x="83" y="146"/>
                    <a:pt x="66" y="146"/>
                  </a:cubicBezTo>
                  <a:cubicBezTo>
                    <a:pt x="46" y="146"/>
                    <a:pt x="33" y="136"/>
                    <a:pt x="30" y="118"/>
                  </a:cubicBezTo>
                  <a:cubicBezTo>
                    <a:pt x="30" y="116"/>
                    <a:pt x="29" y="114"/>
                    <a:pt x="26" y="114"/>
                  </a:cubicBezTo>
                  <a:cubicBezTo>
                    <a:pt x="5" y="114"/>
                    <a:pt x="5" y="114"/>
                    <a:pt x="5" y="114"/>
                  </a:cubicBezTo>
                  <a:cubicBezTo>
                    <a:pt x="2" y="114"/>
                    <a:pt x="0" y="116"/>
                    <a:pt x="0" y="118"/>
                  </a:cubicBezTo>
                  <a:cubicBezTo>
                    <a:pt x="0" y="150"/>
                    <a:pt x="27" y="173"/>
                    <a:pt x="65" y="173"/>
                  </a:cubicBezTo>
                  <a:cubicBezTo>
                    <a:pt x="104" y="173"/>
                    <a:pt x="130" y="151"/>
                    <a:pt x="130" y="120"/>
                  </a:cubicBezTo>
                  <a:cubicBezTo>
                    <a:pt x="130" y="86"/>
                    <a:pt x="100" y="79"/>
                    <a:pt x="72" y="74"/>
                  </a:cubicBezTo>
                  <a:cubicBezTo>
                    <a:pt x="37" y="68"/>
                    <a:pt x="32" y="58"/>
                    <a:pt x="32" y="48"/>
                  </a:cubicBezTo>
                  <a:cubicBezTo>
                    <a:pt x="32" y="32"/>
                    <a:pt x="49" y="27"/>
                    <a:pt x="63" y="27"/>
                  </a:cubicBezTo>
                  <a:cubicBezTo>
                    <a:pt x="82" y="27"/>
                    <a:pt x="94" y="34"/>
                    <a:pt x="97" y="49"/>
                  </a:cubicBezTo>
                  <a:cubicBezTo>
                    <a:pt x="98" y="51"/>
                    <a:pt x="98" y="53"/>
                    <a:pt x="102" y="53"/>
                  </a:cubicBezTo>
                  <a:cubicBezTo>
                    <a:pt x="120" y="53"/>
                    <a:pt x="120" y="53"/>
                    <a:pt x="120" y="53"/>
                  </a:cubicBezTo>
                  <a:cubicBezTo>
                    <a:pt x="123" y="53"/>
                    <a:pt x="125" y="51"/>
                    <a:pt x="125" y="48"/>
                  </a:cubicBezTo>
                  <a:cubicBezTo>
                    <a:pt x="125" y="19"/>
                    <a:pt x="100" y="0"/>
                    <a:pt x="63" y="0"/>
                  </a:cubicBezTo>
                  <a:cubicBezTo>
                    <a:pt x="22" y="0"/>
                    <a:pt x="4" y="25"/>
                    <a:pt x="4" y="4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a:p>
          </p:txBody>
        </p:sp>
        <p:sp>
          <p:nvSpPr>
            <p:cNvPr id="37" name="Freeform 10">
              <a:extLst>
                <a:ext uri="{FF2B5EF4-FFF2-40B4-BE49-F238E27FC236}">
                  <a16:creationId xmlns:a16="http://schemas.microsoft.com/office/drawing/2014/main" id="{7DF45F6E-3298-48BB-A6AD-2BE833427015}"/>
                </a:ext>
              </a:extLst>
            </p:cNvPr>
            <p:cNvSpPr>
              <a:spLocks/>
            </p:cNvSpPr>
            <p:nvPr/>
          </p:nvSpPr>
          <p:spPr bwMode="auto">
            <a:xfrm>
              <a:off x="3062" y="1722"/>
              <a:ext cx="312" cy="474"/>
            </a:xfrm>
            <a:custGeom>
              <a:avLst/>
              <a:gdLst>
                <a:gd name="T0" fmla="*/ 67 w 165"/>
                <a:gd name="T1" fmla="*/ 0 h 250"/>
                <a:gd name="T2" fmla="*/ 0 w 165"/>
                <a:gd name="T3" fmla="*/ 86 h 250"/>
                <a:gd name="T4" fmla="*/ 82 w 165"/>
                <a:gd name="T5" fmla="*/ 174 h 250"/>
                <a:gd name="T6" fmla="*/ 137 w 165"/>
                <a:gd name="T7" fmla="*/ 152 h 250"/>
                <a:gd name="T8" fmla="*/ 137 w 165"/>
                <a:gd name="T9" fmla="*/ 173 h 250"/>
                <a:gd name="T10" fmla="*/ 89 w 165"/>
                <a:gd name="T11" fmla="*/ 222 h 250"/>
                <a:gd name="T12" fmla="*/ 48 w 165"/>
                <a:gd name="T13" fmla="*/ 194 h 250"/>
                <a:gd name="T14" fmla="*/ 43 w 165"/>
                <a:gd name="T15" fmla="*/ 190 h 250"/>
                <a:gd name="T16" fmla="*/ 24 w 165"/>
                <a:gd name="T17" fmla="*/ 190 h 250"/>
                <a:gd name="T18" fmla="*/ 19 w 165"/>
                <a:gd name="T19" fmla="*/ 195 h 250"/>
                <a:gd name="T20" fmla="*/ 89 w 165"/>
                <a:gd name="T21" fmla="*/ 250 h 250"/>
                <a:gd name="T22" fmla="*/ 165 w 165"/>
                <a:gd name="T23" fmla="*/ 174 h 250"/>
                <a:gd name="T24" fmla="*/ 165 w 165"/>
                <a:gd name="T25" fmla="*/ 7 h 250"/>
                <a:gd name="T26" fmla="*/ 162 w 165"/>
                <a:gd name="T27" fmla="*/ 4 h 250"/>
                <a:gd name="T28" fmla="*/ 140 w 165"/>
                <a:gd name="T29" fmla="*/ 4 h 250"/>
                <a:gd name="T30" fmla="*/ 137 w 165"/>
                <a:gd name="T31" fmla="*/ 7 h 250"/>
                <a:gd name="T32" fmla="*/ 137 w 165"/>
                <a:gd name="T33" fmla="*/ 21 h 250"/>
                <a:gd name="T34" fmla="*/ 99 w 165"/>
                <a:gd name="T35" fmla="*/ 0 h 250"/>
                <a:gd name="T36" fmla="*/ 96 w 165"/>
                <a:gd name="T37" fmla="*/ 3 h 250"/>
                <a:gd name="T38" fmla="*/ 96 w 165"/>
                <a:gd name="T39" fmla="*/ 28 h 250"/>
                <a:gd name="T40" fmla="*/ 97 w 165"/>
                <a:gd name="T41" fmla="*/ 31 h 250"/>
                <a:gd name="T42" fmla="*/ 138 w 165"/>
                <a:gd name="T43" fmla="*/ 87 h 250"/>
                <a:gd name="T44" fmla="*/ 83 w 165"/>
                <a:gd name="T45" fmla="*/ 146 h 250"/>
                <a:gd name="T46" fmla="*/ 29 w 165"/>
                <a:gd name="T47" fmla="*/ 87 h 250"/>
                <a:gd name="T48" fmla="*/ 68 w 165"/>
                <a:gd name="T49" fmla="*/ 31 h 250"/>
                <a:gd name="T50" fmla="*/ 70 w 165"/>
                <a:gd name="T51" fmla="*/ 29 h 250"/>
                <a:gd name="T52" fmla="*/ 70 w 165"/>
                <a:gd name="T53" fmla="*/ 3 h 250"/>
                <a:gd name="T54" fmla="*/ 67 w 165"/>
                <a:gd name="T55" fmla="*/ 0 h 250"/>
                <a:gd name="T56" fmla="*/ 67 w 165"/>
                <a:gd name="T57"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5" h="250">
                  <a:moveTo>
                    <a:pt x="67" y="0"/>
                  </a:moveTo>
                  <a:cubicBezTo>
                    <a:pt x="29" y="8"/>
                    <a:pt x="0" y="44"/>
                    <a:pt x="0" y="86"/>
                  </a:cubicBezTo>
                  <a:cubicBezTo>
                    <a:pt x="0" y="135"/>
                    <a:pt x="37" y="174"/>
                    <a:pt x="82" y="174"/>
                  </a:cubicBezTo>
                  <a:cubicBezTo>
                    <a:pt x="103" y="174"/>
                    <a:pt x="122" y="166"/>
                    <a:pt x="137" y="152"/>
                  </a:cubicBezTo>
                  <a:cubicBezTo>
                    <a:pt x="137" y="173"/>
                    <a:pt x="137" y="173"/>
                    <a:pt x="137" y="173"/>
                  </a:cubicBezTo>
                  <a:cubicBezTo>
                    <a:pt x="137" y="205"/>
                    <a:pt x="120" y="222"/>
                    <a:pt x="89" y="222"/>
                  </a:cubicBezTo>
                  <a:cubicBezTo>
                    <a:pt x="66" y="222"/>
                    <a:pt x="52" y="213"/>
                    <a:pt x="48" y="194"/>
                  </a:cubicBezTo>
                  <a:cubicBezTo>
                    <a:pt x="47" y="192"/>
                    <a:pt x="46" y="190"/>
                    <a:pt x="43" y="190"/>
                  </a:cubicBezTo>
                  <a:cubicBezTo>
                    <a:pt x="24" y="190"/>
                    <a:pt x="24" y="190"/>
                    <a:pt x="24" y="190"/>
                  </a:cubicBezTo>
                  <a:cubicBezTo>
                    <a:pt x="21" y="190"/>
                    <a:pt x="19" y="192"/>
                    <a:pt x="19" y="195"/>
                  </a:cubicBezTo>
                  <a:cubicBezTo>
                    <a:pt x="22" y="228"/>
                    <a:pt x="51" y="250"/>
                    <a:pt x="89" y="250"/>
                  </a:cubicBezTo>
                  <a:cubicBezTo>
                    <a:pt x="135" y="250"/>
                    <a:pt x="165" y="219"/>
                    <a:pt x="165" y="174"/>
                  </a:cubicBezTo>
                  <a:cubicBezTo>
                    <a:pt x="165" y="7"/>
                    <a:pt x="165" y="7"/>
                    <a:pt x="165" y="7"/>
                  </a:cubicBezTo>
                  <a:cubicBezTo>
                    <a:pt x="165" y="5"/>
                    <a:pt x="164" y="4"/>
                    <a:pt x="162" y="4"/>
                  </a:cubicBezTo>
                  <a:cubicBezTo>
                    <a:pt x="140" y="4"/>
                    <a:pt x="140" y="4"/>
                    <a:pt x="140" y="4"/>
                  </a:cubicBezTo>
                  <a:cubicBezTo>
                    <a:pt x="138" y="4"/>
                    <a:pt x="137" y="5"/>
                    <a:pt x="137" y="7"/>
                  </a:cubicBezTo>
                  <a:cubicBezTo>
                    <a:pt x="137" y="21"/>
                    <a:pt x="137" y="21"/>
                    <a:pt x="137" y="21"/>
                  </a:cubicBezTo>
                  <a:cubicBezTo>
                    <a:pt x="126" y="11"/>
                    <a:pt x="113" y="4"/>
                    <a:pt x="99" y="0"/>
                  </a:cubicBezTo>
                  <a:cubicBezTo>
                    <a:pt x="97" y="0"/>
                    <a:pt x="96" y="1"/>
                    <a:pt x="96" y="3"/>
                  </a:cubicBezTo>
                  <a:cubicBezTo>
                    <a:pt x="96" y="28"/>
                    <a:pt x="96" y="28"/>
                    <a:pt x="96" y="28"/>
                  </a:cubicBezTo>
                  <a:cubicBezTo>
                    <a:pt x="96" y="29"/>
                    <a:pt x="96" y="30"/>
                    <a:pt x="97" y="31"/>
                  </a:cubicBezTo>
                  <a:cubicBezTo>
                    <a:pt x="121" y="37"/>
                    <a:pt x="138" y="60"/>
                    <a:pt x="138" y="87"/>
                  </a:cubicBezTo>
                  <a:cubicBezTo>
                    <a:pt x="138" y="119"/>
                    <a:pt x="114" y="146"/>
                    <a:pt x="83" y="146"/>
                  </a:cubicBezTo>
                  <a:cubicBezTo>
                    <a:pt x="53" y="146"/>
                    <a:pt x="29" y="119"/>
                    <a:pt x="29" y="87"/>
                  </a:cubicBezTo>
                  <a:cubicBezTo>
                    <a:pt x="29" y="61"/>
                    <a:pt x="45" y="38"/>
                    <a:pt x="68" y="31"/>
                  </a:cubicBezTo>
                  <a:cubicBezTo>
                    <a:pt x="69" y="31"/>
                    <a:pt x="70" y="30"/>
                    <a:pt x="70" y="29"/>
                  </a:cubicBezTo>
                  <a:cubicBezTo>
                    <a:pt x="70" y="3"/>
                    <a:pt x="70" y="3"/>
                    <a:pt x="70" y="3"/>
                  </a:cubicBezTo>
                  <a:cubicBezTo>
                    <a:pt x="70" y="1"/>
                    <a:pt x="69" y="0"/>
                    <a:pt x="67" y="0"/>
                  </a:cubicBezTo>
                  <a:cubicBezTo>
                    <a:pt x="67" y="0"/>
                    <a:pt x="67" y="0"/>
                    <a:pt x="6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a:p>
          </p:txBody>
        </p:sp>
        <p:sp>
          <p:nvSpPr>
            <p:cNvPr id="38" name="Oval 11">
              <a:extLst>
                <a:ext uri="{FF2B5EF4-FFF2-40B4-BE49-F238E27FC236}">
                  <a16:creationId xmlns:a16="http://schemas.microsoft.com/office/drawing/2014/main" id="{CAFF5388-EE7A-489F-88A2-5A6C6F48CE55}"/>
                </a:ext>
              </a:extLst>
            </p:cNvPr>
            <p:cNvSpPr>
              <a:spLocks noChangeArrowheads="1"/>
            </p:cNvSpPr>
            <p:nvPr/>
          </p:nvSpPr>
          <p:spPr bwMode="auto">
            <a:xfrm>
              <a:off x="284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a:p>
          </p:txBody>
        </p:sp>
        <p:sp>
          <p:nvSpPr>
            <p:cNvPr id="39" name="Oval 12">
              <a:extLst>
                <a:ext uri="{FF2B5EF4-FFF2-40B4-BE49-F238E27FC236}">
                  <a16:creationId xmlns:a16="http://schemas.microsoft.com/office/drawing/2014/main" id="{1B5BC123-DBBA-4F58-876C-851927F31BD1}"/>
                </a:ext>
              </a:extLst>
            </p:cNvPr>
            <p:cNvSpPr>
              <a:spLocks noChangeArrowheads="1"/>
            </p:cNvSpPr>
            <p:nvPr/>
          </p:nvSpPr>
          <p:spPr bwMode="auto">
            <a:xfrm>
              <a:off x="387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a:p>
          </p:txBody>
        </p:sp>
        <p:sp>
          <p:nvSpPr>
            <p:cNvPr id="40" name="Freeform 13">
              <a:extLst>
                <a:ext uri="{FF2B5EF4-FFF2-40B4-BE49-F238E27FC236}">
                  <a16:creationId xmlns:a16="http://schemas.microsoft.com/office/drawing/2014/main" id="{91A9B7AF-EC5E-4727-9179-C4A594CBD9F8}"/>
                </a:ext>
              </a:extLst>
            </p:cNvPr>
            <p:cNvSpPr>
              <a:spLocks/>
            </p:cNvSpPr>
            <p:nvPr/>
          </p:nvSpPr>
          <p:spPr bwMode="auto">
            <a:xfrm>
              <a:off x="4062" y="1584"/>
              <a:ext cx="242" cy="462"/>
            </a:xfrm>
            <a:custGeom>
              <a:avLst/>
              <a:gdLst>
                <a:gd name="T0" fmla="*/ 39 w 128"/>
                <a:gd name="T1" fmla="*/ 55 h 244"/>
                <a:gd name="T2" fmla="*/ 39 w 128"/>
                <a:gd name="T3" fmla="*/ 76 h 244"/>
                <a:gd name="T4" fmla="*/ 4 w 128"/>
                <a:gd name="T5" fmla="*/ 76 h 244"/>
                <a:gd name="T6" fmla="*/ 0 w 128"/>
                <a:gd name="T7" fmla="*/ 81 h 244"/>
                <a:gd name="T8" fmla="*/ 0 w 128"/>
                <a:gd name="T9" fmla="*/ 99 h 244"/>
                <a:gd name="T10" fmla="*/ 4 w 128"/>
                <a:gd name="T11" fmla="*/ 103 h 244"/>
                <a:gd name="T12" fmla="*/ 39 w 128"/>
                <a:gd name="T13" fmla="*/ 103 h 244"/>
                <a:gd name="T14" fmla="*/ 39 w 128"/>
                <a:gd name="T15" fmla="*/ 239 h 244"/>
                <a:gd name="T16" fmla="*/ 44 w 128"/>
                <a:gd name="T17" fmla="*/ 244 h 244"/>
                <a:gd name="T18" fmla="*/ 62 w 128"/>
                <a:gd name="T19" fmla="*/ 244 h 244"/>
                <a:gd name="T20" fmla="*/ 67 w 128"/>
                <a:gd name="T21" fmla="*/ 239 h 244"/>
                <a:gd name="T22" fmla="*/ 67 w 128"/>
                <a:gd name="T23" fmla="*/ 103 h 244"/>
                <a:gd name="T24" fmla="*/ 120 w 128"/>
                <a:gd name="T25" fmla="*/ 103 h 244"/>
                <a:gd name="T26" fmla="*/ 125 w 128"/>
                <a:gd name="T27" fmla="*/ 99 h 244"/>
                <a:gd name="T28" fmla="*/ 125 w 128"/>
                <a:gd name="T29" fmla="*/ 81 h 244"/>
                <a:gd name="T30" fmla="*/ 120 w 128"/>
                <a:gd name="T31" fmla="*/ 76 h 244"/>
                <a:gd name="T32" fmla="*/ 67 w 128"/>
                <a:gd name="T33" fmla="*/ 76 h 244"/>
                <a:gd name="T34" fmla="*/ 67 w 128"/>
                <a:gd name="T35" fmla="*/ 55 h 244"/>
                <a:gd name="T36" fmla="*/ 91 w 128"/>
                <a:gd name="T37" fmla="*/ 27 h 244"/>
                <a:gd name="T38" fmla="*/ 122 w 128"/>
                <a:gd name="T39" fmla="*/ 37 h 244"/>
                <a:gd name="T40" fmla="*/ 125 w 128"/>
                <a:gd name="T41" fmla="*/ 38 h 244"/>
                <a:gd name="T42" fmla="*/ 128 w 128"/>
                <a:gd name="T43" fmla="*/ 33 h 244"/>
                <a:gd name="T44" fmla="*/ 128 w 128"/>
                <a:gd name="T45" fmla="*/ 16 h 244"/>
                <a:gd name="T46" fmla="*/ 125 w 128"/>
                <a:gd name="T47" fmla="*/ 9 h 244"/>
                <a:gd name="T48" fmla="*/ 89 w 128"/>
                <a:gd name="T49" fmla="*/ 0 h 244"/>
                <a:gd name="T50" fmla="*/ 39 w 128"/>
                <a:gd name="T51" fmla="*/ 5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244">
                  <a:moveTo>
                    <a:pt x="39" y="55"/>
                  </a:moveTo>
                  <a:cubicBezTo>
                    <a:pt x="39" y="76"/>
                    <a:pt x="39" y="76"/>
                    <a:pt x="39" y="76"/>
                  </a:cubicBezTo>
                  <a:cubicBezTo>
                    <a:pt x="4" y="76"/>
                    <a:pt x="4" y="76"/>
                    <a:pt x="4" y="76"/>
                  </a:cubicBezTo>
                  <a:cubicBezTo>
                    <a:pt x="1" y="76"/>
                    <a:pt x="0" y="78"/>
                    <a:pt x="0" y="81"/>
                  </a:cubicBezTo>
                  <a:cubicBezTo>
                    <a:pt x="0" y="99"/>
                    <a:pt x="0" y="99"/>
                    <a:pt x="0" y="99"/>
                  </a:cubicBezTo>
                  <a:cubicBezTo>
                    <a:pt x="0" y="102"/>
                    <a:pt x="1" y="103"/>
                    <a:pt x="4" y="103"/>
                  </a:cubicBezTo>
                  <a:cubicBezTo>
                    <a:pt x="39" y="103"/>
                    <a:pt x="39" y="103"/>
                    <a:pt x="39" y="103"/>
                  </a:cubicBezTo>
                  <a:cubicBezTo>
                    <a:pt x="39" y="239"/>
                    <a:pt x="39" y="239"/>
                    <a:pt x="39" y="239"/>
                  </a:cubicBezTo>
                  <a:cubicBezTo>
                    <a:pt x="39" y="242"/>
                    <a:pt x="41" y="244"/>
                    <a:pt x="44" y="244"/>
                  </a:cubicBezTo>
                  <a:cubicBezTo>
                    <a:pt x="62" y="244"/>
                    <a:pt x="62" y="244"/>
                    <a:pt x="62" y="244"/>
                  </a:cubicBezTo>
                  <a:cubicBezTo>
                    <a:pt x="65" y="244"/>
                    <a:pt x="67" y="242"/>
                    <a:pt x="67" y="239"/>
                  </a:cubicBezTo>
                  <a:cubicBezTo>
                    <a:pt x="67" y="103"/>
                    <a:pt x="67" y="103"/>
                    <a:pt x="67" y="103"/>
                  </a:cubicBezTo>
                  <a:cubicBezTo>
                    <a:pt x="120" y="103"/>
                    <a:pt x="120" y="103"/>
                    <a:pt x="120" y="103"/>
                  </a:cubicBezTo>
                  <a:cubicBezTo>
                    <a:pt x="123" y="103"/>
                    <a:pt x="125" y="102"/>
                    <a:pt x="125" y="99"/>
                  </a:cubicBezTo>
                  <a:cubicBezTo>
                    <a:pt x="125" y="81"/>
                    <a:pt x="125" y="81"/>
                    <a:pt x="125" y="81"/>
                  </a:cubicBezTo>
                  <a:cubicBezTo>
                    <a:pt x="125" y="78"/>
                    <a:pt x="123" y="76"/>
                    <a:pt x="120" y="76"/>
                  </a:cubicBezTo>
                  <a:cubicBezTo>
                    <a:pt x="67" y="76"/>
                    <a:pt x="67" y="76"/>
                    <a:pt x="67" y="76"/>
                  </a:cubicBezTo>
                  <a:cubicBezTo>
                    <a:pt x="67" y="55"/>
                    <a:pt x="67" y="55"/>
                    <a:pt x="67" y="55"/>
                  </a:cubicBezTo>
                  <a:cubicBezTo>
                    <a:pt x="67" y="38"/>
                    <a:pt x="76" y="27"/>
                    <a:pt x="91" y="27"/>
                  </a:cubicBezTo>
                  <a:cubicBezTo>
                    <a:pt x="102" y="27"/>
                    <a:pt x="110" y="30"/>
                    <a:pt x="122" y="37"/>
                  </a:cubicBezTo>
                  <a:cubicBezTo>
                    <a:pt x="123" y="38"/>
                    <a:pt x="124" y="38"/>
                    <a:pt x="125" y="38"/>
                  </a:cubicBezTo>
                  <a:cubicBezTo>
                    <a:pt x="127" y="38"/>
                    <a:pt x="128" y="36"/>
                    <a:pt x="128" y="33"/>
                  </a:cubicBezTo>
                  <a:cubicBezTo>
                    <a:pt x="128" y="16"/>
                    <a:pt x="128" y="16"/>
                    <a:pt x="128" y="16"/>
                  </a:cubicBezTo>
                  <a:cubicBezTo>
                    <a:pt x="128" y="13"/>
                    <a:pt x="128" y="11"/>
                    <a:pt x="125" y="9"/>
                  </a:cubicBezTo>
                  <a:cubicBezTo>
                    <a:pt x="114" y="3"/>
                    <a:pt x="103" y="0"/>
                    <a:pt x="89" y="0"/>
                  </a:cubicBezTo>
                  <a:cubicBezTo>
                    <a:pt x="54" y="0"/>
                    <a:pt x="39" y="29"/>
                    <a:pt x="39"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a:p>
          </p:txBody>
        </p:sp>
        <p:sp>
          <p:nvSpPr>
            <p:cNvPr id="41" name="Freeform 14">
              <a:extLst>
                <a:ext uri="{FF2B5EF4-FFF2-40B4-BE49-F238E27FC236}">
                  <a16:creationId xmlns:a16="http://schemas.microsoft.com/office/drawing/2014/main" id="{C3E6A5B8-598D-447C-B1CD-4BD27AF4F529}"/>
                </a:ext>
              </a:extLst>
            </p:cNvPr>
            <p:cNvSpPr>
              <a:spLocks/>
            </p:cNvSpPr>
            <p:nvPr/>
          </p:nvSpPr>
          <p:spPr bwMode="auto">
            <a:xfrm>
              <a:off x="2071" y="1578"/>
              <a:ext cx="632" cy="631"/>
            </a:xfrm>
            <a:custGeom>
              <a:avLst/>
              <a:gdLst>
                <a:gd name="T0" fmla="*/ 181 w 334"/>
                <a:gd name="T1" fmla="*/ 1 h 333"/>
                <a:gd name="T2" fmla="*/ 180 w 334"/>
                <a:gd name="T3" fmla="*/ 4 h 333"/>
                <a:gd name="T4" fmla="*/ 180 w 334"/>
                <a:gd name="T5" fmla="*/ 26 h 333"/>
                <a:gd name="T6" fmla="*/ 180 w 334"/>
                <a:gd name="T7" fmla="*/ 26 h 333"/>
                <a:gd name="T8" fmla="*/ 182 w 334"/>
                <a:gd name="T9" fmla="*/ 28 h 333"/>
                <a:gd name="T10" fmla="*/ 306 w 334"/>
                <a:gd name="T11" fmla="*/ 166 h 333"/>
                <a:gd name="T12" fmla="*/ 167 w 334"/>
                <a:gd name="T13" fmla="*/ 305 h 333"/>
                <a:gd name="T14" fmla="*/ 28 w 334"/>
                <a:gd name="T15" fmla="*/ 166 h 333"/>
                <a:gd name="T16" fmla="*/ 152 w 334"/>
                <a:gd name="T17" fmla="*/ 28 h 333"/>
                <a:gd name="T18" fmla="*/ 154 w 334"/>
                <a:gd name="T19" fmla="*/ 26 h 333"/>
                <a:gd name="T20" fmla="*/ 154 w 334"/>
                <a:gd name="T21" fmla="*/ 26 h 333"/>
                <a:gd name="T22" fmla="*/ 154 w 334"/>
                <a:gd name="T23" fmla="*/ 4 h 333"/>
                <a:gd name="T24" fmla="*/ 153 w 334"/>
                <a:gd name="T25" fmla="*/ 1 h 333"/>
                <a:gd name="T26" fmla="*/ 150 w 334"/>
                <a:gd name="T27" fmla="*/ 0 h 333"/>
                <a:gd name="T28" fmla="*/ 149 w 334"/>
                <a:gd name="T29" fmla="*/ 0 h 333"/>
                <a:gd name="T30" fmla="*/ 149 w 334"/>
                <a:gd name="T31" fmla="*/ 0 h 333"/>
                <a:gd name="T32" fmla="*/ 0 w 334"/>
                <a:gd name="T33" fmla="*/ 166 h 333"/>
                <a:gd name="T34" fmla="*/ 167 w 334"/>
                <a:gd name="T35" fmla="*/ 333 h 333"/>
                <a:gd name="T36" fmla="*/ 334 w 334"/>
                <a:gd name="T37" fmla="*/ 166 h 333"/>
                <a:gd name="T38" fmla="*/ 185 w 334"/>
                <a:gd name="T39" fmla="*/ 0 h 333"/>
                <a:gd name="T40" fmla="*/ 185 w 334"/>
                <a:gd name="T41" fmla="*/ 0 h 333"/>
                <a:gd name="T42" fmla="*/ 184 w 334"/>
                <a:gd name="T43" fmla="*/ 0 h 333"/>
                <a:gd name="T44" fmla="*/ 181 w 334"/>
                <a:gd name="T45" fmla="*/ 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4" h="333">
                  <a:moveTo>
                    <a:pt x="181" y="1"/>
                  </a:moveTo>
                  <a:cubicBezTo>
                    <a:pt x="180" y="2"/>
                    <a:pt x="180" y="3"/>
                    <a:pt x="180" y="4"/>
                  </a:cubicBezTo>
                  <a:cubicBezTo>
                    <a:pt x="180" y="26"/>
                    <a:pt x="180" y="26"/>
                    <a:pt x="180" y="26"/>
                  </a:cubicBezTo>
                  <a:cubicBezTo>
                    <a:pt x="180" y="26"/>
                    <a:pt x="180" y="26"/>
                    <a:pt x="180" y="26"/>
                  </a:cubicBezTo>
                  <a:cubicBezTo>
                    <a:pt x="180" y="27"/>
                    <a:pt x="181" y="28"/>
                    <a:pt x="182" y="28"/>
                  </a:cubicBezTo>
                  <a:cubicBezTo>
                    <a:pt x="251" y="35"/>
                    <a:pt x="306" y="94"/>
                    <a:pt x="306" y="166"/>
                  </a:cubicBezTo>
                  <a:cubicBezTo>
                    <a:pt x="306" y="243"/>
                    <a:pt x="244" y="305"/>
                    <a:pt x="167" y="305"/>
                  </a:cubicBezTo>
                  <a:cubicBezTo>
                    <a:pt x="90" y="305"/>
                    <a:pt x="28" y="243"/>
                    <a:pt x="28" y="166"/>
                  </a:cubicBezTo>
                  <a:cubicBezTo>
                    <a:pt x="28" y="94"/>
                    <a:pt x="82" y="35"/>
                    <a:pt x="152" y="28"/>
                  </a:cubicBezTo>
                  <a:cubicBezTo>
                    <a:pt x="153" y="28"/>
                    <a:pt x="154" y="27"/>
                    <a:pt x="154" y="26"/>
                  </a:cubicBezTo>
                  <a:cubicBezTo>
                    <a:pt x="154" y="26"/>
                    <a:pt x="154" y="26"/>
                    <a:pt x="154" y="26"/>
                  </a:cubicBezTo>
                  <a:cubicBezTo>
                    <a:pt x="154" y="4"/>
                    <a:pt x="154" y="4"/>
                    <a:pt x="154" y="4"/>
                  </a:cubicBezTo>
                  <a:cubicBezTo>
                    <a:pt x="154" y="3"/>
                    <a:pt x="154" y="2"/>
                    <a:pt x="153" y="1"/>
                  </a:cubicBezTo>
                  <a:cubicBezTo>
                    <a:pt x="152" y="0"/>
                    <a:pt x="151" y="0"/>
                    <a:pt x="150" y="0"/>
                  </a:cubicBezTo>
                  <a:cubicBezTo>
                    <a:pt x="149" y="0"/>
                    <a:pt x="149" y="0"/>
                    <a:pt x="149" y="0"/>
                  </a:cubicBezTo>
                  <a:cubicBezTo>
                    <a:pt x="149" y="0"/>
                    <a:pt x="149" y="0"/>
                    <a:pt x="149" y="0"/>
                  </a:cubicBezTo>
                  <a:cubicBezTo>
                    <a:pt x="65" y="9"/>
                    <a:pt x="0" y="80"/>
                    <a:pt x="0" y="166"/>
                  </a:cubicBezTo>
                  <a:cubicBezTo>
                    <a:pt x="0" y="258"/>
                    <a:pt x="75" y="333"/>
                    <a:pt x="167" y="333"/>
                  </a:cubicBezTo>
                  <a:cubicBezTo>
                    <a:pt x="259" y="333"/>
                    <a:pt x="334" y="258"/>
                    <a:pt x="334" y="166"/>
                  </a:cubicBezTo>
                  <a:cubicBezTo>
                    <a:pt x="334" y="80"/>
                    <a:pt x="269" y="9"/>
                    <a:pt x="185" y="0"/>
                  </a:cubicBezTo>
                  <a:cubicBezTo>
                    <a:pt x="185" y="0"/>
                    <a:pt x="185" y="0"/>
                    <a:pt x="185" y="0"/>
                  </a:cubicBezTo>
                  <a:cubicBezTo>
                    <a:pt x="185" y="0"/>
                    <a:pt x="184" y="0"/>
                    <a:pt x="184" y="0"/>
                  </a:cubicBezTo>
                  <a:cubicBezTo>
                    <a:pt x="183" y="0"/>
                    <a:pt x="182" y="0"/>
                    <a:pt x="18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a:p>
          </p:txBody>
        </p:sp>
      </p:grpSp>
    </p:spTree>
    <p:extLst>
      <p:ext uri="{BB962C8B-B14F-4D97-AF65-F5344CB8AC3E}">
        <p14:creationId xmlns:p14="http://schemas.microsoft.com/office/powerpoint/2010/main" val="3027846810"/>
      </p:ext>
    </p:extLst>
  </p:cSld>
  <p:clrMapOvr>
    <a:masterClrMapping/>
  </p:clrMapOvr>
  <p:transition>
    <p:fade/>
  </p:transition>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wo Content Dark Lef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D86AC41-762B-4924-A899-F81343A12E1E}"/>
              </a:ext>
            </a:extLst>
          </p:cNvPr>
          <p:cNvSpPr/>
          <p:nvPr/>
        </p:nvSpPr>
        <p:spPr>
          <a:xfrm>
            <a:off x="906" y="-1"/>
            <a:ext cx="6096000" cy="6858000"/>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42" dirty="0"/>
          </a:p>
        </p:txBody>
      </p:sp>
      <p:sp>
        <p:nvSpPr>
          <p:cNvPr id="4" name="Content Placeholder 3"/>
          <p:cNvSpPr>
            <a:spLocks noGrp="1"/>
          </p:cNvSpPr>
          <p:nvPr>
            <p:ph sz="half" idx="2"/>
          </p:nvPr>
        </p:nvSpPr>
        <p:spPr>
          <a:xfrm>
            <a:off x="410878" y="1521183"/>
            <a:ext cx="5292112" cy="4494732"/>
          </a:xfrm>
        </p:spPr>
        <p:txBody>
          <a:bodyPr/>
          <a:lstStyle>
            <a:lvl1pPr>
              <a:defRPr>
                <a:solidFill>
                  <a:schemeClr val="bg1"/>
                </a:solidFill>
              </a:defRPr>
            </a:lvl1pPr>
            <a:lvl2pPr>
              <a:defRPr>
                <a:solidFill>
                  <a:schemeClr val="bg1"/>
                </a:solidFill>
              </a:defRPr>
            </a:lvl2pPr>
            <a:lvl3pPr>
              <a:defRPr>
                <a:solidFill>
                  <a:schemeClr val="accent3"/>
                </a:solidFill>
              </a:defRPr>
            </a:lvl3pPr>
            <a:lvl4pPr>
              <a:buClr>
                <a:schemeClr val="accent3"/>
              </a:buClr>
              <a:defRPr>
                <a:solidFill>
                  <a:schemeClr val="bg1"/>
                </a:solidFill>
              </a:defRPr>
            </a:lvl4pPr>
            <a:lvl5pPr>
              <a:buClr>
                <a:schemeClr val="accent3"/>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2"/>
          <p:cNvSpPr>
            <a:spLocks noGrp="1"/>
          </p:cNvSpPr>
          <p:nvPr>
            <p:ph sz="half" idx="1"/>
          </p:nvPr>
        </p:nvSpPr>
        <p:spPr>
          <a:xfrm>
            <a:off x="6487200" y="1521678"/>
            <a:ext cx="5292000" cy="44947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a:xfrm>
            <a:off x="920368" y="6332830"/>
            <a:ext cx="4784400" cy="273450"/>
          </a:xfrm>
          <a:prstGeom prst="rect">
            <a:avLst/>
          </a:prstGeom>
        </p:spPr>
        <p:txBody>
          <a:bodyPr/>
          <a:lstStyle>
            <a:lvl1pPr>
              <a:defRPr>
                <a:solidFill>
                  <a:schemeClr val="bg1"/>
                </a:solidFill>
              </a:defRPr>
            </a:lvl1pPr>
          </a:lstStyle>
          <a:p>
            <a:r>
              <a:rPr lang="en-GB"/>
              <a:t>Document Name</a:t>
            </a:r>
            <a:endParaRPr lang="en-US"/>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32B354EE-31EA-4FC2-9496-7B6202183237}" type="slidenum">
              <a:rPr lang="en-US" smtClean="0"/>
              <a:pPr/>
              <a:t>‹#›</a:t>
            </a:fld>
            <a:endParaRPr lang="en-US"/>
          </a:p>
        </p:txBody>
      </p:sp>
      <p:sp>
        <p:nvSpPr>
          <p:cNvPr id="8" name="Title 7">
            <a:extLst>
              <a:ext uri="{FF2B5EF4-FFF2-40B4-BE49-F238E27FC236}">
                <a16:creationId xmlns:a16="http://schemas.microsoft.com/office/drawing/2014/main" id="{FD930A9A-C0DD-4B8F-B286-D07D532A2ED0}"/>
              </a:ext>
            </a:extLst>
          </p:cNvPr>
          <p:cNvSpPr>
            <a:spLocks noGrp="1"/>
          </p:cNvSpPr>
          <p:nvPr>
            <p:ph type="title"/>
          </p:nvPr>
        </p:nvSpPr>
        <p:spPr>
          <a:xfrm>
            <a:off x="6487200" y="411163"/>
            <a:ext cx="5292000" cy="776038"/>
          </a:xfrm>
        </p:spPr>
        <p:txBody>
          <a:bodyPr/>
          <a:lstStyle/>
          <a:p>
            <a:r>
              <a:rPr lang="en-US"/>
              <a:t>Click to edit Master title style</a:t>
            </a:r>
            <a:endParaRPr lang="en-GB" dirty="0"/>
          </a:p>
        </p:txBody>
      </p:sp>
      <p:sp>
        <p:nvSpPr>
          <p:cNvPr id="9" name="Rectangle 8">
            <a:extLst>
              <a:ext uri="{FF2B5EF4-FFF2-40B4-BE49-F238E27FC236}">
                <a16:creationId xmlns:a16="http://schemas.microsoft.com/office/drawing/2014/main" id="{F2665820-CF86-48B2-BEB8-B3ED9076C1E7}"/>
              </a:ext>
            </a:extLst>
          </p:cNvPr>
          <p:cNvSpPr/>
          <p:nvPr/>
        </p:nvSpPr>
        <p:spPr>
          <a:xfrm>
            <a:off x="906" y="-1"/>
            <a:ext cx="6096000" cy="6858000"/>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42"/>
          </a:p>
        </p:txBody>
      </p:sp>
    </p:spTree>
    <p:extLst>
      <p:ext uri="{BB962C8B-B14F-4D97-AF65-F5344CB8AC3E}">
        <p14:creationId xmlns:p14="http://schemas.microsoft.com/office/powerpoint/2010/main" val="1752375015"/>
      </p:ext>
    </p:extLst>
  </p:cSld>
  <p:clrMapOvr>
    <a:masterClrMapping/>
  </p:clrMapOvr>
  <p:transition>
    <p:fade/>
  </p:transition>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Fact Tiles Slide">
    <p:bg>
      <p:bgPr>
        <a:solidFill>
          <a:schemeClr val="tx2"/>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866F170A-22F9-4C51-A3F5-C624133A83B4}"/>
              </a:ext>
            </a:extLst>
          </p:cNvPr>
          <p:cNvSpPr>
            <a:spLocks noGrp="1"/>
          </p:cNvSpPr>
          <p:nvPr>
            <p:ph type="body" sz="quarter" idx="13" hasCustomPrompt="1"/>
          </p:nvPr>
        </p:nvSpPr>
        <p:spPr>
          <a:xfrm>
            <a:off x="0" y="1"/>
            <a:ext cx="4065882" cy="3428999"/>
          </a:xfrm>
        </p:spPr>
        <p:txBody>
          <a:bodyPr anchor="ctr"/>
          <a:lstStyle>
            <a:lvl1pPr algn="ctr">
              <a:lnSpc>
                <a:spcPct val="100000"/>
              </a:lnSpc>
              <a:spcAft>
                <a:spcPts val="0"/>
              </a:spcAft>
              <a:defRPr sz="9200" b="0">
                <a:solidFill>
                  <a:schemeClr val="accent3"/>
                </a:solidFill>
                <a:latin typeface="+mj-lt"/>
              </a:defRPr>
            </a:lvl1pPr>
            <a:lvl2pPr algn="ctr">
              <a:defRPr sz="2200" b="0">
                <a:solidFill>
                  <a:schemeClr val="accent3"/>
                </a:solidFill>
              </a:defRPr>
            </a:lvl2pPr>
          </a:lstStyle>
          <a:p>
            <a:pPr lvl="0"/>
            <a:r>
              <a:rPr lang="en-US" dirty="0"/>
              <a:t>00</a:t>
            </a:r>
          </a:p>
          <a:p>
            <a:pPr lvl="1"/>
            <a:r>
              <a:rPr lang="en-US" dirty="0"/>
              <a:t>Second level</a:t>
            </a:r>
            <a:endParaRPr lang="en-GB" dirty="0"/>
          </a:p>
        </p:txBody>
      </p:sp>
      <p:sp>
        <p:nvSpPr>
          <p:cNvPr id="8" name="Text Placeholder 6">
            <a:extLst>
              <a:ext uri="{FF2B5EF4-FFF2-40B4-BE49-F238E27FC236}">
                <a16:creationId xmlns:a16="http://schemas.microsoft.com/office/drawing/2014/main" id="{978A6CC2-2B2B-49B7-988E-7B29E92604E5}"/>
              </a:ext>
            </a:extLst>
          </p:cNvPr>
          <p:cNvSpPr>
            <a:spLocks noGrp="1"/>
          </p:cNvSpPr>
          <p:nvPr>
            <p:ph type="body" sz="quarter" idx="14" hasCustomPrompt="1"/>
          </p:nvPr>
        </p:nvSpPr>
        <p:spPr>
          <a:xfrm>
            <a:off x="4063059" y="1"/>
            <a:ext cx="4065882" cy="3428999"/>
          </a:xfrm>
          <a:solidFill>
            <a:schemeClr val="accent3"/>
          </a:solidFill>
        </p:spPr>
        <p:txBody>
          <a:bodyPr anchor="ctr"/>
          <a:lstStyle>
            <a:lvl1pPr algn="ctr">
              <a:lnSpc>
                <a:spcPct val="100000"/>
              </a:lnSpc>
              <a:spcAft>
                <a:spcPts val="0"/>
              </a:spcAft>
              <a:defRPr sz="9200" b="0">
                <a:latin typeface="+mj-lt"/>
              </a:defRPr>
            </a:lvl1pPr>
            <a:lvl2pPr algn="ctr">
              <a:defRPr sz="2200" b="0"/>
            </a:lvl2pPr>
          </a:lstStyle>
          <a:p>
            <a:pPr lvl="0"/>
            <a:r>
              <a:rPr lang="en-US" dirty="0"/>
              <a:t>00</a:t>
            </a:r>
          </a:p>
          <a:p>
            <a:pPr lvl="1"/>
            <a:r>
              <a:rPr lang="en-US" dirty="0"/>
              <a:t>Second level</a:t>
            </a:r>
            <a:endParaRPr lang="en-GB" dirty="0"/>
          </a:p>
        </p:txBody>
      </p:sp>
      <p:sp>
        <p:nvSpPr>
          <p:cNvPr id="9" name="Text Placeholder 6">
            <a:extLst>
              <a:ext uri="{FF2B5EF4-FFF2-40B4-BE49-F238E27FC236}">
                <a16:creationId xmlns:a16="http://schemas.microsoft.com/office/drawing/2014/main" id="{56AC9356-AA84-4F4C-B1FF-5212DBD30167}"/>
              </a:ext>
            </a:extLst>
          </p:cNvPr>
          <p:cNvSpPr>
            <a:spLocks noGrp="1"/>
          </p:cNvSpPr>
          <p:nvPr>
            <p:ph type="body" sz="quarter" idx="15" hasCustomPrompt="1"/>
          </p:nvPr>
        </p:nvSpPr>
        <p:spPr>
          <a:xfrm>
            <a:off x="8126118" y="1"/>
            <a:ext cx="4065882" cy="3428999"/>
          </a:xfrm>
          <a:solidFill>
            <a:schemeClr val="accent1"/>
          </a:solidFill>
        </p:spPr>
        <p:txBody>
          <a:bodyPr anchor="ctr"/>
          <a:lstStyle>
            <a:lvl1pPr algn="ctr">
              <a:lnSpc>
                <a:spcPct val="100000"/>
              </a:lnSpc>
              <a:spcAft>
                <a:spcPts val="0"/>
              </a:spcAft>
              <a:defRPr sz="9200" b="0">
                <a:solidFill>
                  <a:schemeClr val="bg1"/>
                </a:solidFill>
                <a:latin typeface="+mj-lt"/>
              </a:defRPr>
            </a:lvl1pPr>
            <a:lvl2pPr algn="ctr">
              <a:defRPr sz="2200" b="0">
                <a:solidFill>
                  <a:schemeClr val="bg1"/>
                </a:solidFill>
              </a:defRPr>
            </a:lvl2pPr>
          </a:lstStyle>
          <a:p>
            <a:pPr lvl="0"/>
            <a:r>
              <a:rPr lang="en-US" dirty="0"/>
              <a:t>00</a:t>
            </a:r>
          </a:p>
          <a:p>
            <a:pPr lvl="1"/>
            <a:r>
              <a:rPr lang="en-US" dirty="0"/>
              <a:t>Second level</a:t>
            </a:r>
            <a:endParaRPr lang="en-GB" dirty="0"/>
          </a:p>
        </p:txBody>
      </p:sp>
      <p:sp>
        <p:nvSpPr>
          <p:cNvPr id="10" name="Text Placeholder 6">
            <a:extLst>
              <a:ext uri="{FF2B5EF4-FFF2-40B4-BE49-F238E27FC236}">
                <a16:creationId xmlns:a16="http://schemas.microsoft.com/office/drawing/2014/main" id="{F0EEEBEF-05E3-4523-B510-9AB7EDBF07CF}"/>
              </a:ext>
            </a:extLst>
          </p:cNvPr>
          <p:cNvSpPr>
            <a:spLocks noGrp="1"/>
          </p:cNvSpPr>
          <p:nvPr>
            <p:ph type="body" sz="quarter" idx="16" hasCustomPrompt="1"/>
          </p:nvPr>
        </p:nvSpPr>
        <p:spPr>
          <a:xfrm>
            <a:off x="8126118" y="3429079"/>
            <a:ext cx="4065882" cy="3428999"/>
          </a:xfrm>
        </p:spPr>
        <p:txBody>
          <a:bodyPr anchor="ctr"/>
          <a:lstStyle>
            <a:lvl1pPr algn="ctr">
              <a:lnSpc>
                <a:spcPct val="100000"/>
              </a:lnSpc>
              <a:spcAft>
                <a:spcPts val="0"/>
              </a:spcAft>
              <a:defRPr sz="9200" b="0">
                <a:solidFill>
                  <a:schemeClr val="accent3"/>
                </a:solidFill>
                <a:latin typeface="+mj-lt"/>
              </a:defRPr>
            </a:lvl1pPr>
            <a:lvl2pPr algn="ctr">
              <a:defRPr sz="2200" b="0">
                <a:solidFill>
                  <a:schemeClr val="accent3"/>
                </a:solidFill>
              </a:defRPr>
            </a:lvl2pPr>
          </a:lstStyle>
          <a:p>
            <a:pPr lvl="0"/>
            <a:r>
              <a:rPr lang="en-US" dirty="0"/>
              <a:t>00</a:t>
            </a:r>
          </a:p>
          <a:p>
            <a:pPr lvl="1"/>
            <a:r>
              <a:rPr lang="en-US" dirty="0"/>
              <a:t>Second level</a:t>
            </a:r>
            <a:endParaRPr lang="en-GB" dirty="0"/>
          </a:p>
        </p:txBody>
      </p:sp>
      <p:sp>
        <p:nvSpPr>
          <p:cNvPr id="11" name="Text Placeholder 6">
            <a:extLst>
              <a:ext uri="{FF2B5EF4-FFF2-40B4-BE49-F238E27FC236}">
                <a16:creationId xmlns:a16="http://schemas.microsoft.com/office/drawing/2014/main" id="{E8DD8EBF-71D9-4384-B696-89AB7269F144}"/>
              </a:ext>
            </a:extLst>
          </p:cNvPr>
          <p:cNvSpPr>
            <a:spLocks noGrp="1"/>
          </p:cNvSpPr>
          <p:nvPr>
            <p:ph type="body" sz="quarter" idx="17" hasCustomPrompt="1"/>
          </p:nvPr>
        </p:nvSpPr>
        <p:spPr>
          <a:xfrm>
            <a:off x="4063059" y="3429079"/>
            <a:ext cx="4065882" cy="3428999"/>
          </a:xfrm>
          <a:solidFill>
            <a:schemeClr val="bg1"/>
          </a:solidFill>
        </p:spPr>
        <p:txBody>
          <a:bodyPr anchor="ctr"/>
          <a:lstStyle>
            <a:lvl1pPr algn="ctr">
              <a:lnSpc>
                <a:spcPct val="100000"/>
              </a:lnSpc>
              <a:spcAft>
                <a:spcPts val="0"/>
              </a:spcAft>
              <a:defRPr sz="9200" b="0">
                <a:solidFill>
                  <a:schemeClr val="accent5"/>
                </a:solidFill>
                <a:latin typeface="+mj-lt"/>
              </a:defRPr>
            </a:lvl1pPr>
            <a:lvl2pPr algn="ctr">
              <a:defRPr sz="2200" b="0">
                <a:solidFill>
                  <a:schemeClr val="accent5"/>
                </a:solidFill>
              </a:defRPr>
            </a:lvl2pPr>
          </a:lstStyle>
          <a:p>
            <a:pPr lvl="0"/>
            <a:r>
              <a:rPr lang="en-US" dirty="0"/>
              <a:t>00</a:t>
            </a:r>
          </a:p>
          <a:p>
            <a:pPr lvl="1"/>
            <a:r>
              <a:rPr lang="en-US" dirty="0"/>
              <a:t>Second level</a:t>
            </a:r>
            <a:endParaRPr lang="en-GB" dirty="0"/>
          </a:p>
        </p:txBody>
      </p:sp>
      <p:sp>
        <p:nvSpPr>
          <p:cNvPr id="12" name="Text Placeholder 6">
            <a:extLst>
              <a:ext uri="{FF2B5EF4-FFF2-40B4-BE49-F238E27FC236}">
                <a16:creationId xmlns:a16="http://schemas.microsoft.com/office/drawing/2014/main" id="{9BB48325-C2CB-490C-BEC5-9F1DE6155CF1}"/>
              </a:ext>
            </a:extLst>
          </p:cNvPr>
          <p:cNvSpPr>
            <a:spLocks noGrp="1"/>
          </p:cNvSpPr>
          <p:nvPr>
            <p:ph type="body" sz="quarter" idx="18" hasCustomPrompt="1"/>
          </p:nvPr>
        </p:nvSpPr>
        <p:spPr>
          <a:xfrm>
            <a:off x="0" y="3429079"/>
            <a:ext cx="4065882" cy="3428999"/>
          </a:xfrm>
          <a:solidFill>
            <a:schemeClr val="accent1"/>
          </a:solidFill>
        </p:spPr>
        <p:txBody>
          <a:bodyPr anchor="ctr"/>
          <a:lstStyle>
            <a:lvl1pPr algn="ctr">
              <a:lnSpc>
                <a:spcPct val="100000"/>
              </a:lnSpc>
              <a:spcAft>
                <a:spcPts val="0"/>
              </a:spcAft>
              <a:defRPr sz="9200" b="0">
                <a:solidFill>
                  <a:schemeClr val="bg1"/>
                </a:solidFill>
                <a:latin typeface="+mj-lt"/>
              </a:defRPr>
            </a:lvl1pPr>
            <a:lvl2pPr algn="ctr">
              <a:defRPr sz="2200" b="0">
                <a:solidFill>
                  <a:schemeClr val="bg1"/>
                </a:solidFill>
              </a:defRPr>
            </a:lvl2pPr>
          </a:lstStyle>
          <a:p>
            <a:pPr lvl="0"/>
            <a:r>
              <a:rPr lang="en-US" dirty="0"/>
              <a:t>00</a:t>
            </a:r>
          </a:p>
          <a:p>
            <a:pPr lvl="1"/>
            <a:r>
              <a:rPr lang="en-US" dirty="0"/>
              <a:t>Second level</a:t>
            </a:r>
            <a:endParaRPr lang="en-GB" dirty="0"/>
          </a:p>
        </p:txBody>
      </p:sp>
      <p:sp>
        <p:nvSpPr>
          <p:cNvPr id="3" name="Date Placeholder 2">
            <a:extLst>
              <a:ext uri="{FF2B5EF4-FFF2-40B4-BE49-F238E27FC236}">
                <a16:creationId xmlns:a16="http://schemas.microsoft.com/office/drawing/2014/main" id="{40F9A526-7C09-4FE7-AB48-4E3DF8072AB2}"/>
              </a:ext>
            </a:extLst>
          </p:cNvPr>
          <p:cNvSpPr>
            <a:spLocks noGrp="1"/>
          </p:cNvSpPr>
          <p:nvPr>
            <p:ph type="dt" sz="half" idx="10"/>
          </p:nvPr>
        </p:nvSpPr>
        <p:spPr/>
        <p:txBody>
          <a:bodyPr/>
          <a:lstStyle>
            <a:lvl1pPr>
              <a:defRPr>
                <a:solidFill>
                  <a:schemeClr val="bg1"/>
                </a:solidFill>
              </a:defRPr>
            </a:lvl1pPr>
          </a:lstStyle>
          <a:p>
            <a:endParaRPr lang="en-US"/>
          </a:p>
        </p:txBody>
      </p:sp>
      <p:sp>
        <p:nvSpPr>
          <p:cNvPr id="4" name="Footer Placeholder 3">
            <a:extLst>
              <a:ext uri="{FF2B5EF4-FFF2-40B4-BE49-F238E27FC236}">
                <a16:creationId xmlns:a16="http://schemas.microsoft.com/office/drawing/2014/main" id="{C16E0864-1815-47B8-8BBA-B0910E1190F0}"/>
              </a:ext>
            </a:extLst>
          </p:cNvPr>
          <p:cNvSpPr>
            <a:spLocks noGrp="1"/>
          </p:cNvSpPr>
          <p:nvPr>
            <p:ph type="ftr" sz="quarter" idx="11"/>
          </p:nvPr>
        </p:nvSpPr>
        <p:spPr>
          <a:xfrm>
            <a:off x="920368" y="6332830"/>
            <a:ext cx="4784400" cy="273450"/>
          </a:xfrm>
          <a:prstGeom prst="rect">
            <a:avLst/>
          </a:prstGeom>
        </p:spPr>
        <p:txBody>
          <a:bodyPr/>
          <a:lstStyle>
            <a:lvl1pPr>
              <a:defRPr>
                <a:solidFill>
                  <a:schemeClr val="bg1"/>
                </a:solidFill>
              </a:defRPr>
            </a:lvl1pPr>
          </a:lstStyle>
          <a:p>
            <a:r>
              <a:rPr lang="en-GB"/>
              <a:t>Document Name</a:t>
            </a:r>
            <a:endParaRPr lang="en-US"/>
          </a:p>
        </p:txBody>
      </p:sp>
      <p:sp>
        <p:nvSpPr>
          <p:cNvPr id="5" name="Slide Number Placeholder 4">
            <a:extLst>
              <a:ext uri="{FF2B5EF4-FFF2-40B4-BE49-F238E27FC236}">
                <a16:creationId xmlns:a16="http://schemas.microsoft.com/office/drawing/2014/main" id="{9DD78EFC-C516-4B8D-8CA7-6B33A2BD773D}"/>
              </a:ext>
            </a:extLst>
          </p:cNvPr>
          <p:cNvSpPr>
            <a:spLocks noGrp="1"/>
          </p:cNvSpPr>
          <p:nvPr>
            <p:ph type="sldNum" sz="quarter" idx="12"/>
          </p:nvPr>
        </p:nvSpPr>
        <p:spPr/>
        <p:txBody>
          <a:bodyPr/>
          <a:lstStyle>
            <a:lvl1pPr>
              <a:defRPr>
                <a:solidFill>
                  <a:schemeClr val="bg1"/>
                </a:solidFill>
              </a:defRPr>
            </a:lvl1pPr>
          </a:lstStyle>
          <a:p>
            <a:fld id="{32B354EE-31EA-4FC2-9496-7B6202183237}" type="slidenum">
              <a:rPr lang="en-US" smtClean="0"/>
              <a:pPr/>
              <a:t>‹#›</a:t>
            </a:fld>
            <a:endParaRPr lang="en-US"/>
          </a:p>
        </p:txBody>
      </p:sp>
    </p:spTree>
    <p:extLst>
      <p:ext uri="{BB962C8B-B14F-4D97-AF65-F5344CB8AC3E}">
        <p14:creationId xmlns:p14="http://schemas.microsoft.com/office/powerpoint/2010/main" val="173194092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Closing Slide">
    <p:bg>
      <p:bgPr>
        <a:gradFill>
          <a:gsLst>
            <a:gs pos="50000">
              <a:srgbClr val="00E487"/>
            </a:gs>
            <a:gs pos="100000">
              <a:srgbClr val="1ECBD0"/>
            </a:gs>
          </a:gsLst>
          <a:lin ang="18900000" scaled="0"/>
        </a:gra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CFD4E276-C47D-4F97-8D9E-FECD172C9798}"/>
              </a:ext>
            </a:extLst>
          </p:cNvPr>
          <p:cNvGrpSpPr>
            <a:grpSpLocks noChangeAspect="1"/>
          </p:cNvGrpSpPr>
          <p:nvPr/>
        </p:nvGrpSpPr>
        <p:grpSpPr bwMode="auto">
          <a:xfrm>
            <a:off x="2835683" y="2634181"/>
            <a:ext cx="6520638" cy="1589645"/>
            <a:chOff x="2071" y="1578"/>
            <a:chExt cx="2587" cy="631"/>
          </a:xfrm>
          <a:solidFill>
            <a:schemeClr val="bg1"/>
          </a:solidFill>
        </p:grpSpPr>
        <p:sp>
          <p:nvSpPr>
            <p:cNvPr id="7" name="Freeform 5">
              <a:extLst>
                <a:ext uri="{FF2B5EF4-FFF2-40B4-BE49-F238E27FC236}">
                  <a16:creationId xmlns:a16="http://schemas.microsoft.com/office/drawing/2014/main" id="{F8587B0E-0CEF-4218-99CF-AE3634274F8F}"/>
                </a:ext>
              </a:extLst>
            </p:cNvPr>
            <p:cNvSpPr>
              <a:spLocks/>
            </p:cNvSpPr>
            <p:nvPr/>
          </p:nvSpPr>
          <p:spPr bwMode="auto">
            <a:xfrm>
              <a:off x="2765" y="1728"/>
              <a:ext cx="244" cy="318"/>
            </a:xfrm>
            <a:custGeom>
              <a:avLst/>
              <a:gdLst>
                <a:gd name="T0" fmla="*/ 12 w 129"/>
                <a:gd name="T1" fmla="*/ 0 h 168"/>
                <a:gd name="T2" fmla="*/ 8 w 129"/>
                <a:gd name="T3" fmla="*/ 4 h 168"/>
                <a:gd name="T4" fmla="*/ 8 w 129"/>
                <a:gd name="T5" fmla="*/ 25 h 168"/>
                <a:gd name="T6" fmla="*/ 12 w 129"/>
                <a:gd name="T7" fmla="*/ 29 h 168"/>
                <a:gd name="T8" fmla="*/ 48 w 129"/>
                <a:gd name="T9" fmla="*/ 29 h 168"/>
                <a:gd name="T10" fmla="*/ 48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2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2" y="0"/>
                  </a:moveTo>
                  <a:cubicBezTo>
                    <a:pt x="9" y="0"/>
                    <a:pt x="8" y="1"/>
                    <a:pt x="8" y="4"/>
                  </a:cubicBezTo>
                  <a:cubicBezTo>
                    <a:pt x="8" y="25"/>
                    <a:pt x="8" y="25"/>
                    <a:pt x="8" y="25"/>
                  </a:cubicBezTo>
                  <a:cubicBezTo>
                    <a:pt x="8" y="27"/>
                    <a:pt x="9" y="29"/>
                    <a:pt x="12" y="29"/>
                  </a:cubicBezTo>
                  <a:cubicBezTo>
                    <a:pt x="48" y="29"/>
                    <a:pt x="48" y="29"/>
                    <a:pt x="48" y="29"/>
                  </a:cubicBezTo>
                  <a:cubicBezTo>
                    <a:pt x="48" y="140"/>
                    <a:pt x="48" y="140"/>
                    <a:pt x="48"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8" y="140"/>
                    <a:pt x="125" y="140"/>
                  </a:cubicBezTo>
                  <a:cubicBezTo>
                    <a:pt x="76" y="140"/>
                    <a:pt x="76" y="140"/>
                    <a:pt x="76" y="140"/>
                  </a:cubicBezTo>
                  <a:cubicBezTo>
                    <a:pt x="76" y="4"/>
                    <a:pt x="76" y="4"/>
                    <a:pt x="76" y="4"/>
                  </a:cubicBezTo>
                  <a:cubicBezTo>
                    <a:pt x="76" y="1"/>
                    <a:pt x="75" y="0"/>
                    <a:pt x="72" y="0"/>
                  </a:cubicBezTo>
                  <a:lnTo>
                    <a:pt x="1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342" dirty="0"/>
            </a:p>
          </p:txBody>
        </p:sp>
        <p:sp>
          <p:nvSpPr>
            <p:cNvPr id="8" name="Freeform 6">
              <a:extLst>
                <a:ext uri="{FF2B5EF4-FFF2-40B4-BE49-F238E27FC236}">
                  <a16:creationId xmlns:a16="http://schemas.microsoft.com/office/drawing/2014/main" id="{E526A929-E098-4073-8B92-F18ED8E1D964}"/>
                </a:ext>
              </a:extLst>
            </p:cNvPr>
            <p:cNvSpPr>
              <a:spLocks/>
            </p:cNvSpPr>
            <p:nvPr/>
          </p:nvSpPr>
          <p:spPr bwMode="auto">
            <a:xfrm>
              <a:off x="3798" y="1728"/>
              <a:ext cx="244" cy="318"/>
            </a:xfrm>
            <a:custGeom>
              <a:avLst/>
              <a:gdLst>
                <a:gd name="T0" fmla="*/ 11 w 129"/>
                <a:gd name="T1" fmla="*/ 0 h 168"/>
                <a:gd name="T2" fmla="*/ 8 w 129"/>
                <a:gd name="T3" fmla="*/ 4 h 168"/>
                <a:gd name="T4" fmla="*/ 8 w 129"/>
                <a:gd name="T5" fmla="*/ 25 h 168"/>
                <a:gd name="T6" fmla="*/ 11 w 129"/>
                <a:gd name="T7" fmla="*/ 29 h 168"/>
                <a:gd name="T8" fmla="*/ 47 w 129"/>
                <a:gd name="T9" fmla="*/ 29 h 168"/>
                <a:gd name="T10" fmla="*/ 47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1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1" y="0"/>
                  </a:moveTo>
                  <a:cubicBezTo>
                    <a:pt x="9" y="0"/>
                    <a:pt x="8" y="1"/>
                    <a:pt x="8" y="4"/>
                  </a:cubicBezTo>
                  <a:cubicBezTo>
                    <a:pt x="8" y="25"/>
                    <a:pt x="8" y="25"/>
                    <a:pt x="8" y="25"/>
                  </a:cubicBezTo>
                  <a:cubicBezTo>
                    <a:pt x="8" y="27"/>
                    <a:pt x="9" y="29"/>
                    <a:pt x="11" y="29"/>
                  </a:cubicBezTo>
                  <a:cubicBezTo>
                    <a:pt x="47" y="29"/>
                    <a:pt x="47" y="29"/>
                    <a:pt x="47" y="29"/>
                  </a:cubicBezTo>
                  <a:cubicBezTo>
                    <a:pt x="47" y="140"/>
                    <a:pt x="47" y="140"/>
                    <a:pt x="47"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7" y="140"/>
                    <a:pt x="125" y="140"/>
                  </a:cubicBezTo>
                  <a:cubicBezTo>
                    <a:pt x="76" y="140"/>
                    <a:pt x="76" y="140"/>
                    <a:pt x="76" y="140"/>
                  </a:cubicBezTo>
                  <a:cubicBezTo>
                    <a:pt x="76" y="4"/>
                    <a:pt x="76" y="4"/>
                    <a:pt x="76" y="4"/>
                  </a:cubicBezTo>
                  <a:cubicBezTo>
                    <a:pt x="75" y="1"/>
                    <a:pt x="74" y="0"/>
                    <a:pt x="72" y="0"/>
                  </a:cubicBezTo>
                  <a:lnTo>
                    <a:pt x="1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342" dirty="0"/>
            </a:p>
          </p:txBody>
        </p:sp>
        <p:sp>
          <p:nvSpPr>
            <p:cNvPr id="9" name="Freeform 7">
              <a:extLst>
                <a:ext uri="{FF2B5EF4-FFF2-40B4-BE49-F238E27FC236}">
                  <a16:creationId xmlns:a16="http://schemas.microsoft.com/office/drawing/2014/main" id="{EDF465AE-39A5-4B73-8576-41C66C06AD43}"/>
                </a:ext>
              </a:extLst>
            </p:cNvPr>
            <p:cNvSpPr>
              <a:spLocks/>
            </p:cNvSpPr>
            <p:nvPr/>
          </p:nvSpPr>
          <p:spPr bwMode="auto">
            <a:xfrm>
              <a:off x="4361" y="1728"/>
              <a:ext cx="297" cy="464"/>
            </a:xfrm>
            <a:custGeom>
              <a:avLst/>
              <a:gdLst>
                <a:gd name="T0" fmla="*/ 132 w 157"/>
                <a:gd name="T1" fmla="*/ 0 h 245"/>
                <a:gd name="T2" fmla="*/ 127 w 157"/>
                <a:gd name="T3" fmla="*/ 3 h 245"/>
                <a:gd name="T4" fmla="*/ 127 w 157"/>
                <a:gd name="T5" fmla="*/ 3 h 245"/>
                <a:gd name="T6" fmla="*/ 79 w 157"/>
                <a:gd name="T7" fmla="*/ 128 h 245"/>
                <a:gd name="T8" fmla="*/ 30 w 157"/>
                <a:gd name="T9" fmla="*/ 4 h 245"/>
                <a:gd name="T10" fmla="*/ 25 w 157"/>
                <a:gd name="T11" fmla="*/ 0 h 245"/>
                <a:gd name="T12" fmla="*/ 4 w 157"/>
                <a:gd name="T13" fmla="*/ 0 h 245"/>
                <a:gd name="T14" fmla="*/ 0 w 157"/>
                <a:gd name="T15" fmla="*/ 3 h 245"/>
                <a:gd name="T16" fmla="*/ 1 w 157"/>
                <a:gd name="T17" fmla="*/ 6 h 245"/>
                <a:gd name="T18" fmla="*/ 1 w 157"/>
                <a:gd name="T19" fmla="*/ 6 h 245"/>
                <a:gd name="T20" fmla="*/ 1 w 157"/>
                <a:gd name="T21" fmla="*/ 6 h 245"/>
                <a:gd name="T22" fmla="*/ 64 w 157"/>
                <a:gd name="T23" fmla="*/ 168 h 245"/>
                <a:gd name="T24" fmla="*/ 59 w 157"/>
                <a:gd name="T25" fmla="*/ 182 h 245"/>
                <a:gd name="T26" fmla="*/ 48 w 157"/>
                <a:gd name="T27" fmla="*/ 205 h 245"/>
                <a:gd name="T28" fmla="*/ 38 w 157"/>
                <a:gd name="T29" fmla="*/ 215 h 245"/>
                <a:gd name="T30" fmla="*/ 30 w 157"/>
                <a:gd name="T31" fmla="*/ 217 h 245"/>
                <a:gd name="T32" fmla="*/ 26 w 157"/>
                <a:gd name="T33" fmla="*/ 216 h 245"/>
                <a:gd name="T34" fmla="*/ 14 w 157"/>
                <a:gd name="T35" fmla="*/ 213 h 245"/>
                <a:gd name="T36" fmla="*/ 7 w 157"/>
                <a:gd name="T37" fmla="*/ 210 h 245"/>
                <a:gd name="T38" fmla="*/ 3 w 157"/>
                <a:gd name="T39" fmla="*/ 215 h 245"/>
                <a:gd name="T40" fmla="*/ 3 w 157"/>
                <a:gd name="T41" fmla="*/ 233 h 245"/>
                <a:gd name="T42" fmla="*/ 3 w 157"/>
                <a:gd name="T43" fmla="*/ 233 h 245"/>
                <a:gd name="T44" fmla="*/ 7 w 157"/>
                <a:gd name="T45" fmla="*/ 240 h 245"/>
                <a:gd name="T46" fmla="*/ 32 w 157"/>
                <a:gd name="T47" fmla="*/ 245 h 245"/>
                <a:gd name="T48" fmla="*/ 54 w 157"/>
                <a:gd name="T49" fmla="*/ 238 h 245"/>
                <a:gd name="T50" fmla="*/ 73 w 157"/>
                <a:gd name="T51" fmla="*/ 220 h 245"/>
                <a:gd name="T52" fmla="*/ 79 w 157"/>
                <a:gd name="T53" fmla="*/ 208 h 245"/>
                <a:gd name="T54" fmla="*/ 156 w 157"/>
                <a:gd name="T55" fmla="*/ 6 h 245"/>
                <a:gd name="T56" fmla="*/ 157 w 157"/>
                <a:gd name="T57" fmla="*/ 3 h 245"/>
                <a:gd name="T58" fmla="*/ 153 w 157"/>
                <a:gd name="T59" fmla="*/ 0 h 245"/>
                <a:gd name="T60" fmla="*/ 132 w 157"/>
                <a:gd name="T6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7" h="245">
                  <a:moveTo>
                    <a:pt x="132" y="0"/>
                  </a:moveTo>
                  <a:cubicBezTo>
                    <a:pt x="129" y="0"/>
                    <a:pt x="128" y="1"/>
                    <a:pt x="127" y="3"/>
                  </a:cubicBezTo>
                  <a:cubicBezTo>
                    <a:pt x="127" y="3"/>
                    <a:pt x="127" y="3"/>
                    <a:pt x="127" y="3"/>
                  </a:cubicBezTo>
                  <a:cubicBezTo>
                    <a:pt x="79" y="128"/>
                    <a:pt x="79" y="128"/>
                    <a:pt x="79" y="128"/>
                  </a:cubicBezTo>
                  <a:cubicBezTo>
                    <a:pt x="30" y="4"/>
                    <a:pt x="30" y="4"/>
                    <a:pt x="30" y="4"/>
                  </a:cubicBezTo>
                  <a:cubicBezTo>
                    <a:pt x="29" y="1"/>
                    <a:pt x="28" y="0"/>
                    <a:pt x="25" y="0"/>
                  </a:cubicBezTo>
                  <a:cubicBezTo>
                    <a:pt x="4" y="0"/>
                    <a:pt x="4" y="0"/>
                    <a:pt x="4" y="0"/>
                  </a:cubicBezTo>
                  <a:cubicBezTo>
                    <a:pt x="2" y="0"/>
                    <a:pt x="0" y="1"/>
                    <a:pt x="0" y="3"/>
                  </a:cubicBezTo>
                  <a:cubicBezTo>
                    <a:pt x="0" y="4"/>
                    <a:pt x="1" y="5"/>
                    <a:pt x="1" y="6"/>
                  </a:cubicBezTo>
                  <a:cubicBezTo>
                    <a:pt x="1" y="6"/>
                    <a:pt x="1" y="6"/>
                    <a:pt x="1" y="6"/>
                  </a:cubicBezTo>
                  <a:cubicBezTo>
                    <a:pt x="1" y="6"/>
                    <a:pt x="1" y="6"/>
                    <a:pt x="1" y="6"/>
                  </a:cubicBezTo>
                  <a:cubicBezTo>
                    <a:pt x="64" y="168"/>
                    <a:pt x="64" y="168"/>
                    <a:pt x="64" y="168"/>
                  </a:cubicBezTo>
                  <a:cubicBezTo>
                    <a:pt x="59" y="182"/>
                    <a:pt x="59" y="182"/>
                    <a:pt x="59" y="182"/>
                  </a:cubicBezTo>
                  <a:cubicBezTo>
                    <a:pt x="57" y="187"/>
                    <a:pt x="53" y="199"/>
                    <a:pt x="48" y="205"/>
                  </a:cubicBezTo>
                  <a:cubicBezTo>
                    <a:pt x="44" y="211"/>
                    <a:pt x="42" y="213"/>
                    <a:pt x="38" y="215"/>
                  </a:cubicBezTo>
                  <a:cubicBezTo>
                    <a:pt x="35" y="216"/>
                    <a:pt x="33" y="217"/>
                    <a:pt x="30" y="217"/>
                  </a:cubicBezTo>
                  <a:cubicBezTo>
                    <a:pt x="28" y="217"/>
                    <a:pt x="27" y="217"/>
                    <a:pt x="26" y="216"/>
                  </a:cubicBezTo>
                  <a:cubicBezTo>
                    <a:pt x="22" y="216"/>
                    <a:pt x="18" y="214"/>
                    <a:pt x="14" y="213"/>
                  </a:cubicBezTo>
                  <a:cubicBezTo>
                    <a:pt x="11" y="212"/>
                    <a:pt x="9" y="210"/>
                    <a:pt x="7" y="210"/>
                  </a:cubicBezTo>
                  <a:cubicBezTo>
                    <a:pt x="5" y="210"/>
                    <a:pt x="3" y="212"/>
                    <a:pt x="3" y="215"/>
                  </a:cubicBezTo>
                  <a:cubicBezTo>
                    <a:pt x="3" y="233"/>
                    <a:pt x="3" y="233"/>
                    <a:pt x="3" y="233"/>
                  </a:cubicBezTo>
                  <a:cubicBezTo>
                    <a:pt x="3" y="233"/>
                    <a:pt x="3" y="233"/>
                    <a:pt x="3" y="233"/>
                  </a:cubicBezTo>
                  <a:cubicBezTo>
                    <a:pt x="3" y="236"/>
                    <a:pt x="4" y="238"/>
                    <a:pt x="7" y="240"/>
                  </a:cubicBezTo>
                  <a:cubicBezTo>
                    <a:pt x="15" y="243"/>
                    <a:pt x="21" y="245"/>
                    <a:pt x="32" y="245"/>
                  </a:cubicBezTo>
                  <a:cubicBezTo>
                    <a:pt x="41" y="244"/>
                    <a:pt x="47" y="242"/>
                    <a:pt x="54" y="238"/>
                  </a:cubicBezTo>
                  <a:cubicBezTo>
                    <a:pt x="61" y="233"/>
                    <a:pt x="67" y="227"/>
                    <a:pt x="73" y="220"/>
                  </a:cubicBezTo>
                  <a:cubicBezTo>
                    <a:pt x="75" y="216"/>
                    <a:pt x="77" y="212"/>
                    <a:pt x="79" y="208"/>
                  </a:cubicBezTo>
                  <a:cubicBezTo>
                    <a:pt x="83" y="200"/>
                    <a:pt x="144" y="40"/>
                    <a:pt x="156" y="6"/>
                  </a:cubicBezTo>
                  <a:cubicBezTo>
                    <a:pt x="157" y="5"/>
                    <a:pt x="157" y="4"/>
                    <a:pt x="157" y="3"/>
                  </a:cubicBezTo>
                  <a:cubicBezTo>
                    <a:pt x="157" y="1"/>
                    <a:pt x="155" y="0"/>
                    <a:pt x="153" y="0"/>
                  </a:cubicBezTo>
                  <a:lnTo>
                    <a:pt x="13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342" dirty="0"/>
            </a:p>
          </p:txBody>
        </p:sp>
        <p:sp>
          <p:nvSpPr>
            <p:cNvPr id="10" name="Freeform 8">
              <a:extLst>
                <a:ext uri="{FF2B5EF4-FFF2-40B4-BE49-F238E27FC236}">
                  <a16:creationId xmlns:a16="http://schemas.microsoft.com/office/drawing/2014/main" id="{FA4DA928-058C-40DF-A9B6-21272F81C671}"/>
                </a:ext>
              </a:extLst>
            </p:cNvPr>
            <p:cNvSpPr>
              <a:spLocks/>
            </p:cNvSpPr>
            <p:nvPr/>
          </p:nvSpPr>
          <p:spPr bwMode="auto">
            <a:xfrm>
              <a:off x="3457" y="1726"/>
              <a:ext cx="263" cy="322"/>
            </a:xfrm>
            <a:custGeom>
              <a:avLst/>
              <a:gdLst>
                <a:gd name="T0" fmla="*/ 28 w 139"/>
                <a:gd name="T1" fmla="*/ 21 h 170"/>
                <a:gd name="T2" fmla="*/ 28 w 139"/>
                <a:gd name="T3" fmla="*/ 6 h 170"/>
                <a:gd name="T4" fmla="*/ 25 w 139"/>
                <a:gd name="T5" fmla="*/ 3 h 170"/>
                <a:gd name="T6" fmla="*/ 4 w 139"/>
                <a:gd name="T7" fmla="*/ 3 h 170"/>
                <a:gd name="T8" fmla="*/ 0 w 139"/>
                <a:gd name="T9" fmla="*/ 6 h 170"/>
                <a:gd name="T10" fmla="*/ 0 w 139"/>
                <a:gd name="T11" fmla="*/ 167 h 170"/>
                <a:gd name="T12" fmla="*/ 4 w 139"/>
                <a:gd name="T13" fmla="*/ 170 h 170"/>
                <a:gd name="T14" fmla="*/ 25 w 139"/>
                <a:gd name="T15" fmla="*/ 170 h 170"/>
                <a:gd name="T16" fmla="*/ 28 w 139"/>
                <a:gd name="T17" fmla="*/ 167 h 170"/>
                <a:gd name="T18" fmla="*/ 28 w 139"/>
                <a:gd name="T19" fmla="*/ 68 h 170"/>
                <a:gd name="T20" fmla="*/ 70 w 139"/>
                <a:gd name="T21" fmla="*/ 28 h 170"/>
                <a:gd name="T22" fmla="*/ 111 w 139"/>
                <a:gd name="T23" fmla="*/ 68 h 170"/>
                <a:gd name="T24" fmla="*/ 111 w 139"/>
                <a:gd name="T25" fmla="*/ 167 h 170"/>
                <a:gd name="T26" fmla="*/ 111 w 139"/>
                <a:gd name="T27" fmla="*/ 167 h 170"/>
                <a:gd name="T28" fmla="*/ 114 w 139"/>
                <a:gd name="T29" fmla="*/ 170 h 170"/>
                <a:gd name="T30" fmla="*/ 136 w 139"/>
                <a:gd name="T31" fmla="*/ 170 h 170"/>
                <a:gd name="T32" fmla="*/ 139 w 139"/>
                <a:gd name="T33" fmla="*/ 167 h 170"/>
                <a:gd name="T34" fmla="*/ 139 w 139"/>
                <a:gd name="T35" fmla="*/ 68 h 170"/>
                <a:gd name="T36" fmla="*/ 139 w 139"/>
                <a:gd name="T37" fmla="*/ 68 h 170"/>
                <a:gd name="T38" fmla="*/ 139 w 139"/>
                <a:gd name="T39" fmla="*/ 68 h 170"/>
                <a:gd name="T40" fmla="*/ 120 w 139"/>
                <a:gd name="T41" fmla="*/ 20 h 170"/>
                <a:gd name="T42" fmla="*/ 70 w 139"/>
                <a:gd name="T43" fmla="*/ 0 h 170"/>
                <a:gd name="T44" fmla="*/ 28 w 139"/>
                <a:gd name="T45" fmla="*/ 2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170">
                  <a:moveTo>
                    <a:pt x="28" y="21"/>
                  </a:moveTo>
                  <a:cubicBezTo>
                    <a:pt x="28" y="6"/>
                    <a:pt x="28" y="6"/>
                    <a:pt x="28" y="6"/>
                  </a:cubicBezTo>
                  <a:cubicBezTo>
                    <a:pt x="28" y="4"/>
                    <a:pt x="27" y="3"/>
                    <a:pt x="25" y="3"/>
                  </a:cubicBezTo>
                  <a:cubicBezTo>
                    <a:pt x="4" y="3"/>
                    <a:pt x="4" y="3"/>
                    <a:pt x="4" y="3"/>
                  </a:cubicBezTo>
                  <a:cubicBezTo>
                    <a:pt x="1" y="3"/>
                    <a:pt x="0" y="4"/>
                    <a:pt x="0" y="6"/>
                  </a:cubicBezTo>
                  <a:cubicBezTo>
                    <a:pt x="0" y="167"/>
                    <a:pt x="0" y="167"/>
                    <a:pt x="0" y="167"/>
                  </a:cubicBezTo>
                  <a:cubicBezTo>
                    <a:pt x="0" y="169"/>
                    <a:pt x="1" y="170"/>
                    <a:pt x="4" y="170"/>
                  </a:cubicBezTo>
                  <a:cubicBezTo>
                    <a:pt x="25" y="170"/>
                    <a:pt x="25" y="170"/>
                    <a:pt x="25" y="170"/>
                  </a:cubicBezTo>
                  <a:cubicBezTo>
                    <a:pt x="27" y="170"/>
                    <a:pt x="28" y="169"/>
                    <a:pt x="28" y="167"/>
                  </a:cubicBezTo>
                  <a:cubicBezTo>
                    <a:pt x="28" y="68"/>
                    <a:pt x="28" y="68"/>
                    <a:pt x="28" y="68"/>
                  </a:cubicBezTo>
                  <a:cubicBezTo>
                    <a:pt x="28" y="49"/>
                    <a:pt x="42" y="28"/>
                    <a:pt x="70" y="28"/>
                  </a:cubicBezTo>
                  <a:cubicBezTo>
                    <a:pt x="97" y="28"/>
                    <a:pt x="111" y="49"/>
                    <a:pt x="111" y="68"/>
                  </a:cubicBezTo>
                  <a:cubicBezTo>
                    <a:pt x="111" y="167"/>
                    <a:pt x="111" y="167"/>
                    <a:pt x="111" y="167"/>
                  </a:cubicBezTo>
                  <a:cubicBezTo>
                    <a:pt x="111" y="167"/>
                    <a:pt x="111" y="167"/>
                    <a:pt x="111" y="167"/>
                  </a:cubicBezTo>
                  <a:cubicBezTo>
                    <a:pt x="111" y="169"/>
                    <a:pt x="112" y="170"/>
                    <a:pt x="114" y="170"/>
                  </a:cubicBezTo>
                  <a:cubicBezTo>
                    <a:pt x="136" y="170"/>
                    <a:pt x="136" y="170"/>
                    <a:pt x="136" y="170"/>
                  </a:cubicBezTo>
                  <a:cubicBezTo>
                    <a:pt x="138" y="170"/>
                    <a:pt x="139" y="169"/>
                    <a:pt x="139" y="167"/>
                  </a:cubicBezTo>
                  <a:cubicBezTo>
                    <a:pt x="139" y="68"/>
                    <a:pt x="139" y="68"/>
                    <a:pt x="139" y="68"/>
                  </a:cubicBezTo>
                  <a:cubicBezTo>
                    <a:pt x="139" y="68"/>
                    <a:pt x="139" y="68"/>
                    <a:pt x="139" y="68"/>
                  </a:cubicBezTo>
                  <a:cubicBezTo>
                    <a:pt x="139" y="68"/>
                    <a:pt x="139" y="68"/>
                    <a:pt x="139" y="68"/>
                  </a:cubicBezTo>
                  <a:cubicBezTo>
                    <a:pt x="139" y="51"/>
                    <a:pt x="133" y="35"/>
                    <a:pt x="120" y="20"/>
                  </a:cubicBezTo>
                  <a:cubicBezTo>
                    <a:pt x="109" y="7"/>
                    <a:pt x="88" y="0"/>
                    <a:pt x="70" y="0"/>
                  </a:cubicBezTo>
                  <a:cubicBezTo>
                    <a:pt x="41" y="0"/>
                    <a:pt x="28" y="21"/>
                    <a:pt x="28" y="2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342" dirty="0"/>
            </a:p>
          </p:txBody>
        </p:sp>
        <p:sp>
          <p:nvSpPr>
            <p:cNvPr id="11" name="Freeform 9">
              <a:extLst>
                <a:ext uri="{FF2B5EF4-FFF2-40B4-BE49-F238E27FC236}">
                  <a16:creationId xmlns:a16="http://schemas.microsoft.com/office/drawing/2014/main" id="{BDBE2736-4D16-47F2-8CC1-7353D5B149D2}"/>
                </a:ext>
              </a:extLst>
            </p:cNvPr>
            <p:cNvSpPr>
              <a:spLocks/>
            </p:cNvSpPr>
            <p:nvPr/>
          </p:nvSpPr>
          <p:spPr bwMode="auto">
            <a:xfrm>
              <a:off x="2264" y="1724"/>
              <a:ext cx="246" cy="328"/>
            </a:xfrm>
            <a:custGeom>
              <a:avLst/>
              <a:gdLst>
                <a:gd name="T0" fmla="*/ 4 w 130"/>
                <a:gd name="T1" fmla="*/ 48 h 173"/>
                <a:gd name="T2" fmla="*/ 56 w 130"/>
                <a:gd name="T3" fmla="*/ 97 h 173"/>
                <a:gd name="T4" fmla="*/ 57 w 130"/>
                <a:gd name="T5" fmla="*/ 98 h 173"/>
                <a:gd name="T6" fmla="*/ 101 w 130"/>
                <a:gd name="T7" fmla="*/ 124 h 173"/>
                <a:gd name="T8" fmla="*/ 66 w 130"/>
                <a:gd name="T9" fmla="*/ 146 h 173"/>
                <a:gd name="T10" fmla="*/ 30 w 130"/>
                <a:gd name="T11" fmla="*/ 118 h 173"/>
                <a:gd name="T12" fmla="*/ 26 w 130"/>
                <a:gd name="T13" fmla="*/ 114 h 173"/>
                <a:gd name="T14" fmla="*/ 5 w 130"/>
                <a:gd name="T15" fmla="*/ 114 h 173"/>
                <a:gd name="T16" fmla="*/ 0 w 130"/>
                <a:gd name="T17" fmla="*/ 118 h 173"/>
                <a:gd name="T18" fmla="*/ 65 w 130"/>
                <a:gd name="T19" fmla="*/ 173 h 173"/>
                <a:gd name="T20" fmla="*/ 130 w 130"/>
                <a:gd name="T21" fmla="*/ 120 h 173"/>
                <a:gd name="T22" fmla="*/ 72 w 130"/>
                <a:gd name="T23" fmla="*/ 74 h 173"/>
                <a:gd name="T24" fmla="*/ 32 w 130"/>
                <a:gd name="T25" fmla="*/ 48 h 173"/>
                <a:gd name="T26" fmla="*/ 63 w 130"/>
                <a:gd name="T27" fmla="*/ 27 h 173"/>
                <a:gd name="T28" fmla="*/ 97 w 130"/>
                <a:gd name="T29" fmla="*/ 49 h 173"/>
                <a:gd name="T30" fmla="*/ 102 w 130"/>
                <a:gd name="T31" fmla="*/ 53 h 173"/>
                <a:gd name="T32" fmla="*/ 120 w 130"/>
                <a:gd name="T33" fmla="*/ 53 h 173"/>
                <a:gd name="T34" fmla="*/ 125 w 130"/>
                <a:gd name="T35" fmla="*/ 48 h 173"/>
                <a:gd name="T36" fmla="*/ 63 w 130"/>
                <a:gd name="T37" fmla="*/ 0 h 173"/>
                <a:gd name="T38" fmla="*/ 4 w 130"/>
                <a:gd name="T39" fmla="*/ 4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173">
                  <a:moveTo>
                    <a:pt x="4" y="48"/>
                  </a:moveTo>
                  <a:cubicBezTo>
                    <a:pt x="4" y="77"/>
                    <a:pt x="19" y="91"/>
                    <a:pt x="56" y="97"/>
                  </a:cubicBezTo>
                  <a:cubicBezTo>
                    <a:pt x="57" y="98"/>
                    <a:pt x="57" y="98"/>
                    <a:pt x="57" y="98"/>
                  </a:cubicBezTo>
                  <a:cubicBezTo>
                    <a:pt x="83" y="102"/>
                    <a:pt x="101" y="105"/>
                    <a:pt x="101" y="124"/>
                  </a:cubicBezTo>
                  <a:cubicBezTo>
                    <a:pt x="101" y="139"/>
                    <a:pt x="83" y="146"/>
                    <a:pt x="66" y="146"/>
                  </a:cubicBezTo>
                  <a:cubicBezTo>
                    <a:pt x="46" y="146"/>
                    <a:pt x="33" y="136"/>
                    <a:pt x="30" y="118"/>
                  </a:cubicBezTo>
                  <a:cubicBezTo>
                    <a:pt x="30" y="116"/>
                    <a:pt x="29" y="114"/>
                    <a:pt x="26" y="114"/>
                  </a:cubicBezTo>
                  <a:cubicBezTo>
                    <a:pt x="5" y="114"/>
                    <a:pt x="5" y="114"/>
                    <a:pt x="5" y="114"/>
                  </a:cubicBezTo>
                  <a:cubicBezTo>
                    <a:pt x="2" y="114"/>
                    <a:pt x="0" y="116"/>
                    <a:pt x="0" y="118"/>
                  </a:cubicBezTo>
                  <a:cubicBezTo>
                    <a:pt x="0" y="150"/>
                    <a:pt x="27" y="173"/>
                    <a:pt x="65" y="173"/>
                  </a:cubicBezTo>
                  <a:cubicBezTo>
                    <a:pt x="104" y="173"/>
                    <a:pt x="130" y="151"/>
                    <a:pt x="130" y="120"/>
                  </a:cubicBezTo>
                  <a:cubicBezTo>
                    <a:pt x="130" y="86"/>
                    <a:pt x="100" y="79"/>
                    <a:pt x="72" y="74"/>
                  </a:cubicBezTo>
                  <a:cubicBezTo>
                    <a:pt x="37" y="68"/>
                    <a:pt x="32" y="58"/>
                    <a:pt x="32" y="48"/>
                  </a:cubicBezTo>
                  <a:cubicBezTo>
                    <a:pt x="32" y="32"/>
                    <a:pt x="49" y="27"/>
                    <a:pt x="63" y="27"/>
                  </a:cubicBezTo>
                  <a:cubicBezTo>
                    <a:pt x="82" y="27"/>
                    <a:pt x="94" y="34"/>
                    <a:pt x="97" y="49"/>
                  </a:cubicBezTo>
                  <a:cubicBezTo>
                    <a:pt x="98" y="51"/>
                    <a:pt x="98" y="53"/>
                    <a:pt x="102" y="53"/>
                  </a:cubicBezTo>
                  <a:cubicBezTo>
                    <a:pt x="120" y="53"/>
                    <a:pt x="120" y="53"/>
                    <a:pt x="120" y="53"/>
                  </a:cubicBezTo>
                  <a:cubicBezTo>
                    <a:pt x="123" y="53"/>
                    <a:pt x="125" y="51"/>
                    <a:pt x="125" y="48"/>
                  </a:cubicBezTo>
                  <a:cubicBezTo>
                    <a:pt x="125" y="19"/>
                    <a:pt x="100" y="0"/>
                    <a:pt x="63" y="0"/>
                  </a:cubicBezTo>
                  <a:cubicBezTo>
                    <a:pt x="22" y="0"/>
                    <a:pt x="4" y="25"/>
                    <a:pt x="4" y="4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342" dirty="0"/>
            </a:p>
          </p:txBody>
        </p:sp>
        <p:sp>
          <p:nvSpPr>
            <p:cNvPr id="12" name="Freeform 10">
              <a:extLst>
                <a:ext uri="{FF2B5EF4-FFF2-40B4-BE49-F238E27FC236}">
                  <a16:creationId xmlns:a16="http://schemas.microsoft.com/office/drawing/2014/main" id="{C990E525-4DF6-403E-9092-24C5DCE5B33A}"/>
                </a:ext>
              </a:extLst>
            </p:cNvPr>
            <p:cNvSpPr>
              <a:spLocks/>
            </p:cNvSpPr>
            <p:nvPr/>
          </p:nvSpPr>
          <p:spPr bwMode="auto">
            <a:xfrm>
              <a:off x="3062" y="1722"/>
              <a:ext cx="312" cy="474"/>
            </a:xfrm>
            <a:custGeom>
              <a:avLst/>
              <a:gdLst>
                <a:gd name="T0" fmla="*/ 67 w 165"/>
                <a:gd name="T1" fmla="*/ 0 h 250"/>
                <a:gd name="T2" fmla="*/ 0 w 165"/>
                <a:gd name="T3" fmla="*/ 86 h 250"/>
                <a:gd name="T4" fmla="*/ 82 w 165"/>
                <a:gd name="T5" fmla="*/ 174 h 250"/>
                <a:gd name="T6" fmla="*/ 137 w 165"/>
                <a:gd name="T7" fmla="*/ 152 h 250"/>
                <a:gd name="T8" fmla="*/ 137 w 165"/>
                <a:gd name="T9" fmla="*/ 173 h 250"/>
                <a:gd name="T10" fmla="*/ 89 w 165"/>
                <a:gd name="T11" fmla="*/ 222 h 250"/>
                <a:gd name="T12" fmla="*/ 48 w 165"/>
                <a:gd name="T13" fmla="*/ 194 h 250"/>
                <a:gd name="T14" fmla="*/ 43 w 165"/>
                <a:gd name="T15" fmla="*/ 190 h 250"/>
                <a:gd name="T16" fmla="*/ 24 w 165"/>
                <a:gd name="T17" fmla="*/ 190 h 250"/>
                <a:gd name="T18" fmla="*/ 19 w 165"/>
                <a:gd name="T19" fmla="*/ 195 h 250"/>
                <a:gd name="T20" fmla="*/ 89 w 165"/>
                <a:gd name="T21" fmla="*/ 250 h 250"/>
                <a:gd name="T22" fmla="*/ 165 w 165"/>
                <a:gd name="T23" fmla="*/ 174 h 250"/>
                <a:gd name="T24" fmla="*/ 165 w 165"/>
                <a:gd name="T25" fmla="*/ 7 h 250"/>
                <a:gd name="T26" fmla="*/ 162 w 165"/>
                <a:gd name="T27" fmla="*/ 4 h 250"/>
                <a:gd name="T28" fmla="*/ 140 w 165"/>
                <a:gd name="T29" fmla="*/ 4 h 250"/>
                <a:gd name="T30" fmla="*/ 137 w 165"/>
                <a:gd name="T31" fmla="*/ 7 h 250"/>
                <a:gd name="T32" fmla="*/ 137 w 165"/>
                <a:gd name="T33" fmla="*/ 21 h 250"/>
                <a:gd name="T34" fmla="*/ 99 w 165"/>
                <a:gd name="T35" fmla="*/ 0 h 250"/>
                <a:gd name="T36" fmla="*/ 96 w 165"/>
                <a:gd name="T37" fmla="*/ 3 h 250"/>
                <a:gd name="T38" fmla="*/ 96 w 165"/>
                <a:gd name="T39" fmla="*/ 28 h 250"/>
                <a:gd name="T40" fmla="*/ 97 w 165"/>
                <a:gd name="T41" fmla="*/ 31 h 250"/>
                <a:gd name="T42" fmla="*/ 138 w 165"/>
                <a:gd name="T43" fmla="*/ 87 h 250"/>
                <a:gd name="T44" fmla="*/ 83 w 165"/>
                <a:gd name="T45" fmla="*/ 146 h 250"/>
                <a:gd name="T46" fmla="*/ 29 w 165"/>
                <a:gd name="T47" fmla="*/ 87 h 250"/>
                <a:gd name="T48" fmla="*/ 68 w 165"/>
                <a:gd name="T49" fmla="*/ 31 h 250"/>
                <a:gd name="T50" fmla="*/ 70 w 165"/>
                <a:gd name="T51" fmla="*/ 29 h 250"/>
                <a:gd name="T52" fmla="*/ 70 w 165"/>
                <a:gd name="T53" fmla="*/ 3 h 250"/>
                <a:gd name="T54" fmla="*/ 67 w 165"/>
                <a:gd name="T55" fmla="*/ 0 h 250"/>
                <a:gd name="T56" fmla="*/ 67 w 165"/>
                <a:gd name="T57"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5" h="250">
                  <a:moveTo>
                    <a:pt x="67" y="0"/>
                  </a:moveTo>
                  <a:cubicBezTo>
                    <a:pt x="29" y="8"/>
                    <a:pt x="0" y="44"/>
                    <a:pt x="0" y="86"/>
                  </a:cubicBezTo>
                  <a:cubicBezTo>
                    <a:pt x="0" y="135"/>
                    <a:pt x="37" y="174"/>
                    <a:pt x="82" y="174"/>
                  </a:cubicBezTo>
                  <a:cubicBezTo>
                    <a:pt x="103" y="174"/>
                    <a:pt x="122" y="166"/>
                    <a:pt x="137" y="152"/>
                  </a:cubicBezTo>
                  <a:cubicBezTo>
                    <a:pt x="137" y="173"/>
                    <a:pt x="137" y="173"/>
                    <a:pt x="137" y="173"/>
                  </a:cubicBezTo>
                  <a:cubicBezTo>
                    <a:pt x="137" y="205"/>
                    <a:pt x="120" y="222"/>
                    <a:pt x="89" y="222"/>
                  </a:cubicBezTo>
                  <a:cubicBezTo>
                    <a:pt x="66" y="222"/>
                    <a:pt x="52" y="213"/>
                    <a:pt x="48" y="194"/>
                  </a:cubicBezTo>
                  <a:cubicBezTo>
                    <a:pt x="47" y="192"/>
                    <a:pt x="46" y="190"/>
                    <a:pt x="43" y="190"/>
                  </a:cubicBezTo>
                  <a:cubicBezTo>
                    <a:pt x="24" y="190"/>
                    <a:pt x="24" y="190"/>
                    <a:pt x="24" y="190"/>
                  </a:cubicBezTo>
                  <a:cubicBezTo>
                    <a:pt x="21" y="190"/>
                    <a:pt x="19" y="192"/>
                    <a:pt x="19" y="195"/>
                  </a:cubicBezTo>
                  <a:cubicBezTo>
                    <a:pt x="22" y="228"/>
                    <a:pt x="51" y="250"/>
                    <a:pt x="89" y="250"/>
                  </a:cubicBezTo>
                  <a:cubicBezTo>
                    <a:pt x="135" y="250"/>
                    <a:pt x="165" y="219"/>
                    <a:pt x="165" y="174"/>
                  </a:cubicBezTo>
                  <a:cubicBezTo>
                    <a:pt x="165" y="7"/>
                    <a:pt x="165" y="7"/>
                    <a:pt x="165" y="7"/>
                  </a:cubicBezTo>
                  <a:cubicBezTo>
                    <a:pt x="165" y="5"/>
                    <a:pt x="164" y="4"/>
                    <a:pt x="162" y="4"/>
                  </a:cubicBezTo>
                  <a:cubicBezTo>
                    <a:pt x="140" y="4"/>
                    <a:pt x="140" y="4"/>
                    <a:pt x="140" y="4"/>
                  </a:cubicBezTo>
                  <a:cubicBezTo>
                    <a:pt x="138" y="4"/>
                    <a:pt x="137" y="5"/>
                    <a:pt x="137" y="7"/>
                  </a:cubicBezTo>
                  <a:cubicBezTo>
                    <a:pt x="137" y="21"/>
                    <a:pt x="137" y="21"/>
                    <a:pt x="137" y="21"/>
                  </a:cubicBezTo>
                  <a:cubicBezTo>
                    <a:pt x="126" y="11"/>
                    <a:pt x="113" y="4"/>
                    <a:pt x="99" y="0"/>
                  </a:cubicBezTo>
                  <a:cubicBezTo>
                    <a:pt x="97" y="0"/>
                    <a:pt x="96" y="1"/>
                    <a:pt x="96" y="3"/>
                  </a:cubicBezTo>
                  <a:cubicBezTo>
                    <a:pt x="96" y="28"/>
                    <a:pt x="96" y="28"/>
                    <a:pt x="96" y="28"/>
                  </a:cubicBezTo>
                  <a:cubicBezTo>
                    <a:pt x="96" y="29"/>
                    <a:pt x="96" y="30"/>
                    <a:pt x="97" y="31"/>
                  </a:cubicBezTo>
                  <a:cubicBezTo>
                    <a:pt x="121" y="37"/>
                    <a:pt x="138" y="60"/>
                    <a:pt x="138" y="87"/>
                  </a:cubicBezTo>
                  <a:cubicBezTo>
                    <a:pt x="138" y="119"/>
                    <a:pt x="114" y="146"/>
                    <a:pt x="83" y="146"/>
                  </a:cubicBezTo>
                  <a:cubicBezTo>
                    <a:pt x="53" y="146"/>
                    <a:pt x="29" y="119"/>
                    <a:pt x="29" y="87"/>
                  </a:cubicBezTo>
                  <a:cubicBezTo>
                    <a:pt x="29" y="61"/>
                    <a:pt x="45" y="38"/>
                    <a:pt x="68" y="31"/>
                  </a:cubicBezTo>
                  <a:cubicBezTo>
                    <a:pt x="69" y="31"/>
                    <a:pt x="70" y="30"/>
                    <a:pt x="70" y="29"/>
                  </a:cubicBezTo>
                  <a:cubicBezTo>
                    <a:pt x="70" y="3"/>
                    <a:pt x="70" y="3"/>
                    <a:pt x="70" y="3"/>
                  </a:cubicBezTo>
                  <a:cubicBezTo>
                    <a:pt x="70" y="1"/>
                    <a:pt x="69" y="0"/>
                    <a:pt x="67" y="0"/>
                  </a:cubicBezTo>
                  <a:cubicBezTo>
                    <a:pt x="67" y="0"/>
                    <a:pt x="67" y="0"/>
                    <a:pt x="67"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342" dirty="0"/>
            </a:p>
          </p:txBody>
        </p:sp>
        <p:sp>
          <p:nvSpPr>
            <p:cNvPr id="13" name="Oval 12">
              <a:extLst>
                <a:ext uri="{FF2B5EF4-FFF2-40B4-BE49-F238E27FC236}">
                  <a16:creationId xmlns:a16="http://schemas.microsoft.com/office/drawing/2014/main" id="{1114B85E-E1BE-464E-8E28-ACA4300CA4C0}"/>
                </a:ext>
              </a:extLst>
            </p:cNvPr>
            <p:cNvSpPr>
              <a:spLocks noChangeArrowheads="1"/>
            </p:cNvSpPr>
            <p:nvPr/>
          </p:nvSpPr>
          <p:spPr bwMode="auto">
            <a:xfrm>
              <a:off x="2843" y="1589"/>
              <a:ext cx="87" cy="8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2342" dirty="0"/>
            </a:p>
          </p:txBody>
        </p:sp>
        <p:sp>
          <p:nvSpPr>
            <p:cNvPr id="14" name="Oval 13">
              <a:extLst>
                <a:ext uri="{FF2B5EF4-FFF2-40B4-BE49-F238E27FC236}">
                  <a16:creationId xmlns:a16="http://schemas.microsoft.com/office/drawing/2014/main" id="{5BA160C3-B4E4-4003-BFF3-28A6B0C1B0F9}"/>
                </a:ext>
              </a:extLst>
            </p:cNvPr>
            <p:cNvSpPr>
              <a:spLocks noChangeArrowheads="1"/>
            </p:cNvSpPr>
            <p:nvPr/>
          </p:nvSpPr>
          <p:spPr bwMode="auto">
            <a:xfrm>
              <a:off x="3873" y="1589"/>
              <a:ext cx="87" cy="8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2342" dirty="0"/>
            </a:p>
          </p:txBody>
        </p:sp>
        <p:sp>
          <p:nvSpPr>
            <p:cNvPr id="15" name="Freeform 13">
              <a:extLst>
                <a:ext uri="{FF2B5EF4-FFF2-40B4-BE49-F238E27FC236}">
                  <a16:creationId xmlns:a16="http://schemas.microsoft.com/office/drawing/2014/main" id="{0F26E6D7-1351-4C95-A3E8-FF86354A3C85}"/>
                </a:ext>
              </a:extLst>
            </p:cNvPr>
            <p:cNvSpPr>
              <a:spLocks/>
            </p:cNvSpPr>
            <p:nvPr/>
          </p:nvSpPr>
          <p:spPr bwMode="auto">
            <a:xfrm>
              <a:off x="4062" y="1584"/>
              <a:ext cx="242" cy="462"/>
            </a:xfrm>
            <a:custGeom>
              <a:avLst/>
              <a:gdLst>
                <a:gd name="T0" fmla="*/ 39 w 128"/>
                <a:gd name="T1" fmla="*/ 55 h 244"/>
                <a:gd name="T2" fmla="*/ 39 w 128"/>
                <a:gd name="T3" fmla="*/ 76 h 244"/>
                <a:gd name="T4" fmla="*/ 4 w 128"/>
                <a:gd name="T5" fmla="*/ 76 h 244"/>
                <a:gd name="T6" fmla="*/ 0 w 128"/>
                <a:gd name="T7" fmla="*/ 81 h 244"/>
                <a:gd name="T8" fmla="*/ 0 w 128"/>
                <a:gd name="T9" fmla="*/ 99 h 244"/>
                <a:gd name="T10" fmla="*/ 4 w 128"/>
                <a:gd name="T11" fmla="*/ 103 h 244"/>
                <a:gd name="T12" fmla="*/ 39 w 128"/>
                <a:gd name="T13" fmla="*/ 103 h 244"/>
                <a:gd name="T14" fmla="*/ 39 w 128"/>
                <a:gd name="T15" fmla="*/ 239 h 244"/>
                <a:gd name="T16" fmla="*/ 44 w 128"/>
                <a:gd name="T17" fmla="*/ 244 h 244"/>
                <a:gd name="T18" fmla="*/ 62 w 128"/>
                <a:gd name="T19" fmla="*/ 244 h 244"/>
                <a:gd name="T20" fmla="*/ 67 w 128"/>
                <a:gd name="T21" fmla="*/ 239 h 244"/>
                <a:gd name="T22" fmla="*/ 67 w 128"/>
                <a:gd name="T23" fmla="*/ 103 h 244"/>
                <a:gd name="T24" fmla="*/ 120 w 128"/>
                <a:gd name="T25" fmla="*/ 103 h 244"/>
                <a:gd name="T26" fmla="*/ 125 w 128"/>
                <a:gd name="T27" fmla="*/ 99 h 244"/>
                <a:gd name="T28" fmla="*/ 125 w 128"/>
                <a:gd name="T29" fmla="*/ 81 h 244"/>
                <a:gd name="T30" fmla="*/ 120 w 128"/>
                <a:gd name="T31" fmla="*/ 76 h 244"/>
                <a:gd name="T32" fmla="*/ 67 w 128"/>
                <a:gd name="T33" fmla="*/ 76 h 244"/>
                <a:gd name="T34" fmla="*/ 67 w 128"/>
                <a:gd name="T35" fmla="*/ 55 h 244"/>
                <a:gd name="T36" fmla="*/ 91 w 128"/>
                <a:gd name="T37" fmla="*/ 27 h 244"/>
                <a:gd name="T38" fmla="*/ 122 w 128"/>
                <a:gd name="T39" fmla="*/ 37 h 244"/>
                <a:gd name="T40" fmla="*/ 125 w 128"/>
                <a:gd name="T41" fmla="*/ 38 h 244"/>
                <a:gd name="T42" fmla="*/ 128 w 128"/>
                <a:gd name="T43" fmla="*/ 33 h 244"/>
                <a:gd name="T44" fmla="*/ 128 w 128"/>
                <a:gd name="T45" fmla="*/ 16 h 244"/>
                <a:gd name="T46" fmla="*/ 125 w 128"/>
                <a:gd name="T47" fmla="*/ 9 h 244"/>
                <a:gd name="T48" fmla="*/ 89 w 128"/>
                <a:gd name="T49" fmla="*/ 0 h 244"/>
                <a:gd name="T50" fmla="*/ 39 w 128"/>
                <a:gd name="T51" fmla="*/ 5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244">
                  <a:moveTo>
                    <a:pt x="39" y="55"/>
                  </a:moveTo>
                  <a:cubicBezTo>
                    <a:pt x="39" y="76"/>
                    <a:pt x="39" y="76"/>
                    <a:pt x="39" y="76"/>
                  </a:cubicBezTo>
                  <a:cubicBezTo>
                    <a:pt x="4" y="76"/>
                    <a:pt x="4" y="76"/>
                    <a:pt x="4" y="76"/>
                  </a:cubicBezTo>
                  <a:cubicBezTo>
                    <a:pt x="1" y="76"/>
                    <a:pt x="0" y="78"/>
                    <a:pt x="0" y="81"/>
                  </a:cubicBezTo>
                  <a:cubicBezTo>
                    <a:pt x="0" y="99"/>
                    <a:pt x="0" y="99"/>
                    <a:pt x="0" y="99"/>
                  </a:cubicBezTo>
                  <a:cubicBezTo>
                    <a:pt x="0" y="102"/>
                    <a:pt x="1" y="103"/>
                    <a:pt x="4" y="103"/>
                  </a:cubicBezTo>
                  <a:cubicBezTo>
                    <a:pt x="39" y="103"/>
                    <a:pt x="39" y="103"/>
                    <a:pt x="39" y="103"/>
                  </a:cubicBezTo>
                  <a:cubicBezTo>
                    <a:pt x="39" y="239"/>
                    <a:pt x="39" y="239"/>
                    <a:pt x="39" y="239"/>
                  </a:cubicBezTo>
                  <a:cubicBezTo>
                    <a:pt x="39" y="242"/>
                    <a:pt x="41" y="244"/>
                    <a:pt x="44" y="244"/>
                  </a:cubicBezTo>
                  <a:cubicBezTo>
                    <a:pt x="62" y="244"/>
                    <a:pt x="62" y="244"/>
                    <a:pt x="62" y="244"/>
                  </a:cubicBezTo>
                  <a:cubicBezTo>
                    <a:pt x="65" y="244"/>
                    <a:pt x="67" y="242"/>
                    <a:pt x="67" y="239"/>
                  </a:cubicBezTo>
                  <a:cubicBezTo>
                    <a:pt x="67" y="103"/>
                    <a:pt x="67" y="103"/>
                    <a:pt x="67" y="103"/>
                  </a:cubicBezTo>
                  <a:cubicBezTo>
                    <a:pt x="120" y="103"/>
                    <a:pt x="120" y="103"/>
                    <a:pt x="120" y="103"/>
                  </a:cubicBezTo>
                  <a:cubicBezTo>
                    <a:pt x="123" y="103"/>
                    <a:pt x="125" y="102"/>
                    <a:pt x="125" y="99"/>
                  </a:cubicBezTo>
                  <a:cubicBezTo>
                    <a:pt x="125" y="81"/>
                    <a:pt x="125" y="81"/>
                    <a:pt x="125" y="81"/>
                  </a:cubicBezTo>
                  <a:cubicBezTo>
                    <a:pt x="125" y="78"/>
                    <a:pt x="123" y="76"/>
                    <a:pt x="120" y="76"/>
                  </a:cubicBezTo>
                  <a:cubicBezTo>
                    <a:pt x="67" y="76"/>
                    <a:pt x="67" y="76"/>
                    <a:pt x="67" y="76"/>
                  </a:cubicBezTo>
                  <a:cubicBezTo>
                    <a:pt x="67" y="55"/>
                    <a:pt x="67" y="55"/>
                    <a:pt x="67" y="55"/>
                  </a:cubicBezTo>
                  <a:cubicBezTo>
                    <a:pt x="67" y="38"/>
                    <a:pt x="76" y="27"/>
                    <a:pt x="91" y="27"/>
                  </a:cubicBezTo>
                  <a:cubicBezTo>
                    <a:pt x="102" y="27"/>
                    <a:pt x="110" y="30"/>
                    <a:pt x="122" y="37"/>
                  </a:cubicBezTo>
                  <a:cubicBezTo>
                    <a:pt x="123" y="38"/>
                    <a:pt x="124" y="38"/>
                    <a:pt x="125" y="38"/>
                  </a:cubicBezTo>
                  <a:cubicBezTo>
                    <a:pt x="127" y="38"/>
                    <a:pt x="128" y="36"/>
                    <a:pt x="128" y="33"/>
                  </a:cubicBezTo>
                  <a:cubicBezTo>
                    <a:pt x="128" y="16"/>
                    <a:pt x="128" y="16"/>
                    <a:pt x="128" y="16"/>
                  </a:cubicBezTo>
                  <a:cubicBezTo>
                    <a:pt x="128" y="13"/>
                    <a:pt x="128" y="11"/>
                    <a:pt x="125" y="9"/>
                  </a:cubicBezTo>
                  <a:cubicBezTo>
                    <a:pt x="114" y="3"/>
                    <a:pt x="103" y="0"/>
                    <a:pt x="89" y="0"/>
                  </a:cubicBezTo>
                  <a:cubicBezTo>
                    <a:pt x="54" y="0"/>
                    <a:pt x="39" y="29"/>
                    <a:pt x="39" y="5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342" dirty="0"/>
            </a:p>
          </p:txBody>
        </p:sp>
        <p:sp>
          <p:nvSpPr>
            <p:cNvPr id="16" name="Freeform 14">
              <a:extLst>
                <a:ext uri="{FF2B5EF4-FFF2-40B4-BE49-F238E27FC236}">
                  <a16:creationId xmlns:a16="http://schemas.microsoft.com/office/drawing/2014/main" id="{DA6E6734-7A5F-4A76-946D-520C7807BB30}"/>
                </a:ext>
              </a:extLst>
            </p:cNvPr>
            <p:cNvSpPr>
              <a:spLocks/>
            </p:cNvSpPr>
            <p:nvPr/>
          </p:nvSpPr>
          <p:spPr bwMode="auto">
            <a:xfrm>
              <a:off x="2071" y="1578"/>
              <a:ext cx="632" cy="631"/>
            </a:xfrm>
            <a:custGeom>
              <a:avLst/>
              <a:gdLst>
                <a:gd name="T0" fmla="*/ 181 w 334"/>
                <a:gd name="T1" fmla="*/ 1 h 333"/>
                <a:gd name="T2" fmla="*/ 180 w 334"/>
                <a:gd name="T3" fmla="*/ 4 h 333"/>
                <a:gd name="T4" fmla="*/ 180 w 334"/>
                <a:gd name="T5" fmla="*/ 26 h 333"/>
                <a:gd name="T6" fmla="*/ 180 w 334"/>
                <a:gd name="T7" fmla="*/ 26 h 333"/>
                <a:gd name="T8" fmla="*/ 182 w 334"/>
                <a:gd name="T9" fmla="*/ 28 h 333"/>
                <a:gd name="T10" fmla="*/ 306 w 334"/>
                <a:gd name="T11" fmla="*/ 166 h 333"/>
                <a:gd name="T12" fmla="*/ 167 w 334"/>
                <a:gd name="T13" fmla="*/ 305 h 333"/>
                <a:gd name="T14" fmla="*/ 28 w 334"/>
                <a:gd name="T15" fmla="*/ 166 h 333"/>
                <a:gd name="T16" fmla="*/ 152 w 334"/>
                <a:gd name="T17" fmla="*/ 28 h 333"/>
                <a:gd name="T18" fmla="*/ 154 w 334"/>
                <a:gd name="T19" fmla="*/ 26 h 333"/>
                <a:gd name="T20" fmla="*/ 154 w 334"/>
                <a:gd name="T21" fmla="*/ 26 h 333"/>
                <a:gd name="T22" fmla="*/ 154 w 334"/>
                <a:gd name="T23" fmla="*/ 4 h 333"/>
                <a:gd name="T24" fmla="*/ 153 w 334"/>
                <a:gd name="T25" fmla="*/ 1 h 333"/>
                <a:gd name="T26" fmla="*/ 150 w 334"/>
                <a:gd name="T27" fmla="*/ 0 h 333"/>
                <a:gd name="T28" fmla="*/ 149 w 334"/>
                <a:gd name="T29" fmla="*/ 0 h 333"/>
                <a:gd name="T30" fmla="*/ 149 w 334"/>
                <a:gd name="T31" fmla="*/ 0 h 333"/>
                <a:gd name="T32" fmla="*/ 0 w 334"/>
                <a:gd name="T33" fmla="*/ 166 h 333"/>
                <a:gd name="T34" fmla="*/ 167 w 334"/>
                <a:gd name="T35" fmla="*/ 333 h 333"/>
                <a:gd name="T36" fmla="*/ 334 w 334"/>
                <a:gd name="T37" fmla="*/ 166 h 333"/>
                <a:gd name="T38" fmla="*/ 185 w 334"/>
                <a:gd name="T39" fmla="*/ 0 h 333"/>
                <a:gd name="T40" fmla="*/ 185 w 334"/>
                <a:gd name="T41" fmla="*/ 0 h 333"/>
                <a:gd name="T42" fmla="*/ 184 w 334"/>
                <a:gd name="T43" fmla="*/ 0 h 333"/>
                <a:gd name="T44" fmla="*/ 181 w 334"/>
                <a:gd name="T45" fmla="*/ 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4" h="333">
                  <a:moveTo>
                    <a:pt x="181" y="1"/>
                  </a:moveTo>
                  <a:cubicBezTo>
                    <a:pt x="180" y="2"/>
                    <a:pt x="180" y="3"/>
                    <a:pt x="180" y="4"/>
                  </a:cubicBezTo>
                  <a:cubicBezTo>
                    <a:pt x="180" y="26"/>
                    <a:pt x="180" y="26"/>
                    <a:pt x="180" y="26"/>
                  </a:cubicBezTo>
                  <a:cubicBezTo>
                    <a:pt x="180" y="26"/>
                    <a:pt x="180" y="26"/>
                    <a:pt x="180" y="26"/>
                  </a:cubicBezTo>
                  <a:cubicBezTo>
                    <a:pt x="180" y="27"/>
                    <a:pt x="181" y="28"/>
                    <a:pt x="182" y="28"/>
                  </a:cubicBezTo>
                  <a:cubicBezTo>
                    <a:pt x="251" y="35"/>
                    <a:pt x="306" y="94"/>
                    <a:pt x="306" y="166"/>
                  </a:cubicBezTo>
                  <a:cubicBezTo>
                    <a:pt x="306" y="243"/>
                    <a:pt x="244" y="305"/>
                    <a:pt x="167" y="305"/>
                  </a:cubicBezTo>
                  <a:cubicBezTo>
                    <a:pt x="90" y="305"/>
                    <a:pt x="28" y="243"/>
                    <a:pt x="28" y="166"/>
                  </a:cubicBezTo>
                  <a:cubicBezTo>
                    <a:pt x="28" y="94"/>
                    <a:pt x="82" y="35"/>
                    <a:pt x="152" y="28"/>
                  </a:cubicBezTo>
                  <a:cubicBezTo>
                    <a:pt x="153" y="28"/>
                    <a:pt x="154" y="27"/>
                    <a:pt x="154" y="26"/>
                  </a:cubicBezTo>
                  <a:cubicBezTo>
                    <a:pt x="154" y="26"/>
                    <a:pt x="154" y="26"/>
                    <a:pt x="154" y="26"/>
                  </a:cubicBezTo>
                  <a:cubicBezTo>
                    <a:pt x="154" y="4"/>
                    <a:pt x="154" y="4"/>
                    <a:pt x="154" y="4"/>
                  </a:cubicBezTo>
                  <a:cubicBezTo>
                    <a:pt x="154" y="3"/>
                    <a:pt x="154" y="2"/>
                    <a:pt x="153" y="1"/>
                  </a:cubicBezTo>
                  <a:cubicBezTo>
                    <a:pt x="152" y="0"/>
                    <a:pt x="151" y="0"/>
                    <a:pt x="150" y="0"/>
                  </a:cubicBezTo>
                  <a:cubicBezTo>
                    <a:pt x="149" y="0"/>
                    <a:pt x="149" y="0"/>
                    <a:pt x="149" y="0"/>
                  </a:cubicBezTo>
                  <a:cubicBezTo>
                    <a:pt x="149" y="0"/>
                    <a:pt x="149" y="0"/>
                    <a:pt x="149" y="0"/>
                  </a:cubicBezTo>
                  <a:cubicBezTo>
                    <a:pt x="65" y="9"/>
                    <a:pt x="0" y="80"/>
                    <a:pt x="0" y="166"/>
                  </a:cubicBezTo>
                  <a:cubicBezTo>
                    <a:pt x="0" y="258"/>
                    <a:pt x="75" y="333"/>
                    <a:pt x="167" y="333"/>
                  </a:cubicBezTo>
                  <a:cubicBezTo>
                    <a:pt x="259" y="333"/>
                    <a:pt x="334" y="258"/>
                    <a:pt x="334" y="166"/>
                  </a:cubicBezTo>
                  <a:cubicBezTo>
                    <a:pt x="334" y="80"/>
                    <a:pt x="269" y="9"/>
                    <a:pt x="185" y="0"/>
                  </a:cubicBezTo>
                  <a:cubicBezTo>
                    <a:pt x="185" y="0"/>
                    <a:pt x="185" y="0"/>
                    <a:pt x="185" y="0"/>
                  </a:cubicBezTo>
                  <a:cubicBezTo>
                    <a:pt x="185" y="0"/>
                    <a:pt x="184" y="0"/>
                    <a:pt x="184" y="0"/>
                  </a:cubicBezTo>
                  <a:cubicBezTo>
                    <a:pt x="183" y="0"/>
                    <a:pt x="182" y="0"/>
                    <a:pt x="181" y="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342" dirty="0"/>
            </a:p>
          </p:txBody>
        </p:sp>
      </p:grpSp>
      <p:grpSp>
        <p:nvGrpSpPr>
          <p:cNvPr id="17" name="Group 16">
            <a:extLst>
              <a:ext uri="{FF2B5EF4-FFF2-40B4-BE49-F238E27FC236}">
                <a16:creationId xmlns:a16="http://schemas.microsoft.com/office/drawing/2014/main" id="{5DA71BA7-A962-4A46-81DF-8BC754870DD7}"/>
              </a:ext>
            </a:extLst>
          </p:cNvPr>
          <p:cNvGrpSpPr>
            <a:grpSpLocks noChangeAspect="1"/>
          </p:cNvGrpSpPr>
          <p:nvPr/>
        </p:nvGrpSpPr>
        <p:grpSpPr bwMode="auto">
          <a:xfrm>
            <a:off x="2835683" y="2634181"/>
            <a:ext cx="6520638" cy="1589645"/>
            <a:chOff x="2071" y="1578"/>
            <a:chExt cx="2587" cy="631"/>
          </a:xfrm>
          <a:solidFill>
            <a:schemeClr val="bg1"/>
          </a:solidFill>
        </p:grpSpPr>
        <p:sp>
          <p:nvSpPr>
            <p:cNvPr id="18" name="Freeform 5">
              <a:extLst>
                <a:ext uri="{FF2B5EF4-FFF2-40B4-BE49-F238E27FC236}">
                  <a16:creationId xmlns:a16="http://schemas.microsoft.com/office/drawing/2014/main" id="{559FBD3F-34ED-4D51-B123-96FEB4062B62}"/>
                </a:ext>
              </a:extLst>
            </p:cNvPr>
            <p:cNvSpPr>
              <a:spLocks/>
            </p:cNvSpPr>
            <p:nvPr/>
          </p:nvSpPr>
          <p:spPr bwMode="auto">
            <a:xfrm>
              <a:off x="2765" y="1728"/>
              <a:ext cx="244" cy="318"/>
            </a:xfrm>
            <a:custGeom>
              <a:avLst/>
              <a:gdLst>
                <a:gd name="T0" fmla="*/ 12 w 129"/>
                <a:gd name="T1" fmla="*/ 0 h 168"/>
                <a:gd name="T2" fmla="*/ 8 w 129"/>
                <a:gd name="T3" fmla="*/ 4 h 168"/>
                <a:gd name="T4" fmla="*/ 8 w 129"/>
                <a:gd name="T5" fmla="*/ 25 h 168"/>
                <a:gd name="T6" fmla="*/ 12 w 129"/>
                <a:gd name="T7" fmla="*/ 29 h 168"/>
                <a:gd name="T8" fmla="*/ 48 w 129"/>
                <a:gd name="T9" fmla="*/ 29 h 168"/>
                <a:gd name="T10" fmla="*/ 48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2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2" y="0"/>
                  </a:moveTo>
                  <a:cubicBezTo>
                    <a:pt x="9" y="0"/>
                    <a:pt x="8" y="1"/>
                    <a:pt x="8" y="4"/>
                  </a:cubicBezTo>
                  <a:cubicBezTo>
                    <a:pt x="8" y="25"/>
                    <a:pt x="8" y="25"/>
                    <a:pt x="8" y="25"/>
                  </a:cubicBezTo>
                  <a:cubicBezTo>
                    <a:pt x="8" y="27"/>
                    <a:pt x="9" y="29"/>
                    <a:pt x="12" y="29"/>
                  </a:cubicBezTo>
                  <a:cubicBezTo>
                    <a:pt x="48" y="29"/>
                    <a:pt x="48" y="29"/>
                    <a:pt x="48" y="29"/>
                  </a:cubicBezTo>
                  <a:cubicBezTo>
                    <a:pt x="48" y="140"/>
                    <a:pt x="48" y="140"/>
                    <a:pt x="48"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8" y="140"/>
                    <a:pt x="125" y="140"/>
                  </a:cubicBezTo>
                  <a:cubicBezTo>
                    <a:pt x="76" y="140"/>
                    <a:pt x="76" y="140"/>
                    <a:pt x="76" y="140"/>
                  </a:cubicBezTo>
                  <a:cubicBezTo>
                    <a:pt x="76" y="4"/>
                    <a:pt x="76" y="4"/>
                    <a:pt x="76" y="4"/>
                  </a:cubicBezTo>
                  <a:cubicBezTo>
                    <a:pt x="76" y="1"/>
                    <a:pt x="75" y="0"/>
                    <a:pt x="72" y="0"/>
                  </a:cubicBezTo>
                  <a:lnTo>
                    <a:pt x="1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342"/>
            </a:p>
          </p:txBody>
        </p:sp>
        <p:sp>
          <p:nvSpPr>
            <p:cNvPr id="19" name="Freeform 6">
              <a:extLst>
                <a:ext uri="{FF2B5EF4-FFF2-40B4-BE49-F238E27FC236}">
                  <a16:creationId xmlns:a16="http://schemas.microsoft.com/office/drawing/2014/main" id="{72C0F88D-3902-4BFD-9884-8832BDEDE677}"/>
                </a:ext>
              </a:extLst>
            </p:cNvPr>
            <p:cNvSpPr>
              <a:spLocks/>
            </p:cNvSpPr>
            <p:nvPr/>
          </p:nvSpPr>
          <p:spPr bwMode="auto">
            <a:xfrm>
              <a:off x="3798" y="1728"/>
              <a:ext cx="244" cy="318"/>
            </a:xfrm>
            <a:custGeom>
              <a:avLst/>
              <a:gdLst>
                <a:gd name="T0" fmla="*/ 11 w 129"/>
                <a:gd name="T1" fmla="*/ 0 h 168"/>
                <a:gd name="T2" fmla="*/ 8 w 129"/>
                <a:gd name="T3" fmla="*/ 4 h 168"/>
                <a:gd name="T4" fmla="*/ 8 w 129"/>
                <a:gd name="T5" fmla="*/ 25 h 168"/>
                <a:gd name="T6" fmla="*/ 11 w 129"/>
                <a:gd name="T7" fmla="*/ 29 h 168"/>
                <a:gd name="T8" fmla="*/ 47 w 129"/>
                <a:gd name="T9" fmla="*/ 29 h 168"/>
                <a:gd name="T10" fmla="*/ 47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1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1" y="0"/>
                  </a:moveTo>
                  <a:cubicBezTo>
                    <a:pt x="9" y="0"/>
                    <a:pt x="8" y="1"/>
                    <a:pt x="8" y="4"/>
                  </a:cubicBezTo>
                  <a:cubicBezTo>
                    <a:pt x="8" y="25"/>
                    <a:pt x="8" y="25"/>
                    <a:pt x="8" y="25"/>
                  </a:cubicBezTo>
                  <a:cubicBezTo>
                    <a:pt x="8" y="27"/>
                    <a:pt x="9" y="29"/>
                    <a:pt x="11" y="29"/>
                  </a:cubicBezTo>
                  <a:cubicBezTo>
                    <a:pt x="47" y="29"/>
                    <a:pt x="47" y="29"/>
                    <a:pt x="47" y="29"/>
                  </a:cubicBezTo>
                  <a:cubicBezTo>
                    <a:pt x="47" y="140"/>
                    <a:pt x="47" y="140"/>
                    <a:pt x="47"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7" y="140"/>
                    <a:pt x="125" y="140"/>
                  </a:cubicBezTo>
                  <a:cubicBezTo>
                    <a:pt x="76" y="140"/>
                    <a:pt x="76" y="140"/>
                    <a:pt x="76" y="140"/>
                  </a:cubicBezTo>
                  <a:cubicBezTo>
                    <a:pt x="76" y="4"/>
                    <a:pt x="76" y="4"/>
                    <a:pt x="76" y="4"/>
                  </a:cubicBezTo>
                  <a:cubicBezTo>
                    <a:pt x="75" y="1"/>
                    <a:pt x="74" y="0"/>
                    <a:pt x="72" y="0"/>
                  </a:cubicBezTo>
                  <a:lnTo>
                    <a:pt x="1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342"/>
            </a:p>
          </p:txBody>
        </p:sp>
        <p:sp>
          <p:nvSpPr>
            <p:cNvPr id="20" name="Freeform 7">
              <a:extLst>
                <a:ext uri="{FF2B5EF4-FFF2-40B4-BE49-F238E27FC236}">
                  <a16:creationId xmlns:a16="http://schemas.microsoft.com/office/drawing/2014/main" id="{BB05CDC0-3BE5-41FD-96FA-434B8903AAF5}"/>
                </a:ext>
              </a:extLst>
            </p:cNvPr>
            <p:cNvSpPr>
              <a:spLocks/>
            </p:cNvSpPr>
            <p:nvPr/>
          </p:nvSpPr>
          <p:spPr bwMode="auto">
            <a:xfrm>
              <a:off x="4361" y="1728"/>
              <a:ext cx="297" cy="464"/>
            </a:xfrm>
            <a:custGeom>
              <a:avLst/>
              <a:gdLst>
                <a:gd name="T0" fmla="*/ 132 w 157"/>
                <a:gd name="T1" fmla="*/ 0 h 245"/>
                <a:gd name="T2" fmla="*/ 127 w 157"/>
                <a:gd name="T3" fmla="*/ 3 h 245"/>
                <a:gd name="T4" fmla="*/ 127 w 157"/>
                <a:gd name="T5" fmla="*/ 3 h 245"/>
                <a:gd name="T6" fmla="*/ 79 w 157"/>
                <a:gd name="T7" fmla="*/ 128 h 245"/>
                <a:gd name="T8" fmla="*/ 30 w 157"/>
                <a:gd name="T9" fmla="*/ 4 h 245"/>
                <a:gd name="T10" fmla="*/ 25 w 157"/>
                <a:gd name="T11" fmla="*/ 0 h 245"/>
                <a:gd name="T12" fmla="*/ 4 w 157"/>
                <a:gd name="T13" fmla="*/ 0 h 245"/>
                <a:gd name="T14" fmla="*/ 0 w 157"/>
                <a:gd name="T15" fmla="*/ 3 h 245"/>
                <a:gd name="T16" fmla="*/ 1 w 157"/>
                <a:gd name="T17" fmla="*/ 6 h 245"/>
                <a:gd name="T18" fmla="*/ 1 w 157"/>
                <a:gd name="T19" fmla="*/ 6 h 245"/>
                <a:gd name="T20" fmla="*/ 1 w 157"/>
                <a:gd name="T21" fmla="*/ 6 h 245"/>
                <a:gd name="T22" fmla="*/ 64 w 157"/>
                <a:gd name="T23" fmla="*/ 168 h 245"/>
                <a:gd name="T24" fmla="*/ 59 w 157"/>
                <a:gd name="T25" fmla="*/ 182 h 245"/>
                <a:gd name="T26" fmla="*/ 48 w 157"/>
                <a:gd name="T27" fmla="*/ 205 h 245"/>
                <a:gd name="T28" fmla="*/ 38 w 157"/>
                <a:gd name="T29" fmla="*/ 215 h 245"/>
                <a:gd name="T30" fmla="*/ 30 w 157"/>
                <a:gd name="T31" fmla="*/ 217 h 245"/>
                <a:gd name="T32" fmla="*/ 26 w 157"/>
                <a:gd name="T33" fmla="*/ 216 h 245"/>
                <a:gd name="T34" fmla="*/ 14 w 157"/>
                <a:gd name="T35" fmla="*/ 213 h 245"/>
                <a:gd name="T36" fmla="*/ 7 w 157"/>
                <a:gd name="T37" fmla="*/ 210 h 245"/>
                <a:gd name="T38" fmla="*/ 3 w 157"/>
                <a:gd name="T39" fmla="*/ 215 h 245"/>
                <a:gd name="T40" fmla="*/ 3 w 157"/>
                <a:gd name="T41" fmla="*/ 233 h 245"/>
                <a:gd name="T42" fmla="*/ 3 w 157"/>
                <a:gd name="T43" fmla="*/ 233 h 245"/>
                <a:gd name="T44" fmla="*/ 7 w 157"/>
                <a:gd name="T45" fmla="*/ 240 h 245"/>
                <a:gd name="T46" fmla="*/ 32 w 157"/>
                <a:gd name="T47" fmla="*/ 245 h 245"/>
                <a:gd name="T48" fmla="*/ 54 w 157"/>
                <a:gd name="T49" fmla="*/ 238 h 245"/>
                <a:gd name="T50" fmla="*/ 73 w 157"/>
                <a:gd name="T51" fmla="*/ 220 h 245"/>
                <a:gd name="T52" fmla="*/ 79 w 157"/>
                <a:gd name="T53" fmla="*/ 208 h 245"/>
                <a:gd name="T54" fmla="*/ 156 w 157"/>
                <a:gd name="T55" fmla="*/ 6 h 245"/>
                <a:gd name="T56" fmla="*/ 157 w 157"/>
                <a:gd name="T57" fmla="*/ 3 h 245"/>
                <a:gd name="T58" fmla="*/ 153 w 157"/>
                <a:gd name="T59" fmla="*/ 0 h 245"/>
                <a:gd name="T60" fmla="*/ 132 w 157"/>
                <a:gd name="T6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7" h="245">
                  <a:moveTo>
                    <a:pt x="132" y="0"/>
                  </a:moveTo>
                  <a:cubicBezTo>
                    <a:pt x="129" y="0"/>
                    <a:pt x="128" y="1"/>
                    <a:pt x="127" y="3"/>
                  </a:cubicBezTo>
                  <a:cubicBezTo>
                    <a:pt x="127" y="3"/>
                    <a:pt x="127" y="3"/>
                    <a:pt x="127" y="3"/>
                  </a:cubicBezTo>
                  <a:cubicBezTo>
                    <a:pt x="79" y="128"/>
                    <a:pt x="79" y="128"/>
                    <a:pt x="79" y="128"/>
                  </a:cubicBezTo>
                  <a:cubicBezTo>
                    <a:pt x="30" y="4"/>
                    <a:pt x="30" y="4"/>
                    <a:pt x="30" y="4"/>
                  </a:cubicBezTo>
                  <a:cubicBezTo>
                    <a:pt x="29" y="1"/>
                    <a:pt x="28" y="0"/>
                    <a:pt x="25" y="0"/>
                  </a:cubicBezTo>
                  <a:cubicBezTo>
                    <a:pt x="4" y="0"/>
                    <a:pt x="4" y="0"/>
                    <a:pt x="4" y="0"/>
                  </a:cubicBezTo>
                  <a:cubicBezTo>
                    <a:pt x="2" y="0"/>
                    <a:pt x="0" y="1"/>
                    <a:pt x="0" y="3"/>
                  </a:cubicBezTo>
                  <a:cubicBezTo>
                    <a:pt x="0" y="4"/>
                    <a:pt x="1" y="5"/>
                    <a:pt x="1" y="6"/>
                  </a:cubicBezTo>
                  <a:cubicBezTo>
                    <a:pt x="1" y="6"/>
                    <a:pt x="1" y="6"/>
                    <a:pt x="1" y="6"/>
                  </a:cubicBezTo>
                  <a:cubicBezTo>
                    <a:pt x="1" y="6"/>
                    <a:pt x="1" y="6"/>
                    <a:pt x="1" y="6"/>
                  </a:cubicBezTo>
                  <a:cubicBezTo>
                    <a:pt x="64" y="168"/>
                    <a:pt x="64" y="168"/>
                    <a:pt x="64" y="168"/>
                  </a:cubicBezTo>
                  <a:cubicBezTo>
                    <a:pt x="59" y="182"/>
                    <a:pt x="59" y="182"/>
                    <a:pt x="59" y="182"/>
                  </a:cubicBezTo>
                  <a:cubicBezTo>
                    <a:pt x="57" y="187"/>
                    <a:pt x="53" y="199"/>
                    <a:pt x="48" y="205"/>
                  </a:cubicBezTo>
                  <a:cubicBezTo>
                    <a:pt x="44" y="211"/>
                    <a:pt x="42" y="213"/>
                    <a:pt x="38" y="215"/>
                  </a:cubicBezTo>
                  <a:cubicBezTo>
                    <a:pt x="35" y="216"/>
                    <a:pt x="33" y="217"/>
                    <a:pt x="30" y="217"/>
                  </a:cubicBezTo>
                  <a:cubicBezTo>
                    <a:pt x="28" y="217"/>
                    <a:pt x="27" y="217"/>
                    <a:pt x="26" y="216"/>
                  </a:cubicBezTo>
                  <a:cubicBezTo>
                    <a:pt x="22" y="216"/>
                    <a:pt x="18" y="214"/>
                    <a:pt x="14" y="213"/>
                  </a:cubicBezTo>
                  <a:cubicBezTo>
                    <a:pt x="11" y="212"/>
                    <a:pt x="9" y="210"/>
                    <a:pt x="7" y="210"/>
                  </a:cubicBezTo>
                  <a:cubicBezTo>
                    <a:pt x="5" y="210"/>
                    <a:pt x="3" y="212"/>
                    <a:pt x="3" y="215"/>
                  </a:cubicBezTo>
                  <a:cubicBezTo>
                    <a:pt x="3" y="233"/>
                    <a:pt x="3" y="233"/>
                    <a:pt x="3" y="233"/>
                  </a:cubicBezTo>
                  <a:cubicBezTo>
                    <a:pt x="3" y="233"/>
                    <a:pt x="3" y="233"/>
                    <a:pt x="3" y="233"/>
                  </a:cubicBezTo>
                  <a:cubicBezTo>
                    <a:pt x="3" y="236"/>
                    <a:pt x="4" y="238"/>
                    <a:pt x="7" y="240"/>
                  </a:cubicBezTo>
                  <a:cubicBezTo>
                    <a:pt x="15" y="243"/>
                    <a:pt x="21" y="245"/>
                    <a:pt x="32" y="245"/>
                  </a:cubicBezTo>
                  <a:cubicBezTo>
                    <a:pt x="41" y="244"/>
                    <a:pt x="47" y="242"/>
                    <a:pt x="54" y="238"/>
                  </a:cubicBezTo>
                  <a:cubicBezTo>
                    <a:pt x="61" y="233"/>
                    <a:pt x="67" y="227"/>
                    <a:pt x="73" y="220"/>
                  </a:cubicBezTo>
                  <a:cubicBezTo>
                    <a:pt x="75" y="216"/>
                    <a:pt x="77" y="212"/>
                    <a:pt x="79" y="208"/>
                  </a:cubicBezTo>
                  <a:cubicBezTo>
                    <a:pt x="83" y="200"/>
                    <a:pt x="144" y="40"/>
                    <a:pt x="156" y="6"/>
                  </a:cubicBezTo>
                  <a:cubicBezTo>
                    <a:pt x="157" y="5"/>
                    <a:pt x="157" y="4"/>
                    <a:pt x="157" y="3"/>
                  </a:cubicBezTo>
                  <a:cubicBezTo>
                    <a:pt x="157" y="1"/>
                    <a:pt x="155" y="0"/>
                    <a:pt x="153" y="0"/>
                  </a:cubicBezTo>
                  <a:lnTo>
                    <a:pt x="13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342"/>
            </a:p>
          </p:txBody>
        </p:sp>
        <p:sp>
          <p:nvSpPr>
            <p:cNvPr id="21" name="Freeform 8">
              <a:extLst>
                <a:ext uri="{FF2B5EF4-FFF2-40B4-BE49-F238E27FC236}">
                  <a16:creationId xmlns:a16="http://schemas.microsoft.com/office/drawing/2014/main" id="{B757F574-6BCF-4AA9-8893-80B9142D13FF}"/>
                </a:ext>
              </a:extLst>
            </p:cNvPr>
            <p:cNvSpPr>
              <a:spLocks/>
            </p:cNvSpPr>
            <p:nvPr/>
          </p:nvSpPr>
          <p:spPr bwMode="auto">
            <a:xfrm>
              <a:off x="3457" y="1726"/>
              <a:ext cx="263" cy="322"/>
            </a:xfrm>
            <a:custGeom>
              <a:avLst/>
              <a:gdLst>
                <a:gd name="T0" fmla="*/ 28 w 139"/>
                <a:gd name="T1" fmla="*/ 21 h 170"/>
                <a:gd name="T2" fmla="*/ 28 w 139"/>
                <a:gd name="T3" fmla="*/ 6 h 170"/>
                <a:gd name="T4" fmla="*/ 25 w 139"/>
                <a:gd name="T5" fmla="*/ 3 h 170"/>
                <a:gd name="T6" fmla="*/ 4 w 139"/>
                <a:gd name="T7" fmla="*/ 3 h 170"/>
                <a:gd name="T8" fmla="*/ 0 w 139"/>
                <a:gd name="T9" fmla="*/ 6 h 170"/>
                <a:gd name="T10" fmla="*/ 0 w 139"/>
                <a:gd name="T11" fmla="*/ 167 h 170"/>
                <a:gd name="T12" fmla="*/ 4 w 139"/>
                <a:gd name="T13" fmla="*/ 170 h 170"/>
                <a:gd name="T14" fmla="*/ 25 w 139"/>
                <a:gd name="T15" fmla="*/ 170 h 170"/>
                <a:gd name="T16" fmla="*/ 28 w 139"/>
                <a:gd name="T17" fmla="*/ 167 h 170"/>
                <a:gd name="T18" fmla="*/ 28 w 139"/>
                <a:gd name="T19" fmla="*/ 68 h 170"/>
                <a:gd name="T20" fmla="*/ 70 w 139"/>
                <a:gd name="T21" fmla="*/ 28 h 170"/>
                <a:gd name="T22" fmla="*/ 111 w 139"/>
                <a:gd name="T23" fmla="*/ 68 h 170"/>
                <a:gd name="T24" fmla="*/ 111 w 139"/>
                <a:gd name="T25" fmla="*/ 167 h 170"/>
                <a:gd name="T26" fmla="*/ 111 w 139"/>
                <a:gd name="T27" fmla="*/ 167 h 170"/>
                <a:gd name="T28" fmla="*/ 114 w 139"/>
                <a:gd name="T29" fmla="*/ 170 h 170"/>
                <a:gd name="T30" fmla="*/ 136 w 139"/>
                <a:gd name="T31" fmla="*/ 170 h 170"/>
                <a:gd name="T32" fmla="*/ 139 w 139"/>
                <a:gd name="T33" fmla="*/ 167 h 170"/>
                <a:gd name="T34" fmla="*/ 139 w 139"/>
                <a:gd name="T35" fmla="*/ 68 h 170"/>
                <a:gd name="T36" fmla="*/ 139 w 139"/>
                <a:gd name="T37" fmla="*/ 68 h 170"/>
                <a:gd name="T38" fmla="*/ 139 w 139"/>
                <a:gd name="T39" fmla="*/ 68 h 170"/>
                <a:gd name="T40" fmla="*/ 120 w 139"/>
                <a:gd name="T41" fmla="*/ 20 h 170"/>
                <a:gd name="T42" fmla="*/ 70 w 139"/>
                <a:gd name="T43" fmla="*/ 0 h 170"/>
                <a:gd name="T44" fmla="*/ 28 w 139"/>
                <a:gd name="T45" fmla="*/ 2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170">
                  <a:moveTo>
                    <a:pt x="28" y="21"/>
                  </a:moveTo>
                  <a:cubicBezTo>
                    <a:pt x="28" y="6"/>
                    <a:pt x="28" y="6"/>
                    <a:pt x="28" y="6"/>
                  </a:cubicBezTo>
                  <a:cubicBezTo>
                    <a:pt x="28" y="4"/>
                    <a:pt x="27" y="3"/>
                    <a:pt x="25" y="3"/>
                  </a:cubicBezTo>
                  <a:cubicBezTo>
                    <a:pt x="4" y="3"/>
                    <a:pt x="4" y="3"/>
                    <a:pt x="4" y="3"/>
                  </a:cubicBezTo>
                  <a:cubicBezTo>
                    <a:pt x="1" y="3"/>
                    <a:pt x="0" y="4"/>
                    <a:pt x="0" y="6"/>
                  </a:cubicBezTo>
                  <a:cubicBezTo>
                    <a:pt x="0" y="167"/>
                    <a:pt x="0" y="167"/>
                    <a:pt x="0" y="167"/>
                  </a:cubicBezTo>
                  <a:cubicBezTo>
                    <a:pt x="0" y="169"/>
                    <a:pt x="1" y="170"/>
                    <a:pt x="4" y="170"/>
                  </a:cubicBezTo>
                  <a:cubicBezTo>
                    <a:pt x="25" y="170"/>
                    <a:pt x="25" y="170"/>
                    <a:pt x="25" y="170"/>
                  </a:cubicBezTo>
                  <a:cubicBezTo>
                    <a:pt x="27" y="170"/>
                    <a:pt x="28" y="169"/>
                    <a:pt x="28" y="167"/>
                  </a:cubicBezTo>
                  <a:cubicBezTo>
                    <a:pt x="28" y="68"/>
                    <a:pt x="28" y="68"/>
                    <a:pt x="28" y="68"/>
                  </a:cubicBezTo>
                  <a:cubicBezTo>
                    <a:pt x="28" y="49"/>
                    <a:pt x="42" y="28"/>
                    <a:pt x="70" y="28"/>
                  </a:cubicBezTo>
                  <a:cubicBezTo>
                    <a:pt x="97" y="28"/>
                    <a:pt x="111" y="49"/>
                    <a:pt x="111" y="68"/>
                  </a:cubicBezTo>
                  <a:cubicBezTo>
                    <a:pt x="111" y="167"/>
                    <a:pt x="111" y="167"/>
                    <a:pt x="111" y="167"/>
                  </a:cubicBezTo>
                  <a:cubicBezTo>
                    <a:pt x="111" y="167"/>
                    <a:pt x="111" y="167"/>
                    <a:pt x="111" y="167"/>
                  </a:cubicBezTo>
                  <a:cubicBezTo>
                    <a:pt x="111" y="169"/>
                    <a:pt x="112" y="170"/>
                    <a:pt x="114" y="170"/>
                  </a:cubicBezTo>
                  <a:cubicBezTo>
                    <a:pt x="136" y="170"/>
                    <a:pt x="136" y="170"/>
                    <a:pt x="136" y="170"/>
                  </a:cubicBezTo>
                  <a:cubicBezTo>
                    <a:pt x="138" y="170"/>
                    <a:pt x="139" y="169"/>
                    <a:pt x="139" y="167"/>
                  </a:cubicBezTo>
                  <a:cubicBezTo>
                    <a:pt x="139" y="68"/>
                    <a:pt x="139" y="68"/>
                    <a:pt x="139" y="68"/>
                  </a:cubicBezTo>
                  <a:cubicBezTo>
                    <a:pt x="139" y="68"/>
                    <a:pt x="139" y="68"/>
                    <a:pt x="139" y="68"/>
                  </a:cubicBezTo>
                  <a:cubicBezTo>
                    <a:pt x="139" y="68"/>
                    <a:pt x="139" y="68"/>
                    <a:pt x="139" y="68"/>
                  </a:cubicBezTo>
                  <a:cubicBezTo>
                    <a:pt x="139" y="51"/>
                    <a:pt x="133" y="35"/>
                    <a:pt x="120" y="20"/>
                  </a:cubicBezTo>
                  <a:cubicBezTo>
                    <a:pt x="109" y="7"/>
                    <a:pt x="88" y="0"/>
                    <a:pt x="70" y="0"/>
                  </a:cubicBezTo>
                  <a:cubicBezTo>
                    <a:pt x="41" y="0"/>
                    <a:pt x="28" y="21"/>
                    <a:pt x="28" y="2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342"/>
            </a:p>
          </p:txBody>
        </p:sp>
        <p:sp>
          <p:nvSpPr>
            <p:cNvPr id="22" name="Freeform 9">
              <a:extLst>
                <a:ext uri="{FF2B5EF4-FFF2-40B4-BE49-F238E27FC236}">
                  <a16:creationId xmlns:a16="http://schemas.microsoft.com/office/drawing/2014/main" id="{9B7778F1-F033-460D-90FF-CF85578A69BE}"/>
                </a:ext>
              </a:extLst>
            </p:cNvPr>
            <p:cNvSpPr>
              <a:spLocks/>
            </p:cNvSpPr>
            <p:nvPr/>
          </p:nvSpPr>
          <p:spPr bwMode="auto">
            <a:xfrm>
              <a:off x="2264" y="1724"/>
              <a:ext cx="246" cy="328"/>
            </a:xfrm>
            <a:custGeom>
              <a:avLst/>
              <a:gdLst>
                <a:gd name="T0" fmla="*/ 4 w 130"/>
                <a:gd name="T1" fmla="*/ 48 h 173"/>
                <a:gd name="T2" fmla="*/ 56 w 130"/>
                <a:gd name="T3" fmla="*/ 97 h 173"/>
                <a:gd name="T4" fmla="*/ 57 w 130"/>
                <a:gd name="T5" fmla="*/ 98 h 173"/>
                <a:gd name="T6" fmla="*/ 101 w 130"/>
                <a:gd name="T7" fmla="*/ 124 h 173"/>
                <a:gd name="T8" fmla="*/ 66 w 130"/>
                <a:gd name="T9" fmla="*/ 146 h 173"/>
                <a:gd name="T10" fmla="*/ 30 w 130"/>
                <a:gd name="T11" fmla="*/ 118 h 173"/>
                <a:gd name="T12" fmla="*/ 26 w 130"/>
                <a:gd name="T13" fmla="*/ 114 h 173"/>
                <a:gd name="T14" fmla="*/ 5 w 130"/>
                <a:gd name="T15" fmla="*/ 114 h 173"/>
                <a:gd name="T16" fmla="*/ 0 w 130"/>
                <a:gd name="T17" fmla="*/ 118 h 173"/>
                <a:gd name="T18" fmla="*/ 65 w 130"/>
                <a:gd name="T19" fmla="*/ 173 h 173"/>
                <a:gd name="T20" fmla="*/ 130 w 130"/>
                <a:gd name="T21" fmla="*/ 120 h 173"/>
                <a:gd name="T22" fmla="*/ 72 w 130"/>
                <a:gd name="T23" fmla="*/ 74 h 173"/>
                <a:gd name="T24" fmla="*/ 32 w 130"/>
                <a:gd name="T25" fmla="*/ 48 h 173"/>
                <a:gd name="T26" fmla="*/ 63 w 130"/>
                <a:gd name="T27" fmla="*/ 27 h 173"/>
                <a:gd name="T28" fmla="*/ 97 w 130"/>
                <a:gd name="T29" fmla="*/ 49 h 173"/>
                <a:gd name="T30" fmla="*/ 102 w 130"/>
                <a:gd name="T31" fmla="*/ 53 h 173"/>
                <a:gd name="T32" fmla="*/ 120 w 130"/>
                <a:gd name="T33" fmla="*/ 53 h 173"/>
                <a:gd name="T34" fmla="*/ 125 w 130"/>
                <a:gd name="T35" fmla="*/ 48 h 173"/>
                <a:gd name="T36" fmla="*/ 63 w 130"/>
                <a:gd name="T37" fmla="*/ 0 h 173"/>
                <a:gd name="T38" fmla="*/ 4 w 130"/>
                <a:gd name="T39" fmla="*/ 4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173">
                  <a:moveTo>
                    <a:pt x="4" y="48"/>
                  </a:moveTo>
                  <a:cubicBezTo>
                    <a:pt x="4" y="77"/>
                    <a:pt x="19" y="91"/>
                    <a:pt x="56" y="97"/>
                  </a:cubicBezTo>
                  <a:cubicBezTo>
                    <a:pt x="57" y="98"/>
                    <a:pt x="57" y="98"/>
                    <a:pt x="57" y="98"/>
                  </a:cubicBezTo>
                  <a:cubicBezTo>
                    <a:pt x="83" y="102"/>
                    <a:pt x="101" y="105"/>
                    <a:pt x="101" y="124"/>
                  </a:cubicBezTo>
                  <a:cubicBezTo>
                    <a:pt x="101" y="139"/>
                    <a:pt x="83" y="146"/>
                    <a:pt x="66" y="146"/>
                  </a:cubicBezTo>
                  <a:cubicBezTo>
                    <a:pt x="46" y="146"/>
                    <a:pt x="33" y="136"/>
                    <a:pt x="30" y="118"/>
                  </a:cubicBezTo>
                  <a:cubicBezTo>
                    <a:pt x="30" y="116"/>
                    <a:pt x="29" y="114"/>
                    <a:pt x="26" y="114"/>
                  </a:cubicBezTo>
                  <a:cubicBezTo>
                    <a:pt x="5" y="114"/>
                    <a:pt x="5" y="114"/>
                    <a:pt x="5" y="114"/>
                  </a:cubicBezTo>
                  <a:cubicBezTo>
                    <a:pt x="2" y="114"/>
                    <a:pt x="0" y="116"/>
                    <a:pt x="0" y="118"/>
                  </a:cubicBezTo>
                  <a:cubicBezTo>
                    <a:pt x="0" y="150"/>
                    <a:pt x="27" y="173"/>
                    <a:pt x="65" y="173"/>
                  </a:cubicBezTo>
                  <a:cubicBezTo>
                    <a:pt x="104" y="173"/>
                    <a:pt x="130" y="151"/>
                    <a:pt x="130" y="120"/>
                  </a:cubicBezTo>
                  <a:cubicBezTo>
                    <a:pt x="130" y="86"/>
                    <a:pt x="100" y="79"/>
                    <a:pt x="72" y="74"/>
                  </a:cubicBezTo>
                  <a:cubicBezTo>
                    <a:pt x="37" y="68"/>
                    <a:pt x="32" y="58"/>
                    <a:pt x="32" y="48"/>
                  </a:cubicBezTo>
                  <a:cubicBezTo>
                    <a:pt x="32" y="32"/>
                    <a:pt x="49" y="27"/>
                    <a:pt x="63" y="27"/>
                  </a:cubicBezTo>
                  <a:cubicBezTo>
                    <a:pt x="82" y="27"/>
                    <a:pt x="94" y="34"/>
                    <a:pt x="97" y="49"/>
                  </a:cubicBezTo>
                  <a:cubicBezTo>
                    <a:pt x="98" y="51"/>
                    <a:pt x="98" y="53"/>
                    <a:pt x="102" y="53"/>
                  </a:cubicBezTo>
                  <a:cubicBezTo>
                    <a:pt x="120" y="53"/>
                    <a:pt x="120" y="53"/>
                    <a:pt x="120" y="53"/>
                  </a:cubicBezTo>
                  <a:cubicBezTo>
                    <a:pt x="123" y="53"/>
                    <a:pt x="125" y="51"/>
                    <a:pt x="125" y="48"/>
                  </a:cubicBezTo>
                  <a:cubicBezTo>
                    <a:pt x="125" y="19"/>
                    <a:pt x="100" y="0"/>
                    <a:pt x="63" y="0"/>
                  </a:cubicBezTo>
                  <a:cubicBezTo>
                    <a:pt x="22" y="0"/>
                    <a:pt x="4" y="25"/>
                    <a:pt x="4" y="4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342"/>
            </a:p>
          </p:txBody>
        </p:sp>
        <p:sp>
          <p:nvSpPr>
            <p:cNvPr id="23" name="Freeform 10">
              <a:extLst>
                <a:ext uri="{FF2B5EF4-FFF2-40B4-BE49-F238E27FC236}">
                  <a16:creationId xmlns:a16="http://schemas.microsoft.com/office/drawing/2014/main" id="{5592A9B7-2299-45D0-87C1-220D99D9DEB2}"/>
                </a:ext>
              </a:extLst>
            </p:cNvPr>
            <p:cNvSpPr>
              <a:spLocks/>
            </p:cNvSpPr>
            <p:nvPr/>
          </p:nvSpPr>
          <p:spPr bwMode="auto">
            <a:xfrm>
              <a:off x="3062" y="1722"/>
              <a:ext cx="312" cy="474"/>
            </a:xfrm>
            <a:custGeom>
              <a:avLst/>
              <a:gdLst>
                <a:gd name="T0" fmla="*/ 67 w 165"/>
                <a:gd name="T1" fmla="*/ 0 h 250"/>
                <a:gd name="T2" fmla="*/ 0 w 165"/>
                <a:gd name="T3" fmla="*/ 86 h 250"/>
                <a:gd name="T4" fmla="*/ 82 w 165"/>
                <a:gd name="T5" fmla="*/ 174 h 250"/>
                <a:gd name="T6" fmla="*/ 137 w 165"/>
                <a:gd name="T7" fmla="*/ 152 h 250"/>
                <a:gd name="T8" fmla="*/ 137 w 165"/>
                <a:gd name="T9" fmla="*/ 173 h 250"/>
                <a:gd name="T10" fmla="*/ 89 w 165"/>
                <a:gd name="T11" fmla="*/ 222 h 250"/>
                <a:gd name="T12" fmla="*/ 48 w 165"/>
                <a:gd name="T13" fmla="*/ 194 h 250"/>
                <a:gd name="T14" fmla="*/ 43 w 165"/>
                <a:gd name="T15" fmla="*/ 190 h 250"/>
                <a:gd name="T16" fmla="*/ 24 w 165"/>
                <a:gd name="T17" fmla="*/ 190 h 250"/>
                <a:gd name="T18" fmla="*/ 19 w 165"/>
                <a:gd name="T19" fmla="*/ 195 h 250"/>
                <a:gd name="T20" fmla="*/ 89 w 165"/>
                <a:gd name="T21" fmla="*/ 250 h 250"/>
                <a:gd name="T22" fmla="*/ 165 w 165"/>
                <a:gd name="T23" fmla="*/ 174 h 250"/>
                <a:gd name="T24" fmla="*/ 165 w 165"/>
                <a:gd name="T25" fmla="*/ 7 h 250"/>
                <a:gd name="T26" fmla="*/ 162 w 165"/>
                <a:gd name="T27" fmla="*/ 4 h 250"/>
                <a:gd name="T28" fmla="*/ 140 w 165"/>
                <a:gd name="T29" fmla="*/ 4 h 250"/>
                <a:gd name="T30" fmla="*/ 137 w 165"/>
                <a:gd name="T31" fmla="*/ 7 h 250"/>
                <a:gd name="T32" fmla="*/ 137 w 165"/>
                <a:gd name="T33" fmla="*/ 21 h 250"/>
                <a:gd name="T34" fmla="*/ 99 w 165"/>
                <a:gd name="T35" fmla="*/ 0 h 250"/>
                <a:gd name="T36" fmla="*/ 96 w 165"/>
                <a:gd name="T37" fmla="*/ 3 h 250"/>
                <a:gd name="T38" fmla="*/ 96 w 165"/>
                <a:gd name="T39" fmla="*/ 28 h 250"/>
                <a:gd name="T40" fmla="*/ 97 w 165"/>
                <a:gd name="T41" fmla="*/ 31 h 250"/>
                <a:gd name="T42" fmla="*/ 138 w 165"/>
                <a:gd name="T43" fmla="*/ 87 h 250"/>
                <a:gd name="T44" fmla="*/ 83 w 165"/>
                <a:gd name="T45" fmla="*/ 146 h 250"/>
                <a:gd name="T46" fmla="*/ 29 w 165"/>
                <a:gd name="T47" fmla="*/ 87 h 250"/>
                <a:gd name="T48" fmla="*/ 68 w 165"/>
                <a:gd name="T49" fmla="*/ 31 h 250"/>
                <a:gd name="T50" fmla="*/ 70 w 165"/>
                <a:gd name="T51" fmla="*/ 29 h 250"/>
                <a:gd name="T52" fmla="*/ 70 w 165"/>
                <a:gd name="T53" fmla="*/ 3 h 250"/>
                <a:gd name="T54" fmla="*/ 67 w 165"/>
                <a:gd name="T55" fmla="*/ 0 h 250"/>
                <a:gd name="T56" fmla="*/ 67 w 165"/>
                <a:gd name="T57"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5" h="250">
                  <a:moveTo>
                    <a:pt x="67" y="0"/>
                  </a:moveTo>
                  <a:cubicBezTo>
                    <a:pt x="29" y="8"/>
                    <a:pt x="0" y="44"/>
                    <a:pt x="0" y="86"/>
                  </a:cubicBezTo>
                  <a:cubicBezTo>
                    <a:pt x="0" y="135"/>
                    <a:pt x="37" y="174"/>
                    <a:pt x="82" y="174"/>
                  </a:cubicBezTo>
                  <a:cubicBezTo>
                    <a:pt x="103" y="174"/>
                    <a:pt x="122" y="166"/>
                    <a:pt x="137" y="152"/>
                  </a:cubicBezTo>
                  <a:cubicBezTo>
                    <a:pt x="137" y="173"/>
                    <a:pt x="137" y="173"/>
                    <a:pt x="137" y="173"/>
                  </a:cubicBezTo>
                  <a:cubicBezTo>
                    <a:pt x="137" y="205"/>
                    <a:pt x="120" y="222"/>
                    <a:pt x="89" y="222"/>
                  </a:cubicBezTo>
                  <a:cubicBezTo>
                    <a:pt x="66" y="222"/>
                    <a:pt x="52" y="213"/>
                    <a:pt x="48" y="194"/>
                  </a:cubicBezTo>
                  <a:cubicBezTo>
                    <a:pt x="47" y="192"/>
                    <a:pt x="46" y="190"/>
                    <a:pt x="43" y="190"/>
                  </a:cubicBezTo>
                  <a:cubicBezTo>
                    <a:pt x="24" y="190"/>
                    <a:pt x="24" y="190"/>
                    <a:pt x="24" y="190"/>
                  </a:cubicBezTo>
                  <a:cubicBezTo>
                    <a:pt x="21" y="190"/>
                    <a:pt x="19" y="192"/>
                    <a:pt x="19" y="195"/>
                  </a:cubicBezTo>
                  <a:cubicBezTo>
                    <a:pt x="22" y="228"/>
                    <a:pt x="51" y="250"/>
                    <a:pt x="89" y="250"/>
                  </a:cubicBezTo>
                  <a:cubicBezTo>
                    <a:pt x="135" y="250"/>
                    <a:pt x="165" y="219"/>
                    <a:pt x="165" y="174"/>
                  </a:cubicBezTo>
                  <a:cubicBezTo>
                    <a:pt x="165" y="7"/>
                    <a:pt x="165" y="7"/>
                    <a:pt x="165" y="7"/>
                  </a:cubicBezTo>
                  <a:cubicBezTo>
                    <a:pt x="165" y="5"/>
                    <a:pt x="164" y="4"/>
                    <a:pt x="162" y="4"/>
                  </a:cubicBezTo>
                  <a:cubicBezTo>
                    <a:pt x="140" y="4"/>
                    <a:pt x="140" y="4"/>
                    <a:pt x="140" y="4"/>
                  </a:cubicBezTo>
                  <a:cubicBezTo>
                    <a:pt x="138" y="4"/>
                    <a:pt x="137" y="5"/>
                    <a:pt x="137" y="7"/>
                  </a:cubicBezTo>
                  <a:cubicBezTo>
                    <a:pt x="137" y="21"/>
                    <a:pt x="137" y="21"/>
                    <a:pt x="137" y="21"/>
                  </a:cubicBezTo>
                  <a:cubicBezTo>
                    <a:pt x="126" y="11"/>
                    <a:pt x="113" y="4"/>
                    <a:pt x="99" y="0"/>
                  </a:cubicBezTo>
                  <a:cubicBezTo>
                    <a:pt x="97" y="0"/>
                    <a:pt x="96" y="1"/>
                    <a:pt x="96" y="3"/>
                  </a:cubicBezTo>
                  <a:cubicBezTo>
                    <a:pt x="96" y="28"/>
                    <a:pt x="96" y="28"/>
                    <a:pt x="96" y="28"/>
                  </a:cubicBezTo>
                  <a:cubicBezTo>
                    <a:pt x="96" y="29"/>
                    <a:pt x="96" y="30"/>
                    <a:pt x="97" y="31"/>
                  </a:cubicBezTo>
                  <a:cubicBezTo>
                    <a:pt x="121" y="37"/>
                    <a:pt x="138" y="60"/>
                    <a:pt x="138" y="87"/>
                  </a:cubicBezTo>
                  <a:cubicBezTo>
                    <a:pt x="138" y="119"/>
                    <a:pt x="114" y="146"/>
                    <a:pt x="83" y="146"/>
                  </a:cubicBezTo>
                  <a:cubicBezTo>
                    <a:pt x="53" y="146"/>
                    <a:pt x="29" y="119"/>
                    <a:pt x="29" y="87"/>
                  </a:cubicBezTo>
                  <a:cubicBezTo>
                    <a:pt x="29" y="61"/>
                    <a:pt x="45" y="38"/>
                    <a:pt x="68" y="31"/>
                  </a:cubicBezTo>
                  <a:cubicBezTo>
                    <a:pt x="69" y="31"/>
                    <a:pt x="70" y="30"/>
                    <a:pt x="70" y="29"/>
                  </a:cubicBezTo>
                  <a:cubicBezTo>
                    <a:pt x="70" y="3"/>
                    <a:pt x="70" y="3"/>
                    <a:pt x="70" y="3"/>
                  </a:cubicBezTo>
                  <a:cubicBezTo>
                    <a:pt x="70" y="1"/>
                    <a:pt x="69" y="0"/>
                    <a:pt x="67" y="0"/>
                  </a:cubicBezTo>
                  <a:cubicBezTo>
                    <a:pt x="67" y="0"/>
                    <a:pt x="67" y="0"/>
                    <a:pt x="67"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342"/>
            </a:p>
          </p:txBody>
        </p:sp>
        <p:sp>
          <p:nvSpPr>
            <p:cNvPr id="24" name="Oval 23">
              <a:extLst>
                <a:ext uri="{FF2B5EF4-FFF2-40B4-BE49-F238E27FC236}">
                  <a16:creationId xmlns:a16="http://schemas.microsoft.com/office/drawing/2014/main" id="{8C29F26E-D3CE-41A2-9A18-0705DA311682}"/>
                </a:ext>
              </a:extLst>
            </p:cNvPr>
            <p:cNvSpPr>
              <a:spLocks noChangeArrowheads="1"/>
            </p:cNvSpPr>
            <p:nvPr/>
          </p:nvSpPr>
          <p:spPr bwMode="auto">
            <a:xfrm>
              <a:off x="2843" y="1589"/>
              <a:ext cx="87" cy="8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2342"/>
            </a:p>
          </p:txBody>
        </p:sp>
        <p:sp>
          <p:nvSpPr>
            <p:cNvPr id="25" name="Oval 24">
              <a:extLst>
                <a:ext uri="{FF2B5EF4-FFF2-40B4-BE49-F238E27FC236}">
                  <a16:creationId xmlns:a16="http://schemas.microsoft.com/office/drawing/2014/main" id="{D6D4DE52-2D8A-4729-B4F6-0CB6F2E5E72B}"/>
                </a:ext>
              </a:extLst>
            </p:cNvPr>
            <p:cNvSpPr>
              <a:spLocks noChangeArrowheads="1"/>
            </p:cNvSpPr>
            <p:nvPr/>
          </p:nvSpPr>
          <p:spPr bwMode="auto">
            <a:xfrm>
              <a:off x="3873" y="1589"/>
              <a:ext cx="87" cy="8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2342"/>
            </a:p>
          </p:txBody>
        </p:sp>
        <p:sp>
          <p:nvSpPr>
            <p:cNvPr id="26" name="Freeform 13">
              <a:extLst>
                <a:ext uri="{FF2B5EF4-FFF2-40B4-BE49-F238E27FC236}">
                  <a16:creationId xmlns:a16="http://schemas.microsoft.com/office/drawing/2014/main" id="{199FDE6A-B1DC-450F-91BA-597EFF43B960}"/>
                </a:ext>
              </a:extLst>
            </p:cNvPr>
            <p:cNvSpPr>
              <a:spLocks/>
            </p:cNvSpPr>
            <p:nvPr/>
          </p:nvSpPr>
          <p:spPr bwMode="auto">
            <a:xfrm>
              <a:off x="4062" y="1584"/>
              <a:ext cx="242" cy="462"/>
            </a:xfrm>
            <a:custGeom>
              <a:avLst/>
              <a:gdLst>
                <a:gd name="T0" fmla="*/ 39 w 128"/>
                <a:gd name="T1" fmla="*/ 55 h 244"/>
                <a:gd name="T2" fmla="*/ 39 w 128"/>
                <a:gd name="T3" fmla="*/ 76 h 244"/>
                <a:gd name="T4" fmla="*/ 4 w 128"/>
                <a:gd name="T5" fmla="*/ 76 h 244"/>
                <a:gd name="T6" fmla="*/ 0 w 128"/>
                <a:gd name="T7" fmla="*/ 81 h 244"/>
                <a:gd name="T8" fmla="*/ 0 w 128"/>
                <a:gd name="T9" fmla="*/ 99 h 244"/>
                <a:gd name="T10" fmla="*/ 4 w 128"/>
                <a:gd name="T11" fmla="*/ 103 h 244"/>
                <a:gd name="T12" fmla="*/ 39 w 128"/>
                <a:gd name="T13" fmla="*/ 103 h 244"/>
                <a:gd name="T14" fmla="*/ 39 w 128"/>
                <a:gd name="T15" fmla="*/ 239 h 244"/>
                <a:gd name="T16" fmla="*/ 44 w 128"/>
                <a:gd name="T17" fmla="*/ 244 h 244"/>
                <a:gd name="T18" fmla="*/ 62 w 128"/>
                <a:gd name="T19" fmla="*/ 244 h 244"/>
                <a:gd name="T20" fmla="*/ 67 w 128"/>
                <a:gd name="T21" fmla="*/ 239 h 244"/>
                <a:gd name="T22" fmla="*/ 67 w 128"/>
                <a:gd name="T23" fmla="*/ 103 h 244"/>
                <a:gd name="T24" fmla="*/ 120 w 128"/>
                <a:gd name="T25" fmla="*/ 103 h 244"/>
                <a:gd name="T26" fmla="*/ 125 w 128"/>
                <a:gd name="T27" fmla="*/ 99 h 244"/>
                <a:gd name="T28" fmla="*/ 125 w 128"/>
                <a:gd name="T29" fmla="*/ 81 h 244"/>
                <a:gd name="T30" fmla="*/ 120 w 128"/>
                <a:gd name="T31" fmla="*/ 76 h 244"/>
                <a:gd name="T32" fmla="*/ 67 w 128"/>
                <a:gd name="T33" fmla="*/ 76 h 244"/>
                <a:gd name="T34" fmla="*/ 67 w 128"/>
                <a:gd name="T35" fmla="*/ 55 h 244"/>
                <a:gd name="T36" fmla="*/ 91 w 128"/>
                <a:gd name="T37" fmla="*/ 27 h 244"/>
                <a:gd name="T38" fmla="*/ 122 w 128"/>
                <a:gd name="T39" fmla="*/ 37 h 244"/>
                <a:gd name="T40" fmla="*/ 125 w 128"/>
                <a:gd name="T41" fmla="*/ 38 h 244"/>
                <a:gd name="T42" fmla="*/ 128 w 128"/>
                <a:gd name="T43" fmla="*/ 33 h 244"/>
                <a:gd name="T44" fmla="*/ 128 w 128"/>
                <a:gd name="T45" fmla="*/ 16 h 244"/>
                <a:gd name="T46" fmla="*/ 125 w 128"/>
                <a:gd name="T47" fmla="*/ 9 h 244"/>
                <a:gd name="T48" fmla="*/ 89 w 128"/>
                <a:gd name="T49" fmla="*/ 0 h 244"/>
                <a:gd name="T50" fmla="*/ 39 w 128"/>
                <a:gd name="T51" fmla="*/ 5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244">
                  <a:moveTo>
                    <a:pt x="39" y="55"/>
                  </a:moveTo>
                  <a:cubicBezTo>
                    <a:pt x="39" y="76"/>
                    <a:pt x="39" y="76"/>
                    <a:pt x="39" y="76"/>
                  </a:cubicBezTo>
                  <a:cubicBezTo>
                    <a:pt x="4" y="76"/>
                    <a:pt x="4" y="76"/>
                    <a:pt x="4" y="76"/>
                  </a:cubicBezTo>
                  <a:cubicBezTo>
                    <a:pt x="1" y="76"/>
                    <a:pt x="0" y="78"/>
                    <a:pt x="0" y="81"/>
                  </a:cubicBezTo>
                  <a:cubicBezTo>
                    <a:pt x="0" y="99"/>
                    <a:pt x="0" y="99"/>
                    <a:pt x="0" y="99"/>
                  </a:cubicBezTo>
                  <a:cubicBezTo>
                    <a:pt x="0" y="102"/>
                    <a:pt x="1" y="103"/>
                    <a:pt x="4" y="103"/>
                  </a:cubicBezTo>
                  <a:cubicBezTo>
                    <a:pt x="39" y="103"/>
                    <a:pt x="39" y="103"/>
                    <a:pt x="39" y="103"/>
                  </a:cubicBezTo>
                  <a:cubicBezTo>
                    <a:pt x="39" y="239"/>
                    <a:pt x="39" y="239"/>
                    <a:pt x="39" y="239"/>
                  </a:cubicBezTo>
                  <a:cubicBezTo>
                    <a:pt x="39" y="242"/>
                    <a:pt x="41" y="244"/>
                    <a:pt x="44" y="244"/>
                  </a:cubicBezTo>
                  <a:cubicBezTo>
                    <a:pt x="62" y="244"/>
                    <a:pt x="62" y="244"/>
                    <a:pt x="62" y="244"/>
                  </a:cubicBezTo>
                  <a:cubicBezTo>
                    <a:pt x="65" y="244"/>
                    <a:pt x="67" y="242"/>
                    <a:pt x="67" y="239"/>
                  </a:cubicBezTo>
                  <a:cubicBezTo>
                    <a:pt x="67" y="103"/>
                    <a:pt x="67" y="103"/>
                    <a:pt x="67" y="103"/>
                  </a:cubicBezTo>
                  <a:cubicBezTo>
                    <a:pt x="120" y="103"/>
                    <a:pt x="120" y="103"/>
                    <a:pt x="120" y="103"/>
                  </a:cubicBezTo>
                  <a:cubicBezTo>
                    <a:pt x="123" y="103"/>
                    <a:pt x="125" y="102"/>
                    <a:pt x="125" y="99"/>
                  </a:cubicBezTo>
                  <a:cubicBezTo>
                    <a:pt x="125" y="81"/>
                    <a:pt x="125" y="81"/>
                    <a:pt x="125" y="81"/>
                  </a:cubicBezTo>
                  <a:cubicBezTo>
                    <a:pt x="125" y="78"/>
                    <a:pt x="123" y="76"/>
                    <a:pt x="120" y="76"/>
                  </a:cubicBezTo>
                  <a:cubicBezTo>
                    <a:pt x="67" y="76"/>
                    <a:pt x="67" y="76"/>
                    <a:pt x="67" y="76"/>
                  </a:cubicBezTo>
                  <a:cubicBezTo>
                    <a:pt x="67" y="55"/>
                    <a:pt x="67" y="55"/>
                    <a:pt x="67" y="55"/>
                  </a:cubicBezTo>
                  <a:cubicBezTo>
                    <a:pt x="67" y="38"/>
                    <a:pt x="76" y="27"/>
                    <a:pt x="91" y="27"/>
                  </a:cubicBezTo>
                  <a:cubicBezTo>
                    <a:pt x="102" y="27"/>
                    <a:pt x="110" y="30"/>
                    <a:pt x="122" y="37"/>
                  </a:cubicBezTo>
                  <a:cubicBezTo>
                    <a:pt x="123" y="38"/>
                    <a:pt x="124" y="38"/>
                    <a:pt x="125" y="38"/>
                  </a:cubicBezTo>
                  <a:cubicBezTo>
                    <a:pt x="127" y="38"/>
                    <a:pt x="128" y="36"/>
                    <a:pt x="128" y="33"/>
                  </a:cubicBezTo>
                  <a:cubicBezTo>
                    <a:pt x="128" y="16"/>
                    <a:pt x="128" y="16"/>
                    <a:pt x="128" y="16"/>
                  </a:cubicBezTo>
                  <a:cubicBezTo>
                    <a:pt x="128" y="13"/>
                    <a:pt x="128" y="11"/>
                    <a:pt x="125" y="9"/>
                  </a:cubicBezTo>
                  <a:cubicBezTo>
                    <a:pt x="114" y="3"/>
                    <a:pt x="103" y="0"/>
                    <a:pt x="89" y="0"/>
                  </a:cubicBezTo>
                  <a:cubicBezTo>
                    <a:pt x="54" y="0"/>
                    <a:pt x="39" y="29"/>
                    <a:pt x="39" y="5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342"/>
            </a:p>
          </p:txBody>
        </p:sp>
        <p:sp>
          <p:nvSpPr>
            <p:cNvPr id="27" name="Freeform 14">
              <a:extLst>
                <a:ext uri="{FF2B5EF4-FFF2-40B4-BE49-F238E27FC236}">
                  <a16:creationId xmlns:a16="http://schemas.microsoft.com/office/drawing/2014/main" id="{7F97D024-FB70-49A2-A646-65DE6CD85759}"/>
                </a:ext>
              </a:extLst>
            </p:cNvPr>
            <p:cNvSpPr>
              <a:spLocks/>
            </p:cNvSpPr>
            <p:nvPr/>
          </p:nvSpPr>
          <p:spPr bwMode="auto">
            <a:xfrm>
              <a:off x="2071" y="1578"/>
              <a:ext cx="632" cy="631"/>
            </a:xfrm>
            <a:custGeom>
              <a:avLst/>
              <a:gdLst>
                <a:gd name="T0" fmla="*/ 181 w 334"/>
                <a:gd name="T1" fmla="*/ 1 h 333"/>
                <a:gd name="T2" fmla="*/ 180 w 334"/>
                <a:gd name="T3" fmla="*/ 4 h 333"/>
                <a:gd name="T4" fmla="*/ 180 w 334"/>
                <a:gd name="T5" fmla="*/ 26 h 333"/>
                <a:gd name="T6" fmla="*/ 180 w 334"/>
                <a:gd name="T7" fmla="*/ 26 h 333"/>
                <a:gd name="T8" fmla="*/ 182 w 334"/>
                <a:gd name="T9" fmla="*/ 28 h 333"/>
                <a:gd name="T10" fmla="*/ 306 w 334"/>
                <a:gd name="T11" fmla="*/ 166 h 333"/>
                <a:gd name="T12" fmla="*/ 167 w 334"/>
                <a:gd name="T13" fmla="*/ 305 h 333"/>
                <a:gd name="T14" fmla="*/ 28 w 334"/>
                <a:gd name="T15" fmla="*/ 166 h 333"/>
                <a:gd name="T16" fmla="*/ 152 w 334"/>
                <a:gd name="T17" fmla="*/ 28 h 333"/>
                <a:gd name="T18" fmla="*/ 154 w 334"/>
                <a:gd name="T19" fmla="*/ 26 h 333"/>
                <a:gd name="T20" fmla="*/ 154 w 334"/>
                <a:gd name="T21" fmla="*/ 26 h 333"/>
                <a:gd name="T22" fmla="*/ 154 w 334"/>
                <a:gd name="T23" fmla="*/ 4 h 333"/>
                <a:gd name="T24" fmla="*/ 153 w 334"/>
                <a:gd name="T25" fmla="*/ 1 h 333"/>
                <a:gd name="T26" fmla="*/ 150 w 334"/>
                <a:gd name="T27" fmla="*/ 0 h 333"/>
                <a:gd name="T28" fmla="*/ 149 w 334"/>
                <a:gd name="T29" fmla="*/ 0 h 333"/>
                <a:gd name="T30" fmla="*/ 149 w 334"/>
                <a:gd name="T31" fmla="*/ 0 h 333"/>
                <a:gd name="T32" fmla="*/ 0 w 334"/>
                <a:gd name="T33" fmla="*/ 166 h 333"/>
                <a:gd name="T34" fmla="*/ 167 w 334"/>
                <a:gd name="T35" fmla="*/ 333 h 333"/>
                <a:gd name="T36" fmla="*/ 334 w 334"/>
                <a:gd name="T37" fmla="*/ 166 h 333"/>
                <a:gd name="T38" fmla="*/ 185 w 334"/>
                <a:gd name="T39" fmla="*/ 0 h 333"/>
                <a:gd name="T40" fmla="*/ 185 w 334"/>
                <a:gd name="T41" fmla="*/ 0 h 333"/>
                <a:gd name="T42" fmla="*/ 184 w 334"/>
                <a:gd name="T43" fmla="*/ 0 h 333"/>
                <a:gd name="T44" fmla="*/ 181 w 334"/>
                <a:gd name="T45" fmla="*/ 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4" h="333">
                  <a:moveTo>
                    <a:pt x="181" y="1"/>
                  </a:moveTo>
                  <a:cubicBezTo>
                    <a:pt x="180" y="2"/>
                    <a:pt x="180" y="3"/>
                    <a:pt x="180" y="4"/>
                  </a:cubicBezTo>
                  <a:cubicBezTo>
                    <a:pt x="180" y="26"/>
                    <a:pt x="180" y="26"/>
                    <a:pt x="180" y="26"/>
                  </a:cubicBezTo>
                  <a:cubicBezTo>
                    <a:pt x="180" y="26"/>
                    <a:pt x="180" y="26"/>
                    <a:pt x="180" y="26"/>
                  </a:cubicBezTo>
                  <a:cubicBezTo>
                    <a:pt x="180" y="27"/>
                    <a:pt x="181" y="28"/>
                    <a:pt x="182" y="28"/>
                  </a:cubicBezTo>
                  <a:cubicBezTo>
                    <a:pt x="251" y="35"/>
                    <a:pt x="306" y="94"/>
                    <a:pt x="306" y="166"/>
                  </a:cubicBezTo>
                  <a:cubicBezTo>
                    <a:pt x="306" y="243"/>
                    <a:pt x="244" y="305"/>
                    <a:pt x="167" y="305"/>
                  </a:cubicBezTo>
                  <a:cubicBezTo>
                    <a:pt x="90" y="305"/>
                    <a:pt x="28" y="243"/>
                    <a:pt x="28" y="166"/>
                  </a:cubicBezTo>
                  <a:cubicBezTo>
                    <a:pt x="28" y="94"/>
                    <a:pt x="82" y="35"/>
                    <a:pt x="152" y="28"/>
                  </a:cubicBezTo>
                  <a:cubicBezTo>
                    <a:pt x="153" y="28"/>
                    <a:pt x="154" y="27"/>
                    <a:pt x="154" y="26"/>
                  </a:cubicBezTo>
                  <a:cubicBezTo>
                    <a:pt x="154" y="26"/>
                    <a:pt x="154" y="26"/>
                    <a:pt x="154" y="26"/>
                  </a:cubicBezTo>
                  <a:cubicBezTo>
                    <a:pt x="154" y="4"/>
                    <a:pt x="154" y="4"/>
                    <a:pt x="154" y="4"/>
                  </a:cubicBezTo>
                  <a:cubicBezTo>
                    <a:pt x="154" y="3"/>
                    <a:pt x="154" y="2"/>
                    <a:pt x="153" y="1"/>
                  </a:cubicBezTo>
                  <a:cubicBezTo>
                    <a:pt x="152" y="0"/>
                    <a:pt x="151" y="0"/>
                    <a:pt x="150" y="0"/>
                  </a:cubicBezTo>
                  <a:cubicBezTo>
                    <a:pt x="149" y="0"/>
                    <a:pt x="149" y="0"/>
                    <a:pt x="149" y="0"/>
                  </a:cubicBezTo>
                  <a:cubicBezTo>
                    <a:pt x="149" y="0"/>
                    <a:pt x="149" y="0"/>
                    <a:pt x="149" y="0"/>
                  </a:cubicBezTo>
                  <a:cubicBezTo>
                    <a:pt x="65" y="9"/>
                    <a:pt x="0" y="80"/>
                    <a:pt x="0" y="166"/>
                  </a:cubicBezTo>
                  <a:cubicBezTo>
                    <a:pt x="0" y="258"/>
                    <a:pt x="75" y="333"/>
                    <a:pt x="167" y="333"/>
                  </a:cubicBezTo>
                  <a:cubicBezTo>
                    <a:pt x="259" y="333"/>
                    <a:pt x="334" y="258"/>
                    <a:pt x="334" y="166"/>
                  </a:cubicBezTo>
                  <a:cubicBezTo>
                    <a:pt x="334" y="80"/>
                    <a:pt x="269" y="9"/>
                    <a:pt x="185" y="0"/>
                  </a:cubicBezTo>
                  <a:cubicBezTo>
                    <a:pt x="185" y="0"/>
                    <a:pt x="185" y="0"/>
                    <a:pt x="185" y="0"/>
                  </a:cubicBezTo>
                  <a:cubicBezTo>
                    <a:pt x="185" y="0"/>
                    <a:pt x="184" y="0"/>
                    <a:pt x="184" y="0"/>
                  </a:cubicBezTo>
                  <a:cubicBezTo>
                    <a:pt x="183" y="0"/>
                    <a:pt x="182" y="0"/>
                    <a:pt x="181" y="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342"/>
            </a:p>
          </p:txBody>
        </p:sp>
      </p:grpSp>
    </p:spTree>
    <p:extLst>
      <p:ext uri="{BB962C8B-B14F-4D97-AF65-F5344CB8AC3E}">
        <p14:creationId xmlns:p14="http://schemas.microsoft.com/office/powerpoint/2010/main" val="413519744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nd Content Dark">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10881" y="411083"/>
            <a:ext cx="11368018" cy="776038"/>
          </a:xfrm>
        </p:spPr>
        <p:txBody>
          <a:bodyPr/>
          <a:lstStyle>
            <a:lvl1pPr>
              <a:defRPr>
                <a:solidFill>
                  <a:schemeClr val="bg1"/>
                </a:solidFill>
              </a:defRPr>
            </a:lvl1pPr>
          </a:lstStyle>
          <a:p>
            <a:r>
              <a:rPr lang="en-US"/>
              <a:t>Click to edit Master title style</a:t>
            </a: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BE"/>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9F5F79E4-174E-4D15-B5B9-2923F86E0116}" type="slidenum">
              <a:rPr lang="en-BE" smtClean="0"/>
              <a:t>‹#›</a:t>
            </a:fld>
            <a:endParaRPr lang="en-BE"/>
          </a:p>
        </p:txBody>
      </p:sp>
      <p:sp>
        <p:nvSpPr>
          <p:cNvPr id="7" name="Content Placeholder 8">
            <a:extLst>
              <a:ext uri="{FF2B5EF4-FFF2-40B4-BE49-F238E27FC236}">
                <a16:creationId xmlns:a16="http://schemas.microsoft.com/office/drawing/2014/main" id="{8E40116B-71CA-472D-8400-6F4605D9D057}"/>
              </a:ext>
            </a:extLst>
          </p:cNvPr>
          <p:cNvSpPr>
            <a:spLocks noGrp="1"/>
          </p:cNvSpPr>
          <p:nvPr>
            <p:ph sz="quarter" idx="13"/>
          </p:nvPr>
        </p:nvSpPr>
        <p:spPr>
          <a:xfrm>
            <a:off x="412920" y="1521184"/>
            <a:ext cx="6762580" cy="4494733"/>
          </a:xfrm>
        </p:spPr>
        <p:txBody>
          <a:bodyPr/>
          <a:lstStyle>
            <a:lvl1pPr>
              <a:defRPr sz="2400">
                <a:solidFill>
                  <a:schemeClr val="bg1"/>
                </a:solidFill>
              </a:defRPr>
            </a:lvl1pPr>
            <a:lvl2pPr>
              <a:defRPr sz="2400">
                <a:solidFill>
                  <a:schemeClr val="bg1"/>
                </a:solidFill>
              </a:defRPr>
            </a:lvl2pPr>
            <a:lvl3pPr>
              <a:defRPr sz="2400">
                <a:solidFill>
                  <a:schemeClr val="accent3"/>
                </a:solidFill>
              </a:defRPr>
            </a:lvl3pPr>
            <a:lvl4pPr>
              <a:buClr>
                <a:schemeClr val="accent3"/>
              </a:buClr>
              <a:defRPr sz="2200">
                <a:solidFill>
                  <a:schemeClr val="bg1"/>
                </a:solidFill>
              </a:defRPr>
            </a:lvl4pPr>
            <a:lvl5pPr>
              <a:buClr>
                <a:schemeClr val="accent3"/>
              </a:buClr>
              <a:defRPr sz="2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189620952"/>
      </p:ext>
    </p:extLst>
  </p:cSld>
  <p:clrMapOvr>
    <a:masterClrMapping/>
  </p:clrMapOvr>
  <p:transition>
    <p:fade/>
  </p:transition>
  <p:extLst>
    <p:ext uri="{DCECCB84-F9BA-43D5-87BE-67443E8EF086}">
      <p15:sldGuideLst xmlns:p15="http://schemas.microsoft.com/office/powerpoint/2012/main">
        <p15:guide id="1" pos="452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a:xfrm>
            <a:off x="920368" y="6332830"/>
            <a:ext cx="4784400" cy="273450"/>
          </a:xfrm>
          <a:prstGeom prst="rect">
            <a:avLst/>
          </a:prstGeom>
        </p:spPr>
        <p:txBody>
          <a:bodyPr/>
          <a:lstStyle/>
          <a:p>
            <a:r>
              <a:rPr lang="en-GB"/>
              <a:t>Document Name</a:t>
            </a:r>
            <a:endParaRPr lang="en-US"/>
          </a:p>
        </p:txBody>
      </p:sp>
      <p:sp>
        <p:nvSpPr>
          <p:cNvPr id="5" name="Slide Number Placeholder 4"/>
          <p:cNvSpPr>
            <a:spLocks noGrp="1"/>
          </p:cNvSpPr>
          <p:nvPr>
            <p:ph type="sldNum" sz="quarter" idx="12"/>
          </p:nvPr>
        </p:nvSpPr>
        <p:spPr/>
        <p:txBody>
          <a:bodyPr/>
          <a:lstStyle/>
          <a:p>
            <a:fld id="{32B354EE-31EA-4FC2-9496-7B6202183237}" type="slidenum">
              <a:rPr lang="en-US" smtClean="0"/>
              <a:t>‹#›</a:t>
            </a:fld>
            <a:endParaRPr lang="en-US"/>
          </a:p>
        </p:txBody>
      </p:sp>
    </p:spTree>
    <p:extLst>
      <p:ext uri="{BB962C8B-B14F-4D97-AF65-F5344CB8AC3E}">
        <p14:creationId xmlns:p14="http://schemas.microsoft.com/office/powerpoint/2010/main" val="3611449540"/>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a:xfrm>
            <a:off x="920368" y="6332830"/>
            <a:ext cx="4784400" cy="273450"/>
          </a:xfrm>
          <a:prstGeom prst="rect">
            <a:avLst/>
          </a:prstGeom>
        </p:spPr>
        <p:txBody>
          <a:bodyPr/>
          <a:lstStyle/>
          <a:p>
            <a:r>
              <a:rPr lang="en-GB"/>
              <a:t>Document Name</a:t>
            </a:r>
            <a:endParaRPr lang="en-US"/>
          </a:p>
        </p:txBody>
      </p:sp>
      <p:sp>
        <p:nvSpPr>
          <p:cNvPr id="4" name="Slide Number Placeholder 3"/>
          <p:cNvSpPr>
            <a:spLocks noGrp="1"/>
          </p:cNvSpPr>
          <p:nvPr>
            <p:ph type="sldNum" sz="quarter" idx="12"/>
          </p:nvPr>
        </p:nvSpPr>
        <p:spPr/>
        <p:txBody>
          <a:bodyPr/>
          <a:lstStyle/>
          <a:p>
            <a:fld id="{32B354EE-31EA-4FC2-9496-7B6202183237}" type="slidenum">
              <a:rPr lang="en-US" smtClean="0"/>
              <a:t>‹#›</a:t>
            </a:fld>
            <a:endParaRPr lang="en-US"/>
          </a:p>
        </p:txBody>
      </p:sp>
    </p:spTree>
    <p:extLst>
      <p:ext uri="{BB962C8B-B14F-4D97-AF65-F5344CB8AC3E}">
        <p14:creationId xmlns:p14="http://schemas.microsoft.com/office/powerpoint/2010/main" val="3936595165"/>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1_Agenda Slide">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10880" y="1521184"/>
            <a:ext cx="6178854" cy="3817442"/>
          </a:xfrm>
        </p:spPr>
        <p:txBody>
          <a:bodyPr anchor="ctr"/>
          <a:lstStyle>
            <a:lvl1pPr marL="0" indent="0">
              <a:buNone/>
              <a:defRPr sz="3000" b="0">
                <a:solidFill>
                  <a:schemeClr val="tx2"/>
                </a:solidFill>
                <a:latin typeface="+mj-lt"/>
              </a:defRPr>
            </a:lvl1pPr>
            <a:lvl2pPr marL="521258" indent="0">
              <a:buNone/>
              <a:defRPr sz="2280">
                <a:solidFill>
                  <a:schemeClr val="tx1">
                    <a:tint val="75000"/>
                  </a:schemeClr>
                </a:solidFill>
              </a:defRPr>
            </a:lvl2pPr>
            <a:lvl3pPr marL="1042512" indent="0">
              <a:buNone/>
              <a:defRPr sz="2052">
                <a:solidFill>
                  <a:schemeClr val="tx1">
                    <a:tint val="75000"/>
                  </a:schemeClr>
                </a:solidFill>
              </a:defRPr>
            </a:lvl3pPr>
            <a:lvl4pPr marL="1563773" indent="0">
              <a:buNone/>
              <a:defRPr sz="1824">
                <a:solidFill>
                  <a:schemeClr val="tx1">
                    <a:tint val="75000"/>
                  </a:schemeClr>
                </a:solidFill>
              </a:defRPr>
            </a:lvl4pPr>
            <a:lvl5pPr marL="2085031" indent="0">
              <a:buNone/>
              <a:defRPr sz="1824">
                <a:solidFill>
                  <a:schemeClr val="tx1">
                    <a:tint val="75000"/>
                  </a:schemeClr>
                </a:solidFill>
              </a:defRPr>
            </a:lvl5pPr>
            <a:lvl6pPr marL="2606285" indent="0">
              <a:buNone/>
              <a:defRPr sz="1824">
                <a:solidFill>
                  <a:schemeClr val="tx1">
                    <a:tint val="75000"/>
                  </a:schemeClr>
                </a:solidFill>
              </a:defRPr>
            </a:lvl6pPr>
            <a:lvl7pPr marL="3127543" indent="0">
              <a:buNone/>
              <a:defRPr sz="1824">
                <a:solidFill>
                  <a:schemeClr val="tx1">
                    <a:tint val="75000"/>
                  </a:schemeClr>
                </a:solidFill>
              </a:defRPr>
            </a:lvl7pPr>
            <a:lvl8pPr marL="3648803" indent="0">
              <a:buNone/>
              <a:defRPr sz="1824">
                <a:solidFill>
                  <a:schemeClr val="tx1">
                    <a:tint val="75000"/>
                  </a:schemeClr>
                </a:solidFill>
              </a:defRPr>
            </a:lvl8pPr>
            <a:lvl9pPr marL="4170060" indent="0">
              <a:buNone/>
              <a:defRPr sz="1824">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a:xfrm>
            <a:off x="920368" y="6332830"/>
            <a:ext cx="4784400" cy="273450"/>
          </a:xfrm>
          <a:prstGeom prst="rect">
            <a:avLst/>
          </a:prstGeom>
        </p:spPr>
        <p:txBody>
          <a:bodyPr/>
          <a:lstStyle/>
          <a:p>
            <a:r>
              <a:rPr lang="en-GB"/>
              <a:t>Document Name</a:t>
            </a:r>
            <a:endParaRPr lang="en-US"/>
          </a:p>
        </p:txBody>
      </p:sp>
      <p:sp>
        <p:nvSpPr>
          <p:cNvPr id="6" name="Slide Number Placeholder 5"/>
          <p:cNvSpPr>
            <a:spLocks noGrp="1"/>
          </p:cNvSpPr>
          <p:nvPr>
            <p:ph type="sldNum" sz="quarter" idx="12"/>
          </p:nvPr>
        </p:nvSpPr>
        <p:spPr/>
        <p:txBody>
          <a:bodyPr/>
          <a:lstStyle/>
          <a:p>
            <a:fld id="{32B354EE-31EA-4FC2-9496-7B6202183237}" type="slidenum">
              <a:rPr lang="en-US" smtClean="0"/>
              <a:t>‹#›</a:t>
            </a:fld>
            <a:endParaRPr lang="en-US"/>
          </a:p>
        </p:txBody>
      </p:sp>
      <p:sp>
        <p:nvSpPr>
          <p:cNvPr id="19" name="Title 18">
            <a:extLst>
              <a:ext uri="{FF2B5EF4-FFF2-40B4-BE49-F238E27FC236}">
                <a16:creationId xmlns:a16="http://schemas.microsoft.com/office/drawing/2014/main" id="{B47DF7D0-E13C-497A-8A71-C5A8B4D7F67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67395689"/>
      </p:ext>
    </p:extLst>
  </p:cSld>
  <p:clrMapOvr>
    <a:masterClrMapping/>
  </p:clrMapOvr>
  <p:transition>
    <p:fade/>
  </p:transition>
  <p:extLst>
    <p:ext uri="{DCECCB84-F9BA-43D5-87BE-67443E8EF086}">
      <p15:sldGuideLst xmlns:p15="http://schemas.microsoft.com/office/powerpoint/2012/main">
        <p15:guide id="1" pos="415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920368" y="6332830"/>
            <a:ext cx="4784400" cy="273450"/>
          </a:xfrm>
          <a:prstGeom prst="rect">
            <a:avLst/>
          </a:prstGeom>
        </p:spPr>
        <p:txBody>
          <a:bodyPr/>
          <a:lstStyle/>
          <a:p>
            <a:r>
              <a:rPr lang="en-GB"/>
              <a:t>Document Name</a:t>
            </a:r>
            <a:endParaRPr lang="en-US"/>
          </a:p>
        </p:txBody>
      </p:sp>
      <p:sp>
        <p:nvSpPr>
          <p:cNvPr id="6" name="Slide Number Placeholder 5"/>
          <p:cNvSpPr>
            <a:spLocks noGrp="1"/>
          </p:cNvSpPr>
          <p:nvPr>
            <p:ph type="sldNum" sz="quarter" idx="12"/>
          </p:nvPr>
        </p:nvSpPr>
        <p:spPr/>
        <p:txBody>
          <a:bodyPr/>
          <a:lstStyle/>
          <a:p>
            <a:fld id="{32B354EE-31EA-4FC2-9496-7B6202183237}" type="slidenum">
              <a:rPr lang="en-US" smtClean="0"/>
              <a:t>‹#›</a:t>
            </a:fld>
            <a:endParaRPr lang="en-US"/>
          </a:p>
        </p:txBody>
      </p:sp>
      <p:sp>
        <p:nvSpPr>
          <p:cNvPr id="9" name="Content Placeholder 8">
            <a:extLst>
              <a:ext uri="{FF2B5EF4-FFF2-40B4-BE49-F238E27FC236}">
                <a16:creationId xmlns:a16="http://schemas.microsoft.com/office/drawing/2014/main" id="{AD5FF552-6074-447D-AD5E-8C1C43CCBFB0}"/>
              </a:ext>
            </a:extLst>
          </p:cNvPr>
          <p:cNvSpPr>
            <a:spLocks noGrp="1"/>
          </p:cNvSpPr>
          <p:nvPr>
            <p:ph sz="quarter" idx="13"/>
          </p:nvPr>
        </p:nvSpPr>
        <p:spPr>
          <a:xfrm>
            <a:off x="412920" y="1521184"/>
            <a:ext cx="6762580" cy="4494733"/>
          </a:xfrm>
        </p:spPr>
        <p:txBody>
          <a:bodyPr/>
          <a:lstStyle>
            <a:lvl1pPr>
              <a:defRPr sz="2400"/>
            </a:lvl1pPr>
            <a:lvl2pPr>
              <a:defRPr sz="2400"/>
            </a:lvl2pPr>
            <a:lvl3pPr>
              <a:defRPr sz="2400"/>
            </a:lvl3pPr>
            <a:lvl4pPr>
              <a:defRPr sz="2200"/>
            </a:lvl4pPr>
            <a:lvl5pP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itle 9">
            <a:extLst>
              <a:ext uri="{FF2B5EF4-FFF2-40B4-BE49-F238E27FC236}">
                <a16:creationId xmlns:a16="http://schemas.microsoft.com/office/drawing/2014/main" id="{977F6106-20AC-4F4E-811D-6D4EBFC2BE1B}"/>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120320218"/>
      </p:ext>
    </p:extLst>
  </p:cSld>
  <p:clrMapOvr>
    <a:masterClrMapping/>
  </p:clrMapOvr>
  <p:transition>
    <p:fade/>
  </p:transition>
  <p:extLst>
    <p:ext uri="{DCECCB84-F9BA-43D5-87BE-67443E8EF086}">
      <p15:sldGuideLst xmlns:p15="http://schemas.microsoft.com/office/powerpoint/2012/main">
        <p15:guide id="1" pos="452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10878" y="1521184"/>
            <a:ext cx="5292112" cy="44947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86790" y="1521184"/>
            <a:ext cx="5292112" cy="44947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32B354EE-31EA-4FC2-9496-7B6202183237}" type="slidenum">
              <a:rPr lang="en-US" smtClean="0"/>
              <a:t>‹#›</a:t>
            </a:fld>
            <a:endParaRPr lang="en-US"/>
          </a:p>
        </p:txBody>
      </p:sp>
      <p:sp>
        <p:nvSpPr>
          <p:cNvPr id="8" name="Title 7">
            <a:extLst>
              <a:ext uri="{FF2B5EF4-FFF2-40B4-BE49-F238E27FC236}">
                <a16:creationId xmlns:a16="http://schemas.microsoft.com/office/drawing/2014/main" id="{2BEC790B-BB37-46AF-9CC2-582F081B640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91265556"/>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1_Two Content Dark Righ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D86AC41-762B-4924-A899-F81343A12E1E}"/>
              </a:ext>
            </a:extLst>
          </p:cNvPr>
          <p:cNvSpPr/>
          <p:nvPr/>
        </p:nvSpPr>
        <p:spPr>
          <a:xfrm>
            <a:off x="6096001" y="4"/>
            <a:ext cx="6096000" cy="6858000"/>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42"/>
          </a:p>
        </p:txBody>
      </p:sp>
      <p:sp>
        <p:nvSpPr>
          <p:cNvPr id="3" name="Content Placeholder 2"/>
          <p:cNvSpPr>
            <a:spLocks noGrp="1"/>
          </p:cNvSpPr>
          <p:nvPr>
            <p:ph sz="half" idx="1"/>
          </p:nvPr>
        </p:nvSpPr>
        <p:spPr>
          <a:xfrm>
            <a:off x="410878" y="1521184"/>
            <a:ext cx="5292112" cy="44947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86790" y="1521184"/>
            <a:ext cx="5292112" cy="4494733"/>
          </a:xfrm>
        </p:spPr>
        <p:txBody>
          <a:bodyPr/>
          <a:lstStyle>
            <a:lvl1pPr>
              <a:defRPr>
                <a:solidFill>
                  <a:schemeClr val="bg1"/>
                </a:solidFill>
              </a:defRPr>
            </a:lvl1pPr>
            <a:lvl2pPr>
              <a:defRPr>
                <a:solidFill>
                  <a:schemeClr val="bg1"/>
                </a:solidFill>
              </a:defRPr>
            </a:lvl2pPr>
            <a:lvl3pPr>
              <a:defRPr>
                <a:solidFill>
                  <a:schemeClr val="accent3"/>
                </a:solidFill>
              </a:defRPr>
            </a:lvl3pPr>
            <a:lvl4pPr>
              <a:buClr>
                <a:schemeClr val="accent3"/>
              </a:buClr>
              <a:defRPr>
                <a:solidFill>
                  <a:schemeClr val="bg1"/>
                </a:solidFill>
              </a:defRPr>
            </a:lvl4pPr>
            <a:lvl5pPr>
              <a:buClr>
                <a:schemeClr val="accent3"/>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a:xfrm>
            <a:off x="920368" y="6332830"/>
            <a:ext cx="4784400" cy="273450"/>
          </a:xfrm>
          <a:prstGeom prst="rect">
            <a:avLst/>
          </a:prstGeom>
        </p:spPr>
        <p:txBody>
          <a:bodyPr/>
          <a:lstStyle/>
          <a:p>
            <a:r>
              <a:rPr lang="en-GB"/>
              <a:t>Document Name</a:t>
            </a:r>
            <a:endParaRPr lang="en-US"/>
          </a:p>
        </p:txBody>
      </p:sp>
      <p:sp>
        <p:nvSpPr>
          <p:cNvPr id="7" name="Slide Number Placeholder 6"/>
          <p:cNvSpPr>
            <a:spLocks noGrp="1"/>
          </p:cNvSpPr>
          <p:nvPr>
            <p:ph type="sldNum" sz="quarter" idx="12"/>
          </p:nvPr>
        </p:nvSpPr>
        <p:spPr/>
        <p:txBody>
          <a:bodyPr/>
          <a:lstStyle/>
          <a:p>
            <a:fld id="{32B354EE-31EA-4FC2-9496-7B6202183237}" type="slidenum">
              <a:rPr lang="en-US" smtClean="0"/>
              <a:t>‹#›</a:t>
            </a:fld>
            <a:endParaRPr lang="en-US"/>
          </a:p>
        </p:txBody>
      </p:sp>
      <p:sp>
        <p:nvSpPr>
          <p:cNvPr id="8" name="Title 7">
            <a:extLst>
              <a:ext uri="{FF2B5EF4-FFF2-40B4-BE49-F238E27FC236}">
                <a16:creationId xmlns:a16="http://schemas.microsoft.com/office/drawing/2014/main" id="{97185569-060C-4071-87A6-3F288164C3BB}"/>
              </a:ext>
            </a:extLst>
          </p:cNvPr>
          <p:cNvSpPr>
            <a:spLocks noGrp="1"/>
          </p:cNvSpPr>
          <p:nvPr>
            <p:ph type="title"/>
          </p:nvPr>
        </p:nvSpPr>
        <p:spPr>
          <a:xfrm>
            <a:off x="410879" y="410669"/>
            <a:ext cx="5292111" cy="776038"/>
          </a:xfrm>
        </p:spPr>
        <p:txBody>
          <a:bodyPr/>
          <a:lstStyle/>
          <a:p>
            <a:r>
              <a:rPr lang="en-US"/>
              <a:t>Click to edit Master title style</a:t>
            </a:r>
            <a:endParaRPr lang="en-GB"/>
          </a:p>
        </p:txBody>
      </p:sp>
      <p:grpSp>
        <p:nvGrpSpPr>
          <p:cNvPr id="20" name="Group 4">
            <a:extLst>
              <a:ext uri="{FF2B5EF4-FFF2-40B4-BE49-F238E27FC236}">
                <a16:creationId xmlns:a16="http://schemas.microsoft.com/office/drawing/2014/main" id="{AC999FBB-C1D6-4B26-85DA-C35A9AE89FCD}"/>
              </a:ext>
            </a:extLst>
          </p:cNvPr>
          <p:cNvGrpSpPr>
            <a:grpSpLocks noChangeAspect="1"/>
          </p:cNvGrpSpPr>
          <p:nvPr/>
        </p:nvGrpSpPr>
        <p:grpSpPr bwMode="auto">
          <a:xfrm>
            <a:off x="11179123" y="6332830"/>
            <a:ext cx="607829" cy="148182"/>
            <a:chOff x="2071" y="1578"/>
            <a:chExt cx="2587" cy="631"/>
          </a:xfrm>
          <a:gradFill>
            <a:gsLst>
              <a:gs pos="50000">
                <a:srgbClr val="00E487"/>
              </a:gs>
              <a:gs pos="100000">
                <a:srgbClr val="1ECBD0"/>
              </a:gs>
            </a:gsLst>
            <a:lin ang="18900000" scaled="0"/>
          </a:gradFill>
        </p:grpSpPr>
        <p:sp>
          <p:nvSpPr>
            <p:cNvPr id="21" name="Freeform 5">
              <a:extLst>
                <a:ext uri="{FF2B5EF4-FFF2-40B4-BE49-F238E27FC236}">
                  <a16:creationId xmlns:a16="http://schemas.microsoft.com/office/drawing/2014/main" id="{1EF72B13-9B15-4498-BB43-905E33674BDE}"/>
                </a:ext>
              </a:extLst>
            </p:cNvPr>
            <p:cNvSpPr>
              <a:spLocks/>
            </p:cNvSpPr>
            <p:nvPr/>
          </p:nvSpPr>
          <p:spPr bwMode="auto">
            <a:xfrm>
              <a:off x="2765" y="1728"/>
              <a:ext cx="244" cy="318"/>
            </a:xfrm>
            <a:custGeom>
              <a:avLst/>
              <a:gdLst>
                <a:gd name="T0" fmla="*/ 12 w 129"/>
                <a:gd name="T1" fmla="*/ 0 h 168"/>
                <a:gd name="T2" fmla="*/ 8 w 129"/>
                <a:gd name="T3" fmla="*/ 4 h 168"/>
                <a:gd name="T4" fmla="*/ 8 w 129"/>
                <a:gd name="T5" fmla="*/ 25 h 168"/>
                <a:gd name="T6" fmla="*/ 12 w 129"/>
                <a:gd name="T7" fmla="*/ 29 h 168"/>
                <a:gd name="T8" fmla="*/ 48 w 129"/>
                <a:gd name="T9" fmla="*/ 29 h 168"/>
                <a:gd name="T10" fmla="*/ 48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2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2" y="0"/>
                  </a:moveTo>
                  <a:cubicBezTo>
                    <a:pt x="9" y="0"/>
                    <a:pt x="8" y="1"/>
                    <a:pt x="8" y="4"/>
                  </a:cubicBezTo>
                  <a:cubicBezTo>
                    <a:pt x="8" y="25"/>
                    <a:pt x="8" y="25"/>
                    <a:pt x="8" y="25"/>
                  </a:cubicBezTo>
                  <a:cubicBezTo>
                    <a:pt x="8" y="27"/>
                    <a:pt x="9" y="29"/>
                    <a:pt x="12" y="29"/>
                  </a:cubicBezTo>
                  <a:cubicBezTo>
                    <a:pt x="48" y="29"/>
                    <a:pt x="48" y="29"/>
                    <a:pt x="48" y="29"/>
                  </a:cubicBezTo>
                  <a:cubicBezTo>
                    <a:pt x="48" y="140"/>
                    <a:pt x="48" y="140"/>
                    <a:pt x="48"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8" y="140"/>
                    <a:pt x="125" y="140"/>
                  </a:cubicBezTo>
                  <a:cubicBezTo>
                    <a:pt x="76" y="140"/>
                    <a:pt x="76" y="140"/>
                    <a:pt x="76" y="140"/>
                  </a:cubicBezTo>
                  <a:cubicBezTo>
                    <a:pt x="76" y="4"/>
                    <a:pt x="76" y="4"/>
                    <a:pt x="76" y="4"/>
                  </a:cubicBezTo>
                  <a:cubicBezTo>
                    <a:pt x="76" y="1"/>
                    <a:pt x="75" y="0"/>
                    <a:pt x="72" y="0"/>
                  </a:cubicBez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a:p>
          </p:txBody>
        </p:sp>
        <p:sp>
          <p:nvSpPr>
            <p:cNvPr id="22" name="Freeform 6">
              <a:extLst>
                <a:ext uri="{FF2B5EF4-FFF2-40B4-BE49-F238E27FC236}">
                  <a16:creationId xmlns:a16="http://schemas.microsoft.com/office/drawing/2014/main" id="{B395E17D-434D-496F-ACED-68402E0837A9}"/>
                </a:ext>
              </a:extLst>
            </p:cNvPr>
            <p:cNvSpPr>
              <a:spLocks/>
            </p:cNvSpPr>
            <p:nvPr/>
          </p:nvSpPr>
          <p:spPr bwMode="auto">
            <a:xfrm>
              <a:off x="3798" y="1728"/>
              <a:ext cx="244" cy="318"/>
            </a:xfrm>
            <a:custGeom>
              <a:avLst/>
              <a:gdLst>
                <a:gd name="T0" fmla="*/ 11 w 129"/>
                <a:gd name="T1" fmla="*/ 0 h 168"/>
                <a:gd name="T2" fmla="*/ 8 w 129"/>
                <a:gd name="T3" fmla="*/ 4 h 168"/>
                <a:gd name="T4" fmla="*/ 8 w 129"/>
                <a:gd name="T5" fmla="*/ 25 h 168"/>
                <a:gd name="T6" fmla="*/ 11 w 129"/>
                <a:gd name="T7" fmla="*/ 29 h 168"/>
                <a:gd name="T8" fmla="*/ 47 w 129"/>
                <a:gd name="T9" fmla="*/ 29 h 168"/>
                <a:gd name="T10" fmla="*/ 47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1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1" y="0"/>
                  </a:moveTo>
                  <a:cubicBezTo>
                    <a:pt x="9" y="0"/>
                    <a:pt x="8" y="1"/>
                    <a:pt x="8" y="4"/>
                  </a:cubicBezTo>
                  <a:cubicBezTo>
                    <a:pt x="8" y="25"/>
                    <a:pt x="8" y="25"/>
                    <a:pt x="8" y="25"/>
                  </a:cubicBezTo>
                  <a:cubicBezTo>
                    <a:pt x="8" y="27"/>
                    <a:pt x="9" y="29"/>
                    <a:pt x="11" y="29"/>
                  </a:cubicBezTo>
                  <a:cubicBezTo>
                    <a:pt x="47" y="29"/>
                    <a:pt x="47" y="29"/>
                    <a:pt x="47" y="29"/>
                  </a:cubicBezTo>
                  <a:cubicBezTo>
                    <a:pt x="47" y="140"/>
                    <a:pt x="47" y="140"/>
                    <a:pt x="47"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7" y="140"/>
                    <a:pt x="125" y="140"/>
                  </a:cubicBezTo>
                  <a:cubicBezTo>
                    <a:pt x="76" y="140"/>
                    <a:pt x="76" y="140"/>
                    <a:pt x="76" y="140"/>
                  </a:cubicBezTo>
                  <a:cubicBezTo>
                    <a:pt x="76" y="4"/>
                    <a:pt x="76" y="4"/>
                    <a:pt x="76" y="4"/>
                  </a:cubicBezTo>
                  <a:cubicBezTo>
                    <a:pt x="75" y="1"/>
                    <a:pt x="74" y="0"/>
                    <a:pt x="72" y="0"/>
                  </a:cubicBez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a:p>
          </p:txBody>
        </p:sp>
        <p:sp>
          <p:nvSpPr>
            <p:cNvPr id="23" name="Freeform 7">
              <a:extLst>
                <a:ext uri="{FF2B5EF4-FFF2-40B4-BE49-F238E27FC236}">
                  <a16:creationId xmlns:a16="http://schemas.microsoft.com/office/drawing/2014/main" id="{A5E2052B-5DD0-4BE1-B45C-38CD489F4334}"/>
                </a:ext>
              </a:extLst>
            </p:cNvPr>
            <p:cNvSpPr>
              <a:spLocks/>
            </p:cNvSpPr>
            <p:nvPr/>
          </p:nvSpPr>
          <p:spPr bwMode="auto">
            <a:xfrm>
              <a:off x="4361" y="1728"/>
              <a:ext cx="297" cy="464"/>
            </a:xfrm>
            <a:custGeom>
              <a:avLst/>
              <a:gdLst>
                <a:gd name="T0" fmla="*/ 132 w 157"/>
                <a:gd name="T1" fmla="*/ 0 h 245"/>
                <a:gd name="T2" fmla="*/ 127 w 157"/>
                <a:gd name="T3" fmla="*/ 3 h 245"/>
                <a:gd name="T4" fmla="*/ 127 w 157"/>
                <a:gd name="T5" fmla="*/ 3 h 245"/>
                <a:gd name="T6" fmla="*/ 79 w 157"/>
                <a:gd name="T7" fmla="*/ 128 h 245"/>
                <a:gd name="T8" fmla="*/ 30 w 157"/>
                <a:gd name="T9" fmla="*/ 4 h 245"/>
                <a:gd name="T10" fmla="*/ 25 w 157"/>
                <a:gd name="T11" fmla="*/ 0 h 245"/>
                <a:gd name="T12" fmla="*/ 4 w 157"/>
                <a:gd name="T13" fmla="*/ 0 h 245"/>
                <a:gd name="T14" fmla="*/ 0 w 157"/>
                <a:gd name="T15" fmla="*/ 3 h 245"/>
                <a:gd name="T16" fmla="*/ 1 w 157"/>
                <a:gd name="T17" fmla="*/ 6 h 245"/>
                <a:gd name="T18" fmla="*/ 1 w 157"/>
                <a:gd name="T19" fmla="*/ 6 h 245"/>
                <a:gd name="T20" fmla="*/ 1 w 157"/>
                <a:gd name="T21" fmla="*/ 6 h 245"/>
                <a:gd name="T22" fmla="*/ 64 w 157"/>
                <a:gd name="T23" fmla="*/ 168 h 245"/>
                <a:gd name="T24" fmla="*/ 59 w 157"/>
                <a:gd name="T25" fmla="*/ 182 h 245"/>
                <a:gd name="T26" fmla="*/ 48 w 157"/>
                <a:gd name="T27" fmla="*/ 205 h 245"/>
                <a:gd name="T28" fmla="*/ 38 w 157"/>
                <a:gd name="T29" fmla="*/ 215 h 245"/>
                <a:gd name="T30" fmla="*/ 30 w 157"/>
                <a:gd name="T31" fmla="*/ 217 h 245"/>
                <a:gd name="T32" fmla="*/ 26 w 157"/>
                <a:gd name="T33" fmla="*/ 216 h 245"/>
                <a:gd name="T34" fmla="*/ 14 w 157"/>
                <a:gd name="T35" fmla="*/ 213 h 245"/>
                <a:gd name="T36" fmla="*/ 7 w 157"/>
                <a:gd name="T37" fmla="*/ 210 h 245"/>
                <a:gd name="T38" fmla="*/ 3 w 157"/>
                <a:gd name="T39" fmla="*/ 215 h 245"/>
                <a:gd name="T40" fmla="*/ 3 w 157"/>
                <a:gd name="T41" fmla="*/ 233 h 245"/>
                <a:gd name="T42" fmla="*/ 3 w 157"/>
                <a:gd name="T43" fmla="*/ 233 h 245"/>
                <a:gd name="T44" fmla="*/ 7 w 157"/>
                <a:gd name="T45" fmla="*/ 240 h 245"/>
                <a:gd name="T46" fmla="*/ 32 w 157"/>
                <a:gd name="T47" fmla="*/ 245 h 245"/>
                <a:gd name="T48" fmla="*/ 54 w 157"/>
                <a:gd name="T49" fmla="*/ 238 h 245"/>
                <a:gd name="T50" fmla="*/ 73 w 157"/>
                <a:gd name="T51" fmla="*/ 220 h 245"/>
                <a:gd name="T52" fmla="*/ 79 w 157"/>
                <a:gd name="T53" fmla="*/ 208 h 245"/>
                <a:gd name="T54" fmla="*/ 156 w 157"/>
                <a:gd name="T55" fmla="*/ 6 h 245"/>
                <a:gd name="T56" fmla="*/ 157 w 157"/>
                <a:gd name="T57" fmla="*/ 3 h 245"/>
                <a:gd name="T58" fmla="*/ 153 w 157"/>
                <a:gd name="T59" fmla="*/ 0 h 245"/>
                <a:gd name="T60" fmla="*/ 132 w 157"/>
                <a:gd name="T6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7" h="245">
                  <a:moveTo>
                    <a:pt x="132" y="0"/>
                  </a:moveTo>
                  <a:cubicBezTo>
                    <a:pt x="129" y="0"/>
                    <a:pt x="128" y="1"/>
                    <a:pt x="127" y="3"/>
                  </a:cubicBezTo>
                  <a:cubicBezTo>
                    <a:pt x="127" y="3"/>
                    <a:pt x="127" y="3"/>
                    <a:pt x="127" y="3"/>
                  </a:cubicBezTo>
                  <a:cubicBezTo>
                    <a:pt x="79" y="128"/>
                    <a:pt x="79" y="128"/>
                    <a:pt x="79" y="128"/>
                  </a:cubicBezTo>
                  <a:cubicBezTo>
                    <a:pt x="30" y="4"/>
                    <a:pt x="30" y="4"/>
                    <a:pt x="30" y="4"/>
                  </a:cubicBezTo>
                  <a:cubicBezTo>
                    <a:pt x="29" y="1"/>
                    <a:pt x="28" y="0"/>
                    <a:pt x="25" y="0"/>
                  </a:cubicBezTo>
                  <a:cubicBezTo>
                    <a:pt x="4" y="0"/>
                    <a:pt x="4" y="0"/>
                    <a:pt x="4" y="0"/>
                  </a:cubicBezTo>
                  <a:cubicBezTo>
                    <a:pt x="2" y="0"/>
                    <a:pt x="0" y="1"/>
                    <a:pt x="0" y="3"/>
                  </a:cubicBezTo>
                  <a:cubicBezTo>
                    <a:pt x="0" y="4"/>
                    <a:pt x="1" y="5"/>
                    <a:pt x="1" y="6"/>
                  </a:cubicBezTo>
                  <a:cubicBezTo>
                    <a:pt x="1" y="6"/>
                    <a:pt x="1" y="6"/>
                    <a:pt x="1" y="6"/>
                  </a:cubicBezTo>
                  <a:cubicBezTo>
                    <a:pt x="1" y="6"/>
                    <a:pt x="1" y="6"/>
                    <a:pt x="1" y="6"/>
                  </a:cubicBezTo>
                  <a:cubicBezTo>
                    <a:pt x="64" y="168"/>
                    <a:pt x="64" y="168"/>
                    <a:pt x="64" y="168"/>
                  </a:cubicBezTo>
                  <a:cubicBezTo>
                    <a:pt x="59" y="182"/>
                    <a:pt x="59" y="182"/>
                    <a:pt x="59" y="182"/>
                  </a:cubicBezTo>
                  <a:cubicBezTo>
                    <a:pt x="57" y="187"/>
                    <a:pt x="53" y="199"/>
                    <a:pt x="48" y="205"/>
                  </a:cubicBezTo>
                  <a:cubicBezTo>
                    <a:pt x="44" y="211"/>
                    <a:pt x="42" y="213"/>
                    <a:pt x="38" y="215"/>
                  </a:cubicBezTo>
                  <a:cubicBezTo>
                    <a:pt x="35" y="216"/>
                    <a:pt x="33" y="217"/>
                    <a:pt x="30" y="217"/>
                  </a:cubicBezTo>
                  <a:cubicBezTo>
                    <a:pt x="28" y="217"/>
                    <a:pt x="27" y="217"/>
                    <a:pt x="26" y="216"/>
                  </a:cubicBezTo>
                  <a:cubicBezTo>
                    <a:pt x="22" y="216"/>
                    <a:pt x="18" y="214"/>
                    <a:pt x="14" y="213"/>
                  </a:cubicBezTo>
                  <a:cubicBezTo>
                    <a:pt x="11" y="212"/>
                    <a:pt x="9" y="210"/>
                    <a:pt x="7" y="210"/>
                  </a:cubicBezTo>
                  <a:cubicBezTo>
                    <a:pt x="5" y="210"/>
                    <a:pt x="3" y="212"/>
                    <a:pt x="3" y="215"/>
                  </a:cubicBezTo>
                  <a:cubicBezTo>
                    <a:pt x="3" y="233"/>
                    <a:pt x="3" y="233"/>
                    <a:pt x="3" y="233"/>
                  </a:cubicBezTo>
                  <a:cubicBezTo>
                    <a:pt x="3" y="233"/>
                    <a:pt x="3" y="233"/>
                    <a:pt x="3" y="233"/>
                  </a:cubicBezTo>
                  <a:cubicBezTo>
                    <a:pt x="3" y="236"/>
                    <a:pt x="4" y="238"/>
                    <a:pt x="7" y="240"/>
                  </a:cubicBezTo>
                  <a:cubicBezTo>
                    <a:pt x="15" y="243"/>
                    <a:pt x="21" y="245"/>
                    <a:pt x="32" y="245"/>
                  </a:cubicBezTo>
                  <a:cubicBezTo>
                    <a:pt x="41" y="244"/>
                    <a:pt x="47" y="242"/>
                    <a:pt x="54" y="238"/>
                  </a:cubicBezTo>
                  <a:cubicBezTo>
                    <a:pt x="61" y="233"/>
                    <a:pt x="67" y="227"/>
                    <a:pt x="73" y="220"/>
                  </a:cubicBezTo>
                  <a:cubicBezTo>
                    <a:pt x="75" y="216"/>
                    <a:pt x="77" y="212"/>
                    <a:pt x="79" y="208"/>
                  </a:cubicBezTo>
                  <a:cubicBezTo>
                    <a:pt x="83" y="200"/>
                    <a:pt x="144" y="40"/>
                    <a:pt x="156" y="6"/>
                  </a:cubicBezTo>
                  <a:cubicBezTo>
                    <a:pt x="157" y="5"/>
                    <a:pt x="157" y="4"/>
                    <a:pt x="157" y="3"/>
                  </a:cubicBezTo>
                  <a:cubicBezTo>
                    <a:pt x="157" y="1"/>
                    <a:pt x="155" y="0"/>
                    <a:pt x="153" y="0"/>
                  </a:cubicBezTo>
                  <a:lnTo>
                    <a:pt x="1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a:p>
          </p:txBody>
        </p:sp>
        <p:sp>
          <p:nvSpPr>
            <p:cNvPr id="24" name="Freeform 8">
              <a:extLst>
                <a:ext uri="{FF2B5EF4-FFF2-40B4-BE49-F238E27FC236}">
                  <a16:creationId xmlns:a16="http://schemas.microsoft.com/office/drawing/2014/main" id="{29E97861-81A0-48C0-8AEF-CACA7732ED6E}"/>
                </a:ext>
              </a:extLst>
            </p:cNvPr>
            <p:cNvSpPr>
              <a:spLocks/>
            </p:cNvSpPr>
            <p:nvPr/>
          </p:nvSpPr>
          <p:spPr bwMode="auto">
            <a:xfrm>
              <a:off x="3457" y="1726"/>
              <a:ext cx="263" cy="322"/>
            </a:xfrm>
            <a:custGeom>
              <a:avLst/>
              <a:gdLst>
                <a:gd name="T0" fmla="*/ 28 w 139"/>
                <a:gd name="T1" fmla="*/ 21 h 170"/>
                <a:gd name="T2" fmla="*/ 28 w 139"/>
                <a:gd name="T3" fmla="*/ 6 h 170"/>
                <a:gd name="T4" fmla="*/ 25 w 139"/>
                <a:gd name="T5" fmla="*/ 3 h 170"/>
                <a:gd name="T6" fmla="*/ 4 w 139"/>
                <a:gd name="T7" fmla="*/ 3 h 170"/>
                <a:gd name="T8" fmla="*/ 0 w 139"/>
                <a:gd name="T9" fmla="*/ 6 h 170"/>
                <a:gd name="T10" fmla="*/ 0 w 139"/>
                <a:gd name="T11" fmla="*/ 167 h 170"/>
                <a:gd name="T12" fmla="*/ 4 w 139"/>
                <a:gd name="T13" fmla="*/ 170 h 170"/>
                <a:gd name="T14" fmla="*/ 25 w 139"/>
                <a:gd name="T15" fmla="*/ 170 h 170"/>
                <a:gd name="T16" fmla="*/ 28 w 139"/>
                <a:gd name="T17" fmla="*/ 167 h 170"/>
                <a:gd name="T18" fmla="*/ 28 w 139"/>
                <a:gd name="T19" fmla="*/ 68 h 170"/>
                <a:gd name="T20" fmla="*/ 70 w 139"/>
                <a:gd name="T21" fmla="*/ 28 h 170"/>
                <a:gd name="T22" fmla="*/ 111 w 139"/>
                <a:gd name="T23" fmla="*/ 68 h 170"/>
                <a:gd name="T24" fmla="*/ 111 w 139"/>
                <a:gd name="T25" fmla="*/ 167 h 170"/>
                <a:gd name="T26" fmla="*/ 111 w 139"/>
                <a:gd name="T27" fmla="*/ 167 h 170"/>
                <a:gd name="T28" fmla="*/ 114 w 139"/>
                <a:gd name="T29" fmla="*/ 170 h 170"/>
                <a:gd name="T30" fmla="*/ 136 w 139"/>
                <a:gd name="T31" fmla="*/ 170 h 170"/>
                <a:gd name="T32" fmla="*/ 139 w 139"/>
                <a:gd name="T33" fmla="*/ 167 h 170"/>
                <a:gd name="T34" fmla="*/ 139 w 139"/>
                <a:gd name="T35" fmla="*/ 68 h 170"/>
                <a:gd name="T36" fmla="*/ 139 w 139"/>
                <a:gd name="T37" fmla="*/ 68 h 170"/>
                <a:gd name="T38" fmla="*/ 139 w 139"/>
                <a:gd name="T39" fmla="*/ 68 h 170"/>
                <a:gd name="T40" fmla="*/ 120 w 139"/>
                <a:gd name="T41" fmla="*/ 20 h 170"/>
                <a:gd name="T42" fmla="*/ 70 w 139"/>
                <a:gd name="T43" fmla="*/ 0 h 170"/>
                <a:gd name="T44" fmla="*/ 28 w 139"/>
                <a:gd name="T45" fmla="*/ 2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170">
                  <a:moveTo>
                    <a:pt x="28" y="21"/>
                  </a:moveTo>
                  <a:cubicBezTo>
                    <a:pt x="28" y="6"/>
                    <a:pt x="28" y="6"/>
                    <a:pt x="28" y="6"/>
                  </a:cubicBezTo>
                  <a:cubicBezTo>
                    <a:pt x="28" y="4"/>
                    <a:pt x="27" y="3"/>
                    <a:pt x="25" y="3"/>
                  </a:cubicBezTo>
                  <a:cubicBezTo>
                    <a:pt x="4" y="3"/>
                    <a:pt x="4" y="3"/>
                    <a:pt x="4" y="3"/>
                  </a:cubicBezTo>
                  <a:cubicBezTo>
                    <a:pt x="1" y="3"/>
                    <a:pt x="0" y="4"/>
                    <a:pt x="0" y="6"/>
                  </a:cubicBezTo>
                  <a:cubicBezTo>
                    <a:pt x="0" y="167"/>
                    <a:pt x="0" y="167"/>
                    <a:pt x="0" y="167"/>
                  </a:cubicBezTo>
                  <a:cubicBezTo>
                    <a:pt x="0" y="169"/>
                    <a:pt x="1" y="170"/>
                    <a:pt x="4" y="170"/>
                  </a:cubicBezTo>
                  <a:cubicBezTo>
                    <a:pt x="25" y="170"/>
                    <a:pt x="25" y="170"/>
                    <a:pt x="25" y="170"/>
                  </a:cubicBezTo>
                  <a:cubicBezTo>
                    <a:pt x="27" y="170"/>
                    <a:pt x="28" y="169"/>
                    <a:pt x="28" y="167"/>
                  </a:cubicBezTo>
                  <a:cubicBezTo>
                    <a:pt x="28" y="68"/>
                    <a:pt x="28" y="68"/>
                    <a:pt x="28" y="68"/>
                  </a:cubicBezTo>
                  <a:cubicBezTo>
                    <a:pt x="28" y="49"/>
                    <a:pt x="42" y="28"/>
                    <a:pt x="70" y="28"/>
                  </a:cubicBezTo>
                  <a:cubicBezTo>
                    <a:pt x="97" y="28"/>
                    <a:pt x="111" y="49"/>
                    <a:pt x="111" y="68"/>
                  </a:cubicBezTo>
                  <a:cubicBezTo>
                    <a:pt x="111" y="167"/>
                    <a:pt x="111" y="167"/>
                    <a:pt x="111" y="167"/>
                  </a:cubicBezTo>
                  <a:cubicBezTo>
                    <a:pt x="111" y="167"/>
                    <a:pt x="111" y="167"/>
                    <a:pt x="111" y="167"/>
                  </a:cubicBezTo>
                  <a:cubicBezTo>
                    <a:pt x="111" y="169"/>
                    <a:pt x="112" y="170"/>
                    <a:pt x="114" y="170"/>
                  </a:cubicBezTo>
                  <a:cubicBezTo>
                    <a:pt x="136" y="170"/>
                    <a:pt x="136" y="170"/>
                    <a:pt x="136" y="170"/>
                  </a:cubicBezTo>
                  <a:cubicBezTo>
                    <a:pt x="138" y="170"/>
                    <a:pt x="139" y="169"/>
                    <a:pt x="139" y="167"/>
                  </a:cubicBezTo>
                  <a:cubicBezTo>
                    <a:pt x="139" y="68"/>
                    <a:pt x="139" y="68"/>
                    <a:pt x="139" y="68"/>
                  </a:cubicBezTo>
                  <a:cubicBezTo>
                    <a:pt x="139" y="68"/>
                    <a:pt x="139" y="68"/>
                    <a:pt x="139" y="68"/>
                  </a:cubicBezTo>
                  <a:cubicBezTo>
                    <a:pt x="139" y="68"/>
                    <a:pt x="139" y="68"/>
                    <a:pt x="139" y="68"/>
                  </a:cubicBezTo>
                  <a:cubicBezTo>
                    <a:pt x="139" y="51"/>
                    <a:pt x="133" y="35"/>
                    <a:pt x="120" y="20"/>
                  </a:cubicBezTo>
                  <a:cubicBezTo>
                    <a:pt x="109" y="7"/>
                    <a:pt x="88" y="0"/>
                    <a:pt x="70" y="0"/>
                  </a:cubicBezTo>
                  <a:cubicBezTo>
                    <a:pt x="41" y="0"/>
                    <a:pt x="28" y="21"/>
                    <a:pt x="28"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a:p>
          </p:txBody>
        </p:sp>
        <p:sp>
          <p:nvSpPr>
            <p:cNvPr id="25" name="Freeform 9">
              <a:extLst>
                <a:ext uri="{FF2B5EF4-FFF2-40B4-BE49-F238E27FC236}">
                  <a16:creationId xmlns:a16="http://schemas.microsoft.com/office/drawing/2014/main" id="{0D779E3A-0123-49DB-8413-A23AC0E07A51}"/>
                </a:ext>
              </a:extLst>
            </p:cNvPr>
            <p:cNvSpPr>
              <a:spLocks/>
            </p:cNvSpPr>
            <p:nvPr/>
          </p:nvSpPr>
          <p:spPr bwMode="auto">
            <a:xfrm>
              <a:off x="2264" y="1724"/>
              <a:ext cx="246" cy="328"/>
            </a:xfrm>
            <a:custGeom>
              <a:avLst/>
              <a:gdLst>
                <a:gd name="T0" fmla="*/ 4 w 130"/>
                <a:gd name="T1" fmla="*/ 48 h 173"/>
                <a:gd name="T2" fmla="*/ 56 w 130"/>
                <a:gd name="T3" fmla="*/ 97 h 173"/>
                <a:gd name="T4" fmla="*/ 57 w 130"/>
                <a:gd name="T5" fmla="*/ 98 h 173"/>
                <a:gd name="T6" fmla="*/ 101 w 130"/>
                <a:gd name="T7" fmla="*/ 124 h 173"/>
                <a:gd name="T8" fmla="*/ 66 w 130"/>
                <a:gd name="T9" fmla="*/ 146 h 173"/>
                <a:gd name="T10" fmla="*/ 30 w 130"/>
                <a:gd name="T11" fmla="*/ 118 h 173"/>
                <a:gd name="T12" fmla="*/ 26 w 130"/>
                <a:gd name="T13" fmla="*/ 114 h 173"/>
                <a:gd name="T14" fmla="*/ 5 w 130"/>
                <a:gd name="T15" fmla="*/ 114 h 173"/>
                <a:gd name="T16" fmla="*/ 0 w 130"/>
                <a:gd name="T17" fmla="*/ 118 h 173"/>
                <a:gd name="T18" fmla="*/ 65 w 130"/>
                <a:gd name="T19" fmla="*/ 173 h 173"/>
                <a:gd name="T20" fmla="*/ 130 w 130"/>
                <a:gd name="T21" fmla="*/ 120 h 173"/>
                <a:gd name="T22" fmla="*/ 72 w 130"/>
                <a:gd name="T23" fmla="*/ 74 h 173"/>
                <a:gd name="T24" fmla="*/ 32 w 130"/>
                <a:gd name="T25" fmla="*/ 48 h 173"/>
                <a:gd name="T26" fmla="*/ 63 w 130"/>
                <a:gd name="T27" fmla="*/ 27 h 173"/>
                <a:gd name="T28" fmla="*/ 97 w 130"/>
                <a:gd name="T29" fmla="*/ 49 h 173"/>
                <a:gd name="T30" fmla="*/ 102 w 130"/>
                <a:gd name="T31" fmla="*/ 53 h 173"/>
                <a:gd name="T32" fmla="*/ 120 w 130"/>
                <a:gd name="T33" fmla="*/ 53 h 173"/>
                <a:gd name="T34" fmla="*/ 125 w 130"/>
                <a:gd name="T35" fmla="*/ 48 h 173"/>
                <a:gd name="T36" fmla="*/ 63 w 130"/>
                <a:gd name="T37" fmla="*/ 0 h 173"/>
                <a:gd name="T38" fmla="*/ 4 w 130"/>
                <a:gd name="T39" fmla="*/ 4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173">
                  <a:moveTo>
                    <a:pt x="4" y="48"/>
                  </a:moveTo>
                  <a:cubicBezTo>
                    <a:pt x="4" y="77"/>
                    <a:pt x="19" y="91"/>
                    <a:pt x="56" y="97"/>
                  </a:cubicBezTo>
                  <a:cubicBezTo>
                    <a:pt x="57" y="98"/>
                    <a:pt x="57" y="98"/>
                    <a:pt x="57" y="98"/>
                  </a:cubicBezTo>
                  <a:cubicBezTo>
                    <a:pt x="83" y="102"/>
                    <a:pt x="101" y="105"/>
                    <a:pt x="101" y="124"/>
                  </a:cubicBezTo>
                  <a:cubicBezTo>
                    <a:pt x="101" y="139"/>
                    <a:pt x="83" y="146"/>
                    <a:pt x="66" y="146"/>
                  </a:cubicBezTo>
                  <a:cubicBezTo>
                    <a:pt x="46" y="146"/>
                    <a:pt x="33" y="136"/>
                    <a:pt x="30" y="118"/>
                  </a:cubicBezTo>
                  <a:cubicBezTo>
                    <a:pt x="30" y="116"/>
                    <a:pt x="29" y="114"/>
                    <a:pt x="26" y="114"/>
                  </a:cubicBezTo>
                  <a:cubicBezTo>
                    <a:pt x="5" y="114"/>
                    <a:pt x="5" y="114"/>
                    <a:pt x="5" y="114"/>
                  </a:cubicBezTo>
                  <a:cubicBezTo>
                    <a:pt x="2" y="114"/>
                    <a:pt x="0" y="116"/>
                    <a:pt x="0" y="118"/>
                  </a:cubicBezTo>
                  <a:cubicBezTo>
                    <a:pt x="0" y="150"/>
                    <a:pt x="27" y="173"/>
                    <a:pt x="65" y="173"/>
                  </a:cubicBezTo>
                  <a:cubicBezTo>
                    <a:pt x="104" y="173"/>
                    <a:pt x="130" y="151"/>
                    <a:pt x="130" y="120"/>
                  </a:cubicBezTo>
                  <a:cubicBezTo>
                    <a:pt x="130" y="86"/>
                    <a:pt x="100" y="79"/>
                    <a:pt x="72" y="74"/>
                  </a:cubicBezTo>
                  <a:cubicBezTo>
                    <a:pt x="37" y="68"/>
                    <a:pt x="32" y="58"/>
                    <a:pt x="32" y="48"/>
                  </a:cubicBezTo>
                  <a:cubicBezTo>
                    <a:pt x="32" y="32"/>
                    <a:pt x="49" y="27"/>
                    <a:pt x="63" y="27"/>
                  </a:cubicBezTo>
                  <a:cubicBezTo>
                    <a:pt x="82" y="27"/>
                    <a:pt x="94" y="34"/>
                    <a:pt x="97" y="49"/>
                  </a:cubicBezTo>
                  <a:cubicBezTo>
                    <a:pt x="98" y="51"/>
                    <a:pt x="98" y="53"/>
                    <a:pt x="102" y="53"/>
                  </a:cubicBezTo>
                  <a:cubicBezTo>
                    <a:pt x="120" y="53"/>
                    <a:pt x="120" y="53"/>
                    <a:pt x="120" y="53"/>
                  </a:cubicBezTo>
                  <a:cubicBezTo>
                    <a:pt x="123" y="53"/>
                    <a:pt x="125" y="51"/>
                    <a:pt x="125" y="48"/>
                  </a:cubicBezTo>
                  <a:cubicBezTo>
                    <a:pt x="125" y="19"/>
                    <a:pt x="100" y="0"/>
                    <a:pt x="63" y="0"/>
                  </a:cubicBezTo>
                  <a:cubicBezTo>
                    <a:pt x="22" y="0"/>
                    <a:pt x="4" y="25"/>
                    <a:pt x="4" y="4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a:p>
          </p:txBody>
        </p:sp>
        <p:sp>
          <p:nvSpPr>
            <p:cNvPr id="26" name="Freeform 10">
              <a:extLst>
                <a:ext uri="{FF2B5EF4-FFF2-40B4-BE49-F238E27FC236}">
                  <a16:creationId xmlns:a16="http://schemas.microsoft.com/office/drawing/2014/main" id="{4F51EF93-B585-496B-B94C-E8BE3985236A}"/>
                </a:ext>
              </a:extLst>
            </p:cNvPr>
            <p:cNvSpPr>
              <a:spLocks/>
            </p:cNvSpPr>
            <p:nvPr/>
          </p:nvSpPr>
          <p:spPr bwMode="auto">
            <a:xfrm>
              <a:off x="3062" y="1722"/>
              <a:ext cx="312" cy="474"/>
            </a:xfrm>
            <a:custGeom>
              <a:avLst/>
              <a:gdLst>
                <a:gd name="T0" fmla="*/ 67 w 165"/>
                <a:gd name="T1" fmla="*/ 0 h 250"/>
                <a:gd name="T2" fmla="*/ 0 w 165"/>
                <a:gd name="T3" fmla="*/ 86 h 250"/>
                <a:gd name="T4" fmla="*/ 82 w 165"/>
                <a:gd name="T5" fmla="*/ 174 h 250"/>
                <a:gd name="T6" fmla="*/ 137 w 165"/>
                <a:gd name="T7" fmla="*/ 152 h 250"/>
                <a:gd name="T8" fmla="*/ 137 w 165"/>
                <a:gd name="T9" fmla="*/ 173 h 250"/>
                <a:gd name="T10" fmla="*/ 89 w 165"/>
                <a:gd name="T11" fmla="*/ 222 h 250"/>
                <a:gd name="T12" fmla="*/ 48 w 165"/>
                <a:gd name="T13" fmla="*/ 194 h 250"/>
                <a:gd name="T14" fmla="*/ 43 w 165"/>
                <a:gd name="T15" fmla="*/ 190 h 250"/>
                <a:gd name="T16" fmla="*/ 24 w 165"/>
                <a:gd name="T17" fmla="*/ 190 h 250"/>
                <a:gd name="T18" fmla="*/ 19 w 165"/>
                <a:gd name="T19" fmla="*/ 195 h 250"/>
                <a:gd name="T20" fmla="*/ 89 w 165"/>
                <a:gd name="T21" fmla="*/ 250 h 250"/>
                <a:gd name="T22" fmla="*/ 165 w 165"/>
                <a:gd name="T23" fmla="*/ 174 h 250"/>
                <a:gd name="T24" fmla="*/ 165 w 165"/>
                <a:gd name="T25" fmla="*/ 7 h 250"/>
                <a:gd name="T26" fmla="*/ 162 w 165"/>
                <a:gd name="T27" fmla="*/ 4 h 250"/>
                <a:gd name="T28" fmla="*/ 140 w 165"/>
                <a:gd name="T29" fmla="*/ 4 h 250"/>
                <a:gd name="T30" fmla="*/ 137 w 165"/>
                <a:gd name="T31" fmla="*/ 7 h 250"/>
                <a:gd name="T32" fmla="*/ 137 w 165"/>
                <a:gd name="T33" fmla="*/ 21 h 250"/>
                <a:gd name="T34" fmla="*/ 99 w 165"/>
                <a:gd name="T35" fmla="*/ 0 h 250"/>
                <a:gd name="T36" fmla="*/ 96 w 165"/>
                <a:gd name="T37" fmla="*/ 3 h 250"/>
                <a:gd name="T38" fmla="*/ 96 w 165"/>
                <a:gd name="T39" fmla="*/ 28 h 250"/>
                <a:gd name="T40" fmla="*/ 97 w 165"/>
                <a:gd name="T41" fmla="*/ 31 h 250"/>
                <a:gd name="T42" fmla="*/ 138 w 165"/>
                <a:gd name="T43" fmla="*/ 87 h 250"/>
                <a:gd name="T44" fmla="*/ 83 w 165"/>
                <a:gd name="T45" fmla="*/ 146 h 250"/>
                <a:gd name="T46" fmla="*/ 29 w 165"/>
                <a:gd name="T47" fmla="*/ 87 h 250"/>
                <a:gd name="T48" fmla="*/ 68 w 165"/>
                <a:gd name="T49" fmla="*/ 31 h 250"/>
                <a:gd name="T50" fmla="*/ 70 w 165"/>
                <a:gd name="T51" fmla="*/ 29 h 250"/>
                <a:gd name="T52" fmla="*/ 70 w 165"/>
                <a:gd name="T53" fmla="*/ 3 h 250"/>
                <a:gd name="T54" fmla="*/ 67 w 165"/>
                <a:gd name="T55" fmla="*/ 0 h 250"/>
                <a:gd name="T56" fmla="*/ 67 w 165"/>
                <a:gd name="T57"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5" h="250">
                  <a:moveTo>
                    <a:pt x="67" y="0"/>
                  </a:moveTo>
                  <a:cubicBezTo>
                    <a:pt x="29" y="8"/>
                    <a:pt x="0" y="44"/>
                    <a:pt x="0" y="86"/>
                  </a:cubicBezTo>
                  <a:cubicBezTo>
                    <a:pt x="0" y="135"/>
                    <a:pt x="37" y="174"/>
                    <a:pt x="82" y="174"/>
                  </a:cubicBezTo>
                  <a:cubicBezTo>
                    <a:pt x="103" y="174"/>
                    <a:pt x="122" y="166"/>
                    <a:pt x="137" y="152"/>
                  </a:cubicBezTo>
                  <a:cubicBezTo>
                    <a:pt x="137" y="173"/>
                    <a:pt x="137" y="173"/>
                    <a:pt x="137" y="173"/>
                  </a:cubicBezTo>
                  <a:cubicBezTo>
                    <a:pt x="137" y="205"/>
                    <a:pt x="120" y="222"/>
                    <a:pt x="89" y="222"/>
                  </a:cubicBezTo>
                  <a:cubicBezTo>
                    <a:pt x="66" y="222"/>
                    <a:pt x="52" y="213"/>
                    <a:pt x="48" y="194"/>
                  </a:cubicBezTo>
                  <a:cubicBezTo>
                    <a:pt x="47" y="192"/>
                    <a:pt x="46" y="190"/>
                    <a:pt x="43" y="190"/>
                  </a:cubicBezTo>
                  <a:cubicBezTo>
                    <a:pt x="24" y="190"/>
                    <a:pt x="24" y="190"/>
                    <a:pt x="24" y="190"/>
                  </a:cubicBezTo>
                  <a:cubicBezTo>
                    <a:pt x="21" y="190"/>
                    <a:pt x="19" y="192"/>
                    <a:pt x="19" y="195"/>
                  </a:cubicBezTo>
                  <a:cubicBezTo>
                    <a:pt x="22" y="228"/>
                    <a:pt x="51" y="250"/>
                    <a:pt x="89" y="250"/>
                  </a:cubicBezTo>
                  <a:cubicBezTo>
                    <a:pt x="135" y="250"/>
                    <a:pt x="165" y="219"/>
                    <a:pt x="165" y="174"/>
                  </a:cubicBezTo>
                  <a:cubicBezTo>
                    <a:pt x="165" y="7"/>
                    <a:pt x="165" y="7"/>
                    <a:pt x="165" y="7"/>
                  </a:cubicBezTo>
                  <a:cubicBezTo>
                    <a:pt x="165" y="5"/>
                    <a:pt x="164" y="4"/>
                    <a:pt x="162" y="4"/>
                  </a:cubicBezTo>
                  <a:cubicBezTo>
                    <a:pt x="140" y="4"/>
                    <a:pt x="140" y="4"/>
                    <a:pt x="140" y="4"/>
                  </a:cubicBezTo>
                  <a:cubicBezTo>
                    <a:pt x="138" y="4"/>
                    <a:pt x="137" y="5"/>
                    <a:pt x="137" y="7"/>
                  </a:cubicBezTo>
                  <a:cubicBezTo>
                    <a:pt x="137" y="21"/>
                    <a:pt x="137" y="21"/>
                    <a:pt x="137" y="21"/>
                  </a:cubicBezTo>
                  <a:cubicBezTo>
                    <a:pt x="126" y="11"/>
                    <a:pt x="113" y="4"/>
                    <a:pt x="99" y="0"/>
                  </a:cubicBezTo>
                  <a:cubicBezTo>
                    <a:pt x="97" y="0"/>
                    <a:pt x="96" y="1"/>
                    <a:pt x="96" y="3"/>
                  </a:cubicBezTo>
                  <a:cubicBezTo>
                    <a:pt x="96" y="28"/>
                    <a:pt x="96" y="28"/>
                    <a:pt x="96" y="28"/>
                  </a:cubicBezTo>
                  <a:cubicBezTo>
                    <a:pt x="96" y="29"/>
                    <a:pt x="96" y="30"/>
                    <a:pt x="97" y="31"/>
                  </a:cubicBezTo>
                  <a:cubicBezTo>
                    <a:pt x="121" y="37"/>
                    <a:pt x="138" y="60"/>
                    <a:pt x="138" y="87"/>
                  </a:cubicBezTo>
                  <a:cubicBezTo>
                    <a:pt x="138" y="119"/>
                    <a:pt x="114" y="146"/>
                    <a:pt x="83" y="146"/>
                  </a:cubicBezTo>
                  <a:cubicBezTo>
                    <a:pt x="53" y="146"/>
                    <a:pt x="29" y="119"/>
                    <a:pt x="29" y="87"/>
                  </a:cubicBezTo>
                  <a:cubicBezTo>
                    <a:pt x="29" y="61"/>
                    <a:pt x="45" y="38"/>
                    <a:pt x="68" y="31"/>
                  </a:cubicBezTo>
                  <a:cubicBezTo>
                    <a:pt x="69" y="31"/>
                    <a:pt x="70" y="30"/>
                    <a:pt x="70" y="29"/>
                  </a:cubicBezTo>
                  <a:cubicBezTo>
                    <a:pt x="70" y="3"/>
                    <a:pt x="70" y="3"/>
                    <a:pt x="70" y="3"/>
                  </a:cubicBezTo>
                  <a:cubicBezTo>
                    <a:pt x="70" y="1"/>
                    <a:pt x="69" y="0"/>
                    <a:pt x="67" y="0"/>
                  </a:cubicBezTo>
                  <a:cubicBezTo>
                    <a:pt x="67" y="0"/>
                    <a:pt x="67" y="0"/>
                    <a:pt x="6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a:p>
          </p:txBody>
        </p:sp>
        <p:sp>
          <p:nvSpPr>
            <p:cNvPr id="27" name="Oval 11">
              <a:extLst>
                <a:ext uri="{FF2B5EF4-FFF2-40B4-BE49-F238E27FC236}">
                  <a16:creationId xmlns:a16="http://schemas.microsoft.com/office/drawing/2014/main" id="{781972F2-AA1F-442F-B2D7-23EDE922FF06}"/>
                </a:ext>
              </a:extLst>
            </p:cNvPr>
            <p:cNvSpPr>
              <a:spLocks noChangeArrowheads="1"/>
            </p:cNvSpPr>
            <p:nvPr/>
          </p:nvSpPr>
          <p:spPr bwMode="auto">
            <a:xfrm>
              <a:off x="284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a:p>
          </p:txBody>
        </p:sp>
        <p:sp>
          <p:nvSpPr>
            <p:cNvPr id="28" name="Oval 12">
              <a:extLst>
                <a:ext uri="{FF2B5EF4-FFF2-40B4-BE49-F238E27FC236}">
                  <a16:creationId xmlns:a16="http://schemas.microsoft.com/office/drawing/2014/main" id="{BC311869-F154-41A1-AE1A-2BB4BC44553F}"/>
                </a:ext>
              </a:extLst>
            </p:cNvPr>
            <p:cNvSpPr>
              <a:spLocks noChangeArrowheads="1"/>
            </p:cNvSpPr>
            <p:nvPr/>
          </p:nvSpPr>
          <p:spPr bwMode="auto">
            <a:xfrm>
              <a:off x="387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a:p>
          </p:txBody>
        </p:sp>
        <p:sp>
          <p:nvSpPr>
            <p:cNvPr id="29" name="Freeform 13">
              <a:extLst>
                <a:ext uri="{FF2B5EF4-FFF2-40B4-BE49-F238E27FC236}">
                  <a16:creationId xmlns:a16="http://schemas.microsoft.com/office/drawing/2014/main" id="{90BD3BAD-FEE2-4A45-B755-58079972566E}"/>
                </a:ext>
              </a:extLst>
            </p:cNvPr>
            <p:cNvSpPr>
              <a:spLocks/>
            </p:cNvSpPr>
            <p:nvPr/>
          </p:nvSpPr>
          <p:spPr bwMode="auto">
            <a:xfrm>
              <a:off x="4062" y="1584"/>
              <a:ext cx="242" cy="462"/>
            </a:xfrm>
            <a:custGeom>
              <a:avLst/>
              <a:gdLst>
                <a:gd name="T0" fmla="*/ 39 w 128"/>
                <a:gd name="T1" fmla="*/ 55 h 244"/>
                <a:gd name="T2" fmla="*/ 39 w 128"/>
                <a:gd name="T3" fmla="*/ 76 h 244"/>
                <a:gd name="T4" fmla="*/ 4 w 128"/>
                <a:gd name="T5" fmla="*/ 76 h 244"/>
                <a:gd name="T6" fmla="*/ 0 w 128"/>
                <a:gd name="T7" fmla="*/ 81 h 244"/>
                <a:gd name="T8" fmla="*/ 0 w 128"/>
                <a:gd name="T9" fmla="*/ 99 h 244"/>
                <a:gd name="T10" fmla="*/ 4 w 128"/>
                <a:gd name="T11" fmla="*/ 103 h 244"/>
                <a:gd name="T12" fmla="*/ 39 w 128"/>
                <a:gd name="T13" fmla="*/ 103 h 244"/>
                <a:gd name="T14" fmla="*/ 39 w 128"/>
                <a:gd name="T15" fmla="*/ 239 h 244"/>
                <a:gd name="T16" fmla="*/ 44 w 128"/>
                <a:gd name="T17" fmla="*/ 244 h 244"/>
                <a:gd name="T18" fmla="*/ 62 w 128"/>
                <a:gd name="T19" fmla="*/ 244 h 244"/>
                <a:gd name="T20" fmla="*/ 67 w 128"/>
                <a:gd name="T21" fmla="*/ 239 h 244"/>
                <a:gd name="T22" fmla="*/ 67 w 128"/>
                <a:gd name="T23" fmla="*/ 103 h 244"/>
                <a:gd name="T24" fmla="*/ 120 w 128"/>
                <a:gd name="T25" fmla="*/ 103 h 244"/>
                <a:gd name="T26" fmla="*/ 125 w 128"/>
                <a:gd name="T27" fmla="*/ 99 h 244"/>
                <a:gd name="T28" fmla="*/ 125 w 128"/>
                <a:gd name="T29" fmla="*/ 81 h 244"/>
                <a:gd name="T30" fmla="*/ 120 w 128"/>
                <a:gd name="T31" fmla="*/ 76 h 244"/>
                <a:gd name="T32" fmla="*/ 67 w 128"/>
                <a:gd name="T33" fmla="*/ 76 h 244"/>
                <a:gd name="T34" fmla="*/ 67 w 128"/>
                <a:gd name="T35" fmla="*/ 55 h 244"/>
                <a:gd name="T36" fmla="*/ 91 w 128"/>
                <a:gd name="T37" fmla="*/ 27 h 244"/>
                <a:gd name="T38" fmla="*/ 122 w 128"/>
                <a:gd name="T39" fmla="*/ 37 h 244"/>
                <a:gd name="T40" fmla="*/ 125 w 128"/>
                <a:gd name="T41" fmla="*/ 38 h 244"/>
                <a:gd name="T42" fmla="*/ 128 w 128"/>
                <a:gd name="T43" fmla="*/ 33 h 244"/>
                <a:gd name="T44" fmla="*/ 128 w 128"/>
                <a:gd name="T45" fmla="*/ 16 h 244"/>
                <a:gd name="T46" fmla="*/ 125 w 128"/>
                <a:gd name="T47" fmla="*/ 9 h 244"/>
                <a:gd name="T48" fmla="*/ 89 w 128"/>
                <a:gd name="T49" fmla="*/ 0 h 244"/>
                <a:gd name="T50" fmla="*/ 39 w 128"/>
                <a:gd name="T51" fmla="*/ 5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244">
                  <a:moveTo>
                    <a:pt x="39" y="55"/>
                  </a:moveTo>
                  <a:cubicBezTo>
                    <a:pt x="39" y="76"/>
                    <a:pt x="39" y="76"/>
                    <a:pt x="39" y="76"/>
                  </a:cubicBezTo>
                  <a:cubicBezTo>
                    <a:pt x="4" y="76"/>
                    <a:pt x="4" y="76"/>
                    <a:pt x="4" y="76"/>
                  </a:cubicBezTo>
                  <a:cubicBezTo>
                    <a:pt x="1" y="76"/>
                    <a:pt x="0" y="78"/>
                    <a:pt x="0" y="81"/>
                  </a:cubicBezTo>
                  <a:cubicBezTo>
                    <a:pt x="0" y="99"/>
                    <a:pt x="0" y="99"/>
                    <a:pt x="0" y="99"/>
                  </a:cubicBezTo>
                  <a:cubicBezTo>
                    <a:pt x="0" y="102"/>
                    <a:pt x="1" y="103"/>
                    <a:pt x="4" y="103"/>
                  </a:cubicBezTo>
                  <a:cubicBezTo>
                    <a:pt x="39" y="103"/>
                    <a:pt x="39" y="103"/>
                    <a:pt x="39" y="103"/>
                  </a:cubicBezTo>
                  <a:cubicBezTo>
                    <a:pt x="39" y="239"/>
                    <a:pt x="39" y="239"/>
                    <a:pt x="39" y="239"/>
                  </a:cubicBezTo>
                  <a:cubicBezTo>
                    <a:pt x="39" y="242"/>
                    <a:pt x="41" y="244"/>
                    <a:pt x="44" y="244"/>
                  </a:cubicBezTo>
                  <a:cubicBezTo>
                    <a:pt x="62" y="244"/>
                    <a:pt x="62" y="244"/>
                    <a:pt x="62" y="244"/>
                  </a:cubicBezTo>
                  <a:cubicBezTo>
                    <a:pt x="65" y="244"/>
                    <a:pt x="67" y="242"/>
                    <a:pt x="67" y="239"/>
                  </a:cubicBezTo>
                  <a:cubicBezTo>
                    <a:pt x="67" y="103"/>
                    <a:pt x="67" y="103"/>
                    <a:pt x="67" y="103"/>
                  </a:cubicBezTo>
                  <a:cubicBezTo>
                    <a:pt x="120" y="103"/>
                    <a:pt x="120" y="103"/>
                    <a:pt x="120" y="103"/>
                  </a:cubicBezTo>
                  <a:cubicBezTo>
                    <a:pt x="123" y="103"/>
                    <a:pt x="125" y="102"/>
                    <a:pt x="125" y="99"/>
                  </a:cubicBezTo>
                  <a:cubicBezTo>
                    <a:pt x="125" y="81"/>
                    <a:pt x="125" y="81"/>
                    <a:pt x="125" y="81"/>
                  </a:cubicBezTo>
                  <a:cubicBezTo>
                    <a:pt x="125" y="78"/>
                    <a:pt x="123" y="76"/>
                    <a:pt x="120" y="76"/>
                  </a:cubicBezTo>
                  <a:cubicBezTo>
                    <a:pt x="67" y="76"/>
                    <a:pt x="67" y="76"/>
                    <a:pt x="67" y="76"/>
                  </a:cubicBezTo>
                  <a:cubicBezTo>
                    <a:pt x="67" y="55"/>
                    <a:pt x="67" y="55"/>
                    <a:pt x="67" y="55"/>
                  </a:cubicBezTo>
                  <a:cubicBezTo>
                    <a:pt x="67" y="38"/>
                    <a:pt x="76" y="27"/>
                    <a:pt x="91" y="27"/>
                  </a:cubicBezTo>
                  <a:cubicBezTo>
                    <a:pt x="102" y="27"/>
                    <a:pt x="110" y="30"/>
                    <a:pt x="122" y="37"/>
                  </a:cubicBezTo>
                  <a:cubicBezTo>
                    <a:pt x="123" y="38"/>
                    <a:pt x="124" y="38"/>
                    <a:pt x="125" y="38"/>
                  </a:cubicBezTo>
                  <a:cubicBezTo>
                    <a:pt x="127" y="38"/>
                    <a:pt x="128" y="36"/>
                    <a:pt x="128" y="33"/>
                  </a:cubicBezTo>
                  <a:cubicBezTo>
                    <a:pt x="128" y="16"/>
                    <a:pt x="128" y="16"/>
                    <a:pt x="128" y="16"/>
                  </a:cubicBezTo>
                  <a:cubicBezTo>
                    <a:pt x="128" y="13"/>
                    <a:pt x="128" y="11"/>
                    <a:pt x="125" y="9"/>
                  </a:cubicBezTo>
                  <a:cubicBezTo>
                    <a:pt x="114" y="3"/>
                    <a:pt x="103" y="0"/>
                    <a:pt x="89" y="0"/>
                  </a:cubicBezTo>
                  <a:cubicBezTo>
                    <a:pt x="54" y="0"/>
                    <a:pt x="39" y="29"/>
                    <a:pt x="39"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a:p>
          </p:txBody>
        </p:sp>
        <p:sp>
          <p:nvSpPr>
            <p:cNvPr id="30" name="Freeform 14">
              <a:extLst>
                <a:ext uri="{FF2B5EF4-FFF2-40B4-BE49-F238E27FC236}">
                  <a16:creationId xmlns:a16="http://schemas.microsoft.com/office/drawing/2014/main" id="{03B1CC70-8E47-4D3D-9382-CF481F7A985B}"/>
                </a:ext>
              </a:extLst>
            </p:cNvPr>
            <p:cNvSpPr>
              <a:spLocks/>
            </p:cNvSpPr>
            <p:nvPr/>
          </p:nvSpPr>
          <p:spPr bwMode="auto">
            <a:xfrm>
              <a:off x="2071" y="1578"/>
              <a:ext cx="632" cy="631"/>
            </a:xfrm>
            <a:custGeom>
              <a:avLst/>
              <a:gdLst>
                <a:gd name="T0" fmla="*/ 181 w 334"/>
                <a:gd name="T1" fmla="*/ 1 h 333"/>
                <a:gd name="T2" fmla="*/ 180 w 334"/>
                <a:gd name="T3" fmla="*/ 4 h 333"/>
                <a:gd name="T4" fmla="*/ 180 w 334"/>
                <a:gd name="T5" fmla="*/ 26 h 333"/>
                <a:gd name="T6" fmla="*/ 180 w 334"/>
                <a:gd name="T7" fmla="*/ 26 h 333"/>
                <a:gd name="T8" fmla="*/ 182 w 334"/>
                <a:gd name="T9" fmla="*/ 28 h 333"/>
                <a:gd name="T10" fmla="*/ 306 w 334"/>
                <a:gd name="T11" fmla="*/ 166 h 333"/>
                <a:gd name="T12" fmla="*/ 167 w 334"/>
                <a:gd name="T13" fmla="*/ 305 h 333"/>
                <a:gd name="T14" fmla="*/ 28 w 334"/>
                <a:gd name="T15" fmla="*/ 166 h 333"/>
                <a:gd name="T16" fmla="*/ 152 w 334"/>
                <a:gd name="T17" fmla="*/ 28 h 333"/>
                <a:gd name="T18" fmla="*/ 154 w 334"/>
                <a:gd name="T19" fmla="*/ 26 h 333"/>
                <a:gd name="T20" fmla="*/ 154 w 334"/>
                <a:gd name="T21" fmla="*/ 26 h 333"/>
                <a:gd name="T22" fmla="*/ 154 w 334"/>
                <a:gd name="T23" fmla="*/ 4 h 333"/>
                <a:gd name="T24" fmla="*/ 153 w 334"/>
                <a:gd name="T25" fmla="*/ 1 h 333"/>
                <a:gd name="T26" fmla="*/ 150 w 334"/>
                <a:gd name="T27" fmla="*/ 0 h 333"/>
                <a:gd name="T28" fmla="*/ 149 w 334"/>
                <a:gd name="T29" fmla="*/ 0 h 333"/>
                <a:gd name="T30" fmla="*/ 149 w 334"/>
                <a:gd name="T31" fmla="*/ 0 h 333"/>
                <a:gd name="T32" fmla="*/ 0 w 334"/>
                <a:gd name="T33" fmla="*/ 166 h 333"/>
                <a:gd name="T34" fmla="*/ 167 w 334"/>
                <a:gd name="T35" fmla="*/ 333 h 333"/>
                <a:gd name="T36" fmla="*/ 334 w 334"/>
                <a:gd name="T37" fmla="*/ 166 h 333"/>
                <a:gd name="T38" fmla="*/ 185 w 334"/>
                <a:gd name="T39" fmla="*/ 0 h 333"/>
                <a:gd name="T40" fmla="*/ 185 w 334"/>
                <a:gd name="T41" fmla="*/ 0 h 333"/>
                <a:gd name="T42" fmla="*/ 184 w 334"/>
                <a:gd name="T43" fmla="*/ 0 h 333"/>
                <a:gd name="T44" fmla="*/ 181 w 334"/>
                <a:gd name="T45" fmla="*/ 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4" h="333">
                  <a:moveTo>
                    <a:pt x="181" y="1"/>
                  </a:moveTo>
                  <a:cubicBezTo>
                    <a:pt x="180" y="2"/>
                    <a:pt x="180" y="3"/>
                    <a:pt x="180" y="4"/>
                  </a:cubicBezTo>
                  <a:cubicBezTo>
                    <a:pt x="180" y="26"/>
                    <a:pt x="180" y="26"/>
                    <a:pt x="180" y="26"/>
                  </a:cubicBezTo>
                  <a:cubicBezTo>
                    <a:pt x="180" y="26"/>
                    <a:pt x="180" y="26"/>
                    <a:pt x="180" y="26"/>
                  </a:cubicBezTo>
                  <a:cubicBezTo>
                    <a:pt x="180" y="27"/>
                    <a:pt x="181" y="28"/>
                    <a:pt x="182" y="28"/>
                  </a:cubicBezTo>
                  <a:cubicBezTo>
                    <a:pt x="251" y="35"/>
                    <a:pt x="306" y="94"/>
                    <a:pt x="306" y="166"/>
                  </a:cubicBezTo>
                  <a:cubicBezTo>
                    <a:pt x="306" y="243"/>
                    <a:pt x="244" y="305"/>
                    <a:pt x="167" y="305"/>
                  </a:cubicBezTo>
                  <a:cubicBezTo>
                    <a:pt x="90" y="305"/>
                    <a:pt x="28" y="243"/>
                    <a:pt x="28" y="166"/>
                  </a:cubicBezTo>
                  <a:cubicBezTo>
                    <a:pt x="28" y="94"/>
                    <a:pt x="82" y="35"/>
                    <a:pt x="152" y="28"/>
                  </a:cubicBezTo>
                  <a:cubicBezTo>
                    <a:pt x="153" y="28"/>
                    <a:pt x="154" y="27"/>
                    <a:pt x="154" y="26"/>
                  </a:cubicBezTo>
                  <a:cubicBezTo>
                    <a:pt x="154" y="26"/>
                    <a:pt x="154" y="26"/>
                    <a:pt x="154" y="26"/>
                  </a:cubicBezTo>
                  <a:cubicBezTo>
                    <a:pt x="154" y="4"/>
                    <a:pt x="154" y="4"/>
                    <a:pt x="154" y="4"/>
                  </a:cubicBezTo>
                  <a:cubicBezTo>
                    <a:pt x="154" y="3"/>
                    <a:pt x="154" y="2"/>
                    <a:pt x="153" y="1"/>
                  </a:cubicBezTo>
                  <a:cubicBezTo>
                    <a:pt x="152" y="0"/>
                    <a:pt x="151" y="0"/>
                    <a:pt x="150" y="0"/>
                  </a:cubicBezTo>
                  <a:cubicBezTo>
                    <a:pt x="149" y="0"/>
                    <a:pt x="149" y="0"/>
                    <a:pt x="149" y="0"/>
                  </a:cubicBezTo>
                  <a:cubicBezTo>
                    <a:pt x="149" y="0"/>
                    <a:pt x="149" y="0"/>
                    <a:pt x="149" y="0"/>
                  </a:cubicBezTo>
                  <a:cubicBezTo>
                    <a:pt x="65" y="9"/>
                    <a:pt x="0" y="80"/>
                    <a:pt x="0" y="166"/>
                  </a:cubicBezTo>
                  <a:cubicBezTo>
                    <a:pt x="0" y="258"/>
                    <a:pt x="75" y="333"/>
                    <a:pt x="167" y="333"/>
                  </a:cubicBezTo>
                  <a:cubicBezTo>
                    <a:pt x="259" y="333"/>
                    <a:pt x="334" y="258"/>
                    <a:pt x="334" y="166"/>
                  </a:cubicBezTo>
                  <a:cubicBezTo>
                    <a:pt x="334" y="80"/>
                    <a:pt x="269" y="9"/>
                    <a:pt x="185" y="0"/>
                  </a:cubicBezTo>
                  <a:cubicBezTo>
                    <a:pt x="185" y="0"/>
                    <a:pt x="185" y="0"/>
                    <a:pt x="185" y="0"/>
                  </a:cubicBezTo>
                  <a:cubicBezTo>
                    <a:pt x="185" y="0"/>
                    <a:pt x="184" y="0"/>
                    <a:pt x="184" y="0"/>
                  </a:cubicBezTo>
                  <a:cubicBezTo>
                    <a:pt x="183" y="0"/>
                    <a:pt x="182" y="0"/>
                    <a:pt x="18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a:p>
          </p:txBody>
        </p:sp>
      </p:grpSp>
    </p:spTree>
    <p:extLst>
      <p:ext uri="{BB962C8B-B14F-4D97-AF65-F5344CB8AC3E}">
        <p14:creationId xmlns:p14="http://schemas.microsoft.com/office/powerpoint/2010/main" val="29637947"/>
      </p:ext>
    </p:extLst>
  </p:cSld>
  <p:clrMapOvr>
    <a:masterClrMapping/>
  </p:clrMapOvr>
  <p:transition>
    <p:fade/>
  </p:transition>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1_Two Content Dark Lef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D86AC41-762B-4924-A899-F81343A12E1E}"/>
              </a:ext>
            </a:extLst>
          </p:cNvPr>
          <p:cNvSpPr/>
          <p:nvPr/>
        </p:nvSpPr>
        <p:spPr>
          <a:xfrm>
            <a:off x="906" y="-1"/>
            <a:ext cx="6096000" cy="6858000"/>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42"/>
          </a:p>
        </p:txBody>
      </p:sp>
      <p:sp>
        <p:nvSpPr>
          <p:cNvPr id="4" name="Content Placeholder 3"/>
          <p:cNvSpPr>
            <a:spLocks noGrp="1"/>
          </p:cNvSpPr>
          <p:nvPr>
            <p:ph sz="half" idx="2"/>
          </p:nvPr>
        </p:nvSpPr>
        <p:spPr>
          <a:xfrm>
            <a:off x="410878" y="1521183"/>
            <a:ext cx="5292112" cy="4494732"/>
          </a:xfrm>
        </p:spPr>
        <p:txBody>
          <a:bodyPr/>
          <a:lstStyle>
            <a:lvl1pPr>
              <a:defRPr>
                <a:solidFill>
                  <a:schemeClr val="bg1"/>
                </a:solidFill>
              </a:defRPr>
            </a:lvl1pPr>
            <a:lvl2pPr>
              <a:defRPr>
                <a:solidFill>
                  <a:schemeClr val="bg1"/>
                </a:solidFill>
              </a:defRPr>
            </a:lvl2pPr>
            <a:lvl3pPr>
              <a:defRPr>
                <a:solidFill>
                  <a:schemeClr val="accent3"/>
                </a:solidFill>
              </a:defRPr>
            </a:lvl3pPr>
            <a:lvl4pPr>
              <a:buClr>
                <a:schemeClr val="accent3"/>
              </a:buClr>
              <a:defRPr>
                <a:solidFill>
                  <a:schemeClr val="bg1"/>
                </a:solidFill>
              </a:defRPr>
            </a:lvl4pPr>
            <a:lvl5pPr>
              <a:buClr>
                <a:schemeClr val="accent3"/>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2"/>
          <p:cNvSpPr>
            <a:spLocks noGrp="1"/>
          </p:cNvSpPr>
          <p:nvPr>
            <p:ph sz="half" idx="1"/>
          </p:nvPr>
        </p:nvSpPr>
        <p:spPr>
          <a:xfrm>
            <a:off x="6487200" y="1521678"/>
            <a:ext cx="5292000" cy="44947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a:xfrm>
            <a:off x="920368" y="6332830"/>
            <a:ext cx="4784400" cy="273450"/>
          </a:xfrm>
          <a:prstGeom prst="rect">
            <a:avLst/>
          </a:prstGeom>
        </p:spPr>
        <p:txBody>
          <a:bodyPr/>
          <a:lstStyle>
            <a:lvl1pPr>
              <a:defRPr>
                <a:solidFill>
                  <a:schemeClr val="bg1"/>
                </a:solidFill>
              </a:defRPr>
            </a:lvl1pPr>
          </a:lstStyle>
          <a:p>
            <a:r>
              <a:rPr lang="en-GB"/>
              <a:t>Document Name</a:t>
            </a:r>
            <a:endParaRPr lang="en-US"/>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32B354EE-31EA-4FC2-9496-7B6202183237}" type="slidenum">
              <a:rPr lang="en-US" smtClean="0"/>
              <a:pPr/>
              <a:t>‹#›</a:t>
            </a:fld>
            <a:endParaRPr lang="en-US"/>
          </a:p>
        </p:txBody>
      </p:sp>
      <p:sp>
        <p:nvSpPr>
          <p:cNvPr id="8" name="Title 7">
            <a:extLst>
              <a:ext uri="{FF2B5EF4-FFF2-40B4-BE49-F238E27FC236}">
                <a16:creationId xmlns:a16="http://schemas.microsoft.com/office/drawing/2014/main" id="{FD930A9A-C0DD-4B8F-B286-D07D532A2ED0}"/>
              </a:ext>
            </a:extLst>
          </p:cNvPr>
          <p:cNvSpPr>
            <a:spLocks noGrp="1"/>
          </p:cNvSpPr>
          <p:nvPr>
            <p:ph type="title"/>
          </p:nvPr>
        </p:nvSpPr>
        <p:spPr>
          <a:xfrm>
            <a:off x="6487200" y="411163"/>
            <a:ext cx="5292000" cy="776038"/>
          </a:xfrm>
        </p:spPr>
        <p:txBody>
          <a:bodyPr/>
          <a:lstStyle/>
          <a:p>
            <a:r>
              <a:rPr lang="en-US"/>
              <a:t>Click to edit Master title style</a:t>
            </a:r>
            <a:endParaRPr lang="en-GB"/>
          </a:p>
        </p:txBody>
      </p:sp>
    </p:spTree>
    <p:extLst>
      <p:ext uri="{BB962C8B-B14F-4D97-AF65-F5344CB8AC3E}">
        <p14:creationId xmlns:p14="http://schemas.microsoft.com/office/powerpoint/2010/main" val="1395046871"/>
      </p:ext>
    </p:extLst>
  </p:cSld>
  <p:clrMapOvr>
    <a:masterClrMapping/>
  </p:clrMapOvr>
  <p:transition>
    <p:fade/>
  </p:transition>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p:cSld name="1_Closing Slide">
    <p:bg>
      <p:bgPr>
        <a:gradFill>
          <a:gsLst>
            <a:gs pos="50000">
              <a:srgbClr val="00E487"/>
            </a:gs>
            <a:gs pos="100000">
              <a:srgbClr val="1ECBD0"/>
            </a:gs>
          </a:gsLst>
          <a:lin ang="18900000" scaled="0"/>
        </a:gra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CFD4E276-C47D-4F97-8D9E-FECD172C9798}"/>
              </a:ext>
            </a:extLst>
          </p:cNvPr>
          <p:cNvGrpSpPr>
            <a:grpSpLocks noChangeAspect="1"/>
          </p:cNvGrpSpPr>
          <p:nvPr/>
        </p:nvGrpSpPr>
        <p:grpSpPr bwMode="auto">
          <a:xfrm>
            <a:off x="2835683" y="2634181"/>
            <a:ext cx="6520638" cy="1589645"/>
            <a:chOff x="2071" y="1578"/>
            <a:chExt cx="2587" cy="631"/>
          </a:xfrm>
          <a:solidFill>
            <a:schemeClr val="bg1"/>
          </a:solidFill>
        </p:grpSpPr>
        <p:sp>
          <p:nvSpPr>
            <p:cNvPr id="7" name="Freeform 5">
              <a:extLst>
                <a:ext uri="{FF2B5EF4-FFF2-40B4-BE49-F238E27FC236}">
                  <a16:creationId xmlns:a16="http://schemas.microsoft.com/office/drawing/2014/main" id="{F8587B0E-0CEF-4218-99CF-AE3634274F8F}"/>
                </a:ext>
              </a:extLst>
            </p:cNvPr>
            <p:cNvSpPr>
              <a:spLocks/>
            </p:cNvSpPr>
            <p:nvPr/>
          </p:nvSpPr>
          <p:spPr bwMode="auto">
            <a:xfrm>
              <a:off x="2765" y="1728"/>
              <a:ext cx="244" cy="318"/>
            </a:xfrm>
            <a:custGeom>
              <a:avLst/>
              <a:gdLst>
                <a:gd name="T0" fmla="*/ 12 w 129"/>
                <a:gd name="T1" fmla="*/ 0 h 168"/>
                <a:gd name="T2" fmla="*/ 8 w 129"/>
                <a:gd name="T3" fmla="*/ 4 h 168"/>
                <a:gd name="T4" fmla="*/ 8 w 129"/>
                <a:gd name="T5" fmla="*/ 25 h 168"/>
                <a:gd name="T6" fmla="*/ 12 w 129"/>
                <a:gd name="T7" fmla="*/ 29 h 168"/>
                <a:gd name="T8" fmla="*/ 48 w 129"/>
                <a:gd name="T9" fmla="*/ 29 h 168"/>
                <a:gd name="T10" fmla="*/ 48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2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2" y="0"/>
                  </a:moveTo>
                  <a:cubicBezTo>
                    <a:pt x="9" y="0"/>
                    <a:pt x="8" y="1"/>
                    <a:pt x="8" y="4"/>
                  </a:cubicBezTo>
                  <a:cubicBezTo>
                    <a:pt x="8" y="25"/>
                    <a:pt x="8" y="25"/>
                    <a:pt x="8" y="25"/>
                  </a:cubicBezTo>
                  <a:cubicBezTo>
                    <a:pt x="8" y="27"/>
                    <a:pt x="9" y="29"/>
                    <a:pt x="12" y="29"/>
                  </a:cubicBezTo>
                  <a:cubicBezTo>
                    <a:pt x="48" y="29"/>
                    <a:pt x="48" y="29"/>
                    <a:pt x="48" y="29"/>
                  </a:cubicBezTo>
                  <a:cubicBezTo>
                    <a:pt x="48" y="140"/>
                    <a:pt x="48" y="140"/>
                    <a:pt x="48"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8" y="140"/>
                    <a:pt x="125" y="140"/>
                  </a:cubicBezTo>
                  <a:cubicBezTo>
                    <a:pt x="76" y="140"/>
                    <a:pt x="76" y="140"/>
                    <a:pt x="76" y="140"/>
                  </a:cubicBezTo>
                  <a:cubicBezTo>
                    <a:pt x="76" y="4"/>
                    <a:pt x="76" y="4"/>
                    <a:pt x="76" y="4"/>
                  </a:cubicBezTo>
                  <a:cubicBezTo>
                    <a:pt x="76" y="1"/>
                    <a:pt x="75" y="0"/>
                    <a:pt x="72" y="0"/>
                  </a:cubicBezTo>
                  <a:lnTo>
                    <a:pt x="1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342"/>
            </a:p>
          </p:txBody>
        </p:sp>
        <p:sp>
          <p:nvSpPr>
            <p:cNvPr id="8" name="Freeform 6">
              <a:extLst>
                <a:ext uri="{FF2B5EF4-FFF2-40B4-BE49-F238E27FC236}">
                  <a16:creationId xmlns:a16="http://schemas.microsoft.com/office/drawing/2014/main" id="{E526A929-E098-4073-8B92-F18ED8E1D964}"/>
                </a:ext>
              </a:extLst>
            </p:cNvPr>
            <p:cNvSpPr>
              <a:spLocks/>
            </p:cNvSpPr>
            <p:nvPr/>
          </p:nvSpPr>
          <p:spPr bwMode="auto">
            <a:xfrm>
              <a:off x="3798" y="1728"/>
              <a:ext cx="244" cy="318"/>
            </a:xfrm>
            <a:custGeom>
              <a:avLst/>
              <a:gdLst>
                <a:gd name="T0" fmla="*/ 11 w 129"/>
                <a:gd name="T1" fmla="*/ 0 h 168"/>
                <a:gd name="T2" fmla="*/ 8 w 129"/>
                <a:gd name="T3" fmla="*/ 4 h 168"/>
                <a:gd name="T4" fmla="*/ 8 w 129"/>
                <a:gd name="T5" fmla="*/ 25 h 168"/>
                <a:gd name="T6" fmla="*/ 11 w 129"/>
                <a:gd name="T7" fmla="*/ 29 h 168"/>
                <a:gd name="T8" fmla="*/ 47 w 129"/>
                <a:gd name="T9" fmla="*/ 29 h 168"/>
                <a:gd name="T10" fmla="*/ 47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1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1" y="0"/>
                  </a:moveTo>
                  <a:cubicBezTo>
                    <a:pt x="9" y="0"/>
                    <a:pt x="8" y="1"/>
                    <a:pt x="8" y="4"/>
                  </a:cubicBezTo>
                  <a:cubicBezTo>
                    <a:pt x="8" y="25"/>
                    <a:pt x="8" y="25"/>
                    <a:pt x="8" y="25"/>
                  </a:cubicBezTo>
                  <a:cubicBezTo>
                    <a:pt x="8" y="27"/>
                    <a:pt x="9" y="29"/>
                    <a:pt x="11" y="29"/>
                  </a:cubicBezTo>
                  <a:cubicBezTo>
                    <a:pt x="47" y="29"/>
                    <a:pt x="47" y="29"/>
                    <a:pt x="47" y="29"/>
                  </a:cubicBezTo>
                  <a:cubicBezTo>
                    <a:pt x="47" y="140"/>
                    <a:pt x="47" y="140"/>
                    <a:pt x="47"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7" y="140"/>
                    <a:pt x="125" y="140"/>
                  </a:cubicBezTo>
                  <a:cubicBezTo>
                    <a:pt x="76" y="140"/>
                    <a:pt x="76" y="140"/>
                    <a:pt x="76" y="140"/>
                  </a:cubicBezTo>
                  <a:cubicBezTo>
                    <a:pt x="76" y="4"/>
                    <a:pt x="76" y="4"/>
                    <a:pt x="76" y="4"/>
                  </a:cubicBezTo>
                  <a:cubicBezTo>
                    <a:pt x="75" y="1"/>
                    <a:pt x="74" y="0"/>
                    <a:pt x="72" y="0"/>
                  </a:cubicBezTo>
                  <a:lnTo>
                    <a:pt x="1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342"/>
            </a:p>
          </p:txBody>
        </p:sp>
        <p:sp>
          <p:nvSpPr>
            <p:cNvPr id="9" name="Freeform 7">
              <a:extLst>
                <a:ext uri="{FF2B5EF4-FFF2-40B4-BE49-F238E27FC236}">
                  <a16:creationId xmlns:a16="http://schemas.microsoft.com/office/drawing/2014/main" id="{EDF465AE-39A5-4B73-8576-41C66C06AD43}"/>
                </a:ext>
              </a:extLst>
            </p:cNvPr>
            <p:cNvSpPr>
              <a:spLocks/>
            </p:cNvSpPr>
            <p:nvPr/>
          </p:nvSpPr>
          <p:spPr bwMode="auto">
            <a:xfrm>
              <a:off x="4361" y="1728"/>
              <a:ext cx="297" cy="464"/>
            </a:xfrm>
            <a:custGeom>
              <a:avLst/>
              <a:gdLst>
                <a:gd name="T0" fmla="*/ 132 w 157"/>
                <a:gd name="T1" fmla="*/ 0 h 245"/>
                <a:gd name="T2" fmla="*/ 127 w 157"/>
                <a:gd name="T3" fmla="*/ 3 h 245"/>
                <a:gd name="T4" fmla="*/ 127 w 157"/>
                <a:gd name="T5" fmla="*/ 3 h 245"/>
                <a:gd name="T6" fmla="*/ 79 w 157"/>
                <a:gd name="T7" fmla="*/ 128 h 245"/>
                <a:gd name="T8" fmla="*/ 30 w 157"/>
                <a:gd name="T9" fmla="*/ 4 h 245"/>
                <a:gd name="T10" fmla="*/ 25 w 157"/>
                <a:gd name="T11" fmla="*/ 0 h 245"/>
                <a:gd name="T12" fmla="*/ 4 w 157"/>
                <a:gd name="T13" fmla="*/ 0 h 245"/>
                <a:gd name="T14" fmla="*/ 0 w 157"/>
                <a:gd name="T15" fmla="*/ 3 h 245"/>
                <a:gd name="T16" fmla="*/ 1 w 157"/>
                <a:gd name="T17" fmla="*/ 6 h 245"/>
                <a:gd name="T18" fmla="*/ 1 w 157"/>
                <a:gd name="T19" fmla="*/ 6 h 245"/>
                <a:gd name="T20" fmla="*/ 1 w 157"/>
                <a:gd name="T21" fmla="*/ 6 h 245"/>
                <a:gd name="T22" fmla="*/ 64 w 157"/>
                <a:gd name="T23" fmla="*/ 168 h 245"/>
                <a:gd name="T24" fmla="*/ 59 w 157"/>
                <a:gd name="T25" fmla="*/ 182 h 245"/>
                <a:gd name="T26" fmla="*/ 48 w 157"/>
                <a:gd name="T27" fmla="*/ 205 h 245"/>
                <a:gd name="T28" fmla="*/ 38 w 157"/>
                <a:gd name="T29" fmla="*/ 215 h 245"/>
                <a:gd name="T30" fmla="*/ 30 w 157"/>
                <a:gd name="T31" fmla="*/ 217 h 245"/>
                <a:gd name="T32" fmla="*/ 26 w 157"/>
                <a:gd name="T33" fmla="*/ 216 h 245"/>
                <a:gd name="T34" fmla="*/ 14 w 157"/>
                <a:gd name="T35" fmla="*/ 213 h 245"/>
                <a:gd name="T36" fmla="*/ 7 w 157"/>
                <a:gd name="T37" fmla="*/ 210 h 245"/>
                <a:gd name="T38" fmla="*/ 3 w 157"/>
                <a:gd name="T39" fmla="*/ 215 h 245"/>
                <a:gd name="T40" fmla="*/ 3 w 157"/>
                <a:gd name="T41" fmla="*/ 233 h 245"/>
                <a:gd name="T42" fmla="*/ 3 w 157"/>
                <a:gd name="T43" fmla="*/ 233 h 245"/>
                <a:gd name="T44" fmla="*/ 7 w 157"/>
                <a:gd name="T45" fmla="*/ 240 h 245"/>
                <a:gd name="T46" fmla="*/ 32 w 157"/>
                <a:gd name="T47" fmla="*/ 245 h 245"/>
                <a:gd name="T48" fmla="*/ 54 w 157"/>
                <a:gd name="T49" fmla="*/ 238 h 245"/>
                <a:gd name="T50" fmla="*/ 73 w 157"/>
                <a:gd name="T51" fmla="*/ 220 h 245"/>
                <a:gd name="T52" fmla="*/ 79 w 157"/>
                <a:gd name="T53" fmla="*/ 208 h 245"/>
                <a:gd name="T54" fmla="*/ 156 w 157"/>
                <a:gd name="T55" fmla="*/ 6 h 245"/>
                <a:gd name="T56" fmla="*/ 157 w 157"/>
                <a:gd name="T57" fmla="*/ 3 h 245"/>
                <a:gd name="T58" fmla="*/ 153 w 157"/>
                <a:gd name="T59" fmla="*/ 0 h 245"/>
                <a:gd name="T60" fmla="*/ 132 w 157"/>
                <a:gd name="T6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7" h="245">
                  <a:moveTo>
                    <a:pt x="132" y="0"/>
                  </a:moveTo>
                  <a:cubicBezTo>
                    <a:pt x="129" y="0"/>
                    <a:pt x="128" y="1"/>
                    <a:pt x="127" y="3"/>
                  </a:cubicBezTo>
                  <a:cubicBezTo>
                    <a:pt x="127" y="3"/>
                    <a:pt x="127" y="3"/>
                    <a:pt x="127" y="3"/>
                  </a:cubicBezTo>
                  <a:cubicBezTo>
                    <a:pt x="79" y="128"/>
                    <a:pt x="79" y="128"/>
                    <a:pt x="79" y="128"/>
                  </a:cubicBezTo>
                  <a:cubicBezTo>
                    <a:pt x="30" y="4"/>
                    <a:pt x="30" y="4"/>
                    <a:pt x="30" y="4"/>
                  </a:cubicBezTo>
                  <a:cubicBezTo>
                    <a:pt x="29" y="1"/>
                    <a:pt x="28" y="0"/>
                    <a:pt x="25" y="0"/>
                  </a:cubicBezTo>
                  <a:cubicBezTo>
                    <a:pt x="4" y="0"/>
                    <a:pt x="4" y="0"/>
                    <a:pt x="4" y="0"/>
                  </a:cubicBezTo>
                  <a:cubicBezTo>
                    <a:pt x="2" y="0"/>
                    <a:pt x="0" y="1"/>
                    <a:pt x="0" y="3"/>
                  </a:cubicBezTo>
                  <a:cubicBezTo>
                    <a:pt x="0" y="4"/>
                    <a:pt x="1" y="5"/>
                    <a:pt x="1" y="6"/>
                  </a:cubicBezTo>
                  <a:cubicBezTo>
                    <a:pt x="1" y="6"/>
                    <a:pt x="1" y="6"/>
                    <a:pt x="1" y="6"/>
                  </a:cubicBezTo>
                  <a:cubicBezTo>
                    <a:pt x="1" y="6"/>
                    <a:pt x="1" y="6"/>
                    <a:pt x="1" y="6"/>
                  </a:cubicBezTo>
                  <a:cubicBezTo>
                    <a:pt x="64" y="168"/>
                    <a:pt x="64" y="168"/>
                    <a:pt x="64" y="168"/>
                  </a:cubicBezTo>
                  <a:cubicBezTo>
                    <a:pt x="59" y="182"/>
                    <a:pt x="59" y="182"/>
                    <a:pt x="59" y="182"/>
                  </a:cubicBezTo>
                  <a:cubicBezTo>
                    <a:pt x="57" y="187"/>
                    <a:pt x="53" y="199"/>
                    <a:pt x="48" y="205"/>
                  </a:cubicBezTo>
                  <a:cubicBezTo>
                    <a:pt x="44" y="211"/>
                    <a:pt x="42" y="213"/>
                    <a:pt x="38" y="215"/>
                  </a:cubicBezTo>
                  <a:cubicBezTo>
                    <a:pt x="35" y="216"/>
                    <a:pt x="33" y="217"/>
                    <a:pt x="30" y="217"/>
                  </a:cubicBezTo>
                  <a:cubicBezTo>
                    <a:pt x="28" y="217"/>
                    <a:pt x="27" y="217"/>
                    <a:pt x="26" y="216"/>
                  </a:cubicBezTo>
                  <a:cubicBezTo>
                    <a:pt x="22" y="216"/>
                    <a:pt x="18" y="214"/>
                    <a:pt x="14" y="213"/>
                  </a:cubicBezTo>
                  <a:cubicBezTo>
                    <a:pt x="11" y="212"/>
                    <a:pt x="9" y="210"/>
                    <a:pt x="7" y="210"/>
                  </a:cubicBezTo>
                  <a:cubicBezTo>
                    <a:pt x="5" y="210"/>
                    <a:pt x="3" y="212"/>
                    <a:pt x="3" y="215"/>
                  </a:cubicBezTo>
                  <a:cubicBezTo>
                    <a:pt x="3" y="233"/>
                    <a:pt x="3" y="233"/>
                    <a:pt x="3" y="233"/>
                  </a:cubicBezTo>
                  <a:cubicBezTo>
                    <a:pt x="3" y="233"/>
                    <a:pt x="3" y="233"/>
                    <a:pt x="3" y="233"/>
                  </a:cubicBezTo>
                  <a:cubicBezTo>
                    <a:pt x="3" y="236"/>
                    <a:pt x="4" y="238"/>
                    <a:pt x="7" y="240"/>
                  </a:cubicBezTo>
                  <a:cubicBezTo>
                    <a:pt x="15" y="243"/>
                    <a:pt x="21" y="245"/>
                    <a:pt x="32" y="245"/>
                  </a:cubicBezTo>
                  <a:cubicBezTo>
                    <a:pt x="41" y="244"/>
                    <a:pt x="47" y="242"/>
                    <a:pt x="54" y="238"/>
                  </a:cubicBezTo>
                  <a:cubicBezTo>
                    <a:pt x="61" y="233"/>
                    <a:pt x="67" y="227"/>
                    <a:pt x="73" y="220"/>
                  </a:cubicBezTo>
                  <a:cubicBezTo>
                    <a:pt x="75" y="216"/>
                    <a:pt x="77" y="212"/>
                    <a:pt x="79" y="208"/>
                  </a:cubicBezTo>
                  <a:cubicBezTo>
                    <a:pt x="83" y="200"/>
                    <a:pt x="144" y="40"/>
                    <a:pt x="156" y="6"/>
                  </a:cubicBezTo>
                  <a:cubicBezTo>
                    <a:pt x="157" y="5"/>
                    <a:pt x="157" y="4"/>
                    <a:pt x="157" y="3"/>
                  </a:cubicBezTo>
                  <a:cubicBezTo>
                    <a:pt x="157" y="1"/>
                    <a:pt x="155" y="0"/>
                    <a:pt x="153" y="0"/>
                  </a:cubicBezTo>
                  <a:lnTo>
                    <a:pt x="13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342"/>
            </a:p>
          </p:txBody>
        </p:sp>
        <p:sp>
          <p:nvSpPr>
            <p:cNvPr id="10" name="Freeform 8">
              <a:extLst>
                <a:ext uri="{FF2B5EF4-FFF2-40B4-BE49-F238E27FC236}">
                  <a16:creationId xmlns:a16="http://schemas.microsoft.com/office/drawing/2014/main" id="{FA4DA928-058C-40DF-A9B6-21272F81C671}"/>
                </a:ext>
              </a:extLst>
            </p:cNvPr>
            <p:cNvSpPr>
              <a:spLocks/>
            </p:cNvSpPr>
            <p:nvPr/>
          </p:nvSpPr>
          <p:spPr bwMode="auto">
            <a:xfrm>
              <a:off x="3457" y="1726"/>
              <a:ext cx="263" cy="322"/>
            </a:xfrm>
            <a:custGeom>
              <a:avLst/>
              <a:gdLst>
                <a:gd name="T0" fmla="*/ 28 w 139"/>
                <a:gd name="T1" fmla="*/ 21 h 170"/>
                <a:gd name="T2" fmla="*/ 28 w 139"/>
                <a:gd name="T3" fmla="*/ 6 h 170"/>
                <a:gd name="T4" fmla="*/ 25 w 139"/>
                <a:gd name="T5" fmla="*/ 3 h 170"/>
                <a:gd name="T6" fmla="*/ 4 w 139"/>
                <a:gd name="T7" fmla="*/ 3 h 170"/>
                <a:gd name="T8" fmla="*/ 0 w 139"/>
                <a:gd name="T9" fmla="*/ 6 h 170"/>
                <a:gd name="T10" fmla="*/ 0 w 139"/>
                <a:gd name="T11" fmla="*/ 167 h 170"/>
                <a:gd name="T12" fmla="*/ 4 w 139"/>
                <a:gd name="T13" fmla="*/ 170 h 170"/>
                <a:gd name="T14" fmla="*/ 25 w 139"/>
                <a:gd name="T15" fmla="*/ 170 h 170"/>
                <a:gd name="T16" fmla="*/ 28 w 139"/>
                <a:gd name="T17" fmla="*/ 167 h 170"/>
                <a:gd name="T18" fmla="*/ 28 w 139"/>
                <a:gd name="T19" fmla="*/ 68 h 170"/>
                <a:gd name="T20" fmla="*/ 70 w 139"/>
                <a:gd name="T21" fmla="*/ 28 h 170"/>
                <a:gd name="T22" fmla="*/ 111 w 139"/>
                <a:gd name="T23" fmla="*/ 68 h 170"/>
                <a:gd name="T24" fmla="*/ 111 w 139"/>
                <a:gd name="T25" fmla="*/ 167 h 170"/>
                <a:gd name="T26" fmla="*/ 111 w 139"/>
                <a:gd name="T27" fmla="*/ 167 h 170"/>
                <a:gd name="T28" fmla="*/ 114 w 139"/>
                <a:gd name="T29" fmla="*/ 170 h 170"/>
                <a:gd name="T30" fmla="*/ 136 w 139"/>
                <a:gd name="T31" fmla="*/ 170 h 170"/>
                <a:gd name="T32" fmla="*/ 139 w 139"/>
                <a:gd name="T33" fmla="*/ 167 h 170"/>
                <a:gd name="T34" fmla="*/ 139 w 139"/>
                <a:gd name="T35" fmla="*/ 68 h 170"/>
                <a:gd name="T36" fmla="*/ 139 w 139"/>
                <a:gd name="T37" fmla="*/ 68 h 170"/>
                <a:gd name="T38" fmla="*/ 139 w 139"/>
                <a:gd name="T39" fmla="*/ 68 h 170"/>
                <a:gd name="T40" fmla="*/ 120 w 139"/>
                <a:gd name="T41" fmla="*/ 20 h 170"/>
                <a:gd name="T42" fmla="*/ 70 w 139"/>
                <a:gd name="T43" fmla="*/ 0 h 170"/>
                <a:gd name="T44" fmla="*/ 28 w 139"/>
                <a:gd name="T45" fmla="*/ 2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170">
                  <a:moveTo>
                    <a:pt x="28" y="21"/>
                  </a:moveTo>
                  <a:cubicBezTo>
                    <a:pt x="28" y="6"/>
                    <a:pt x="28" y="6"/>
                    <a:pt x="28" y="6"/>
                  </a:cubicBezTo>
                  <a:cubicBezTo>
                    <a:pt x="28" y="4"/>
                    <a:pt x="27" y="3"/>
                    <a:pt x="25" y="3"/>
                  </a:cubicBezTo>
                  <a:cubicBezTo>
                    <a:pt x="4" y="3"/>
                    <a:pt x="4" y="3"/>
                    <a:pt x="4" y="3"/>
                  </a:cubicBezTo>
                  <a:cubicBezTo>
                    <a:pt x="1" y="3"/>
                    <a:pt x="0" y="4"/>
                    <a:pt x="0" y="6"/>
                  </a:cubicBezTo>
                  <a:cubicBezTo>
                    <a:pt x="0" y="167"/>
                    <a:pt x="0" y="167"/>
                    <a:pt x="0" y="167"/>
                  </a:cubicBezTo>
                  <a:cubicBezTo>
                    <a:pt x="0" y="169"/>
                    <a:pt x="1" y="170"/>
                    <a:pt x="4" y="170"/>
                  </a:cubicBezTo>
                  <a:cubicBezTo>
                    <a:pt x="25" y="170"/>
                    <a:pt x="25" y="170"/>
                    <a:pt x="25" y="170"/>
                  </a:cubicBezTo>
                  <a:cubicBezTo>
                    <a:pt x="27" y="170"/>
                    <a:pt x="28" y="169"/>
                    <a:pt x="28" y="167"/>
                  </a:cubicBezTo>
                  <a:cubicBezTo>
                    <a:pt x="28" y="68"/>
                    <a:pt x="28" y="68"/>
                    <a:pt x="28" y="68"/>
                  </a:cubicBezTo>
                  <a:cubicBezTo>
                    <a:pt x="28" y="49"/>
                    <a:pt x="42" y="28"/>
                    <a:pt x="70" y="28"/>
                  </a:cubicBezTo>
                  <a:cubicBezTo>
                    <a:pt x="97" y="28"/>
                    <a:pt x="111" y="49"/>
                    <a:pt x="111" y="68"/>
                  </a:cubicBezTo>
                  <a:cubicBezTo>
                    <a:pt x="111" y="167"/>
                    <a:pt x="111" y="167"/>
                    <a:pt x="111" y="167"/>
                  </a:cubicBezTo>
                  <a:cubicBezTo>
                    <a:pt x="111" y="167"/>
                    <a:pt x="111" y="167"/>
                    <a:pt x="111" y="167"/>
                  </a:cubicBezTo>
                  <a:cubicBezTo>
                    <a:pt x="111" y="169"/>
                    <a:pt x="112" y="170"/>
                    <a:pt x="114" y="170"/>
                  </a:cubicBezTo>
                  <a:cubicBezTo>
                    <a:pt x="136" y="170"/>
                    <a:pt x="136" y="170"/>
                    <a:pt x="136" y="170"/>
                  </a:cubicBezTo>
                  <a:cubicBezTo>
                    <a:pt x="138" y="170"/>
                    <a:pt x="139" y="169"/>
                    <a:pt x="139" y="167"/>
                  </a:cubicBezTo>
                  <a:cubicBezTo>
                    <a:pt x="139" y="68"/>
                    <a:pt x="139" y="68"/>
                    <a:pt x="139" y="68"/>
                  </a:cubicBezTo>
                  <a:cubicBezTo>
                    <a:pt x="139" y="68"/>
                    <a:pt x="139" y="68"/>
                    <a:pt x="139" y="68"/>
                  </a:cubicBezTo>
                  <a:cubicBezTo>
                    <a:pt x="139" y="68"/>
                    <a:pt x="139" y="68"/>
                    <a:pt x="139" y="68"/>
                  </a:cubicBezTo>
                  <a:cubicBezTo>
                    <a:pt x="139" y="51"/>
                    <a:pt x="133" y="35"/>
                    <a:pt x="120" y="20"/>
                  </a:cubicBezTo>
                  <a:cubicBezTo>
                    <a:pt x="109" y="7"/>
                    <a:pt x="88" y="0"/>
                    <a:pt x="70" y="0"/>
                  </a:cubicBezTo>
                  <a:cubicBezTo>
                    <a:pt x="41" y="0"/>
                    <a:pt x="28" y="21"/>
                    <a:pt x="28" y="2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342"/>
            </a:p>
          </p:txBody>
        </p:sp>
        <p:sp>
          <p:nvSpPr>
            <p:cNvPr id="11" name="Freeform 9">
              <a:extLst>
                <a:ext uri="{FF2B5EF4-FFF2-40B4-BE49-F238E27FC236}">
                  <a16:creationId xmlns:a16="http://schemas.microsoft.com/office/drawing/2014/main" id="{BDBE2736-4D16-47F2-8CC1-7353D5B149D2}"/>
                </a:ext>
              </a:extLst>
            </p:cNvPr>
            <p:cNvSpPr>
              <a:spLocks/>
            </p:cNvSpPr>
            <p:nvPr/>
          </p:nvSpPr>
          <p:spPr bwMode="auto">
            <a:xfrm>
              <a:off x="2264" y="1724"/>
              <a:ext cx="246" cy="328"/>
            </a:xfrm>
            <a:custGeom>
              <a:avLst/>
              <a:gdLst>
                <a:gd name="T0" fmla="*/ 4 w 130"/>
                <a:gd name="T1" fmla="*/ 48 h 173"/>
                <a:gd name="T2" fmla="*/ 56 w 130"/>
                <a:gd name="T3" fmla="*/ 97 h 173"/>
                <a:gd name="T4" fmla="*/ 57 w 130"/>
                <a:gd name="T5" fmla="*/ 98 h 173"/>
                <a:gd name="T6" fmla="*/ 101 w 130"/>
                <a:gd name="T7" fmla="*/ 124 h 173"/>
                <a:gd name="T8" fmla="*/ 66 w 130"/>
                <a:gd name="T9" fmla="*/ 146 h 173"/>
                <a:gd name="T10" fmla="*/ 30 w 130"/>
                <a:gd name="T11" fmla="*/ 118 h 173"/>
                <a:gd name="T12" fmla="*/ 26 w 130"/>
                <a:gd name="T13" fmla="*/ 114 h 173"/>
                <a:gd name="T14" fmla="*/ 5 w 130"/>
                <a:gd name="T15" fmla="*/ 114 h 173"/>
                <a:gd name="T16" fmla="*/ 0 w 130"/>
                <a:gd name="T17" fmla="*/ 118 h 173"/>
                <a:gd name="T18" fmla="*/ 65 w 130"/>
                <a:gd name="T19" fmla="*/ 173 h 173"/>
                <a:gd name="T20" fmla="*/ 130 w 130"/>
                <a:gd name="T21" fmla="*/ 120 h 173"/>
                <a:gd name="T22" fmla="*/ 72 w 130"/>
                <a:gd name="T23" fmla="*/ 74 h 173"/>
                <a:gd name="T24" fmla="*/ 32 w 130"/>
                <a:gd name="T25" fmla="*/ 48 h 173"/>
                <a:gd name="T26" fmla="*/ 63 w 130"/>
                <a:gd name="T27" fmla="*/ 27 h 173"/>
                <a:gd name="T28" fmla="*/ 97 w 130"/>
                <a:gd name="T29" fmla="*/ 49 h 173"/>
                <a:gd name="T30" fmla="*/ 102 w 130"/>
                <a:gd name="T31" fmla="*/ 53 h 173"/>
                <a:gd name="T32" fmla="*/ 120 w 130"/>
                <a:gd name="T33" fmla="*/ 53 h 173"/>
                <a:gd name="T34" fmla="*/ 125 w 130"/>
                <a:gd name="T35" fmla="*/ 48 h 173"/>
                <a:gd name="T36" fmla="*/ 63 w 130"/>
                <a:gd name="T37" fmla="*/ 0 h 173"/>
                <a:gd name="T38" fmla="*/ 4 w 130"/>
                <a:gd name="T39" fmla="*/ 4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173">
                  <a:moveTo>
                    <a:pt x="4" y="48"/>
                  </a:moveTo>
                  <a:cubicBezTo>
                    <a:pt x="4" y="77"/>
                    <a:pt x="19" y="91"/>
                    <a:pt x="56" y="97"/>
                  </a:cubicBezTo>
                  <a:cubicBezTo>
                    <a:pt x="57" y="98"/>
                    <a:pt x="57" y="98"/>
                    <a:pt x="57" y="98"/>
                  </a:cubicBezTo>
                  <a:cubicBezTo>
                    <a:pt x="83" y="102"/>
                    <a:pt x="101" y="105"/>
                    <a:pt x="101" y="124"/>
                  </a:cubicBezTo>
                  <a:cubicBezTo>
                    <a:pt x="101" y="139"/>
                    <a:pt x="83" y="146"/>
                    <a:pt x="66" y="146"/>
                  </a:cubicBezTo>
                  <a:cubicBezTo>
                    <a:pt x="46" y="146"/>
                    <a:pt x="33" y="136"/>
                    <a:pt x="30" y="118"/>
                  </a:cubicBezTo>
                  <a:cubicBezTo>
                    <a:pt x="30" y="116"/>
                    <a:pt x="29" y="114"/>
                    <a:pt x="26" y="114"/>
                  </a:cubicBezTo>
                  <a:cubicBezTo>
                    <a:pt x="5" y="114"/>
                    <a:pt x="5" y="114"/>
                    <a:pt x="5" y="114"/>
                  </a:cubicBezTo>
                  <a:cubicBezTo>
                    <a:pt x="2" y="114"/>
                    <a:pt x="0" y="116"/>
                    <a:pt x="0" y="118"/>
                  </a:cubicBezTo>
                  <a:cubicBezTo>
                    <a:pt x="0" y="150"/>
                    <a:pt x="27" y="173"/>
                    <a:pt x="65" y="173"/>
                  </a:cubicBezTo>
                  <a:cubicBezTo>
                    <a:pt x="104" y="173"/>
                    <a:pt x="130" y="151"/>
                    <a:pt x="130" y="120"/>
                  </a:cubicBezTo>
                  <a:cubicBezTo>
                    <a:pt x="130" y="86"/>
                    <a:pt x="100" y="79"/>
                    <a:pt x="72" y="74"/>
                  </a:cubicBezTo>
                  <a:cubicBezTo>
                    <a:pt x="37" y="68"/>
                    <a:pt x="32" y="58"/>
                    <a:pt x="32" y="48"/>
                  </a:cubicBezTo>
                  <a:cubicBezTo>
                    <a:pt x="32" y="32"/>
                    <a:pt x="49" y="27"/>
                    <a:pt x="63" y="27"/>
                  </a:cubicBezTo>
                  <a:cubicBezTo>
                    <a:pt x="82" y="27"/>
                    <a:pt x="94" y="34"/>
                    <a:pt x="97" y="49"/>
                  </a:cubicBezTo>
                  <a:cubicBezTo>
                    <a:pt x="98" y="51"/>
                    <a:pt x="98" y="53"/>
                    <a:pt x="102" y="53"/>
                  </a:cubicBezTo>
                  <a:cubicBezTo>
                    <a:pt x="120" y="53"/>
                    <a:pt x="120" y="53"/>
                    <a:pt x="120" y="53"/>
                  </a:cubicBezTo>
                  <a:cubicBezTo>
                    <a:pt x="123" y="53"/>
                    <a:pt x="125" y="51"/>
                    <a:pt x="125" y="48"/>
                  </a:cubicBezTo>
                  <a:cubicBezTo>
                    <a:pt x="125" y="19"/>
                    <a:pt x="100" y="0"/>
                    <a:pt x="63" y="0"/>
                  </a:cubicBezTo>
                  <a:cubicBezTo>
                    <a:pt x="22" y="0"/>
                    <a:pt x="4" y="25"/>
                    <a:pt x="4" y="4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342"/>
            </a:p>
          </p:txBody>
        </p:sp>
        <p:sp>
          <p:nvSpPr>
            <p:cNvPr id="12" name="Freeform 10">
              <a:extLst>
                <a:ext uri="{FF2B5EF4-FFF2-40B4-BE49-F238E27FC236}">
                  <a16:creationId xmlns:a16="http://schemas.microsoft.com/office/drawing/2014/main" id="{C990E525-4DF6-403E-9092-24C5DCE5B33A}"/>
                </a:ext>
              </a:extLst>
            </p:cNvPr>
            <p:cNvSpPr>
              <a:spLocks/>
            </p:cNvSpPr>
            <p:nvPr/>
          </p:nvSpPr>
          <p:spPr bwMode="auto">
            <a:xfrm>
              <a:off x="3062" y="1722"/>
              <a:ext cx="312" cy="474"/>
            </a:xfrm>
            <a:custGeom>
              <a:avLst/>
              <a:gdLst>
                <a:gd name="T0" fmla="*/ 67 w 165"/>
                <a:gd name="T1" fmla="*/ 0 h 250"/>
                <a:gd name="T2" fmla="*/ 0 w 165"/>
                <a:gd name="T3" fmla="*/ 86 h 250"/>
                <a:gd name="T4" fmla="*/ 82 w 165"/>
                <a:gd name="T5" fmla="*/ 174 h 250"/>
                <a:gd name="T6" fmla="*/ 137 w 165"/>
                <a:gd name="T7" fmla="*/ 152 h 250"/>
                <a:gd name="T8" fmla="*/ 137 w 165"/>
                <a:gd name="T9" fmla="*/ 173 h 250"/>
                <a:gd name="T10" fmla="*/ 89 w 165"/>
                <a:gd name="T11" fmla="*/ 222 h 250"/>
                <a:gd name="T12" fmla="*/ 48 w 165"/>
                <a:gd name="T13" fmla="*/ 194 h 250"/>
                <a:gd name="T14" fmla="*/ 43 w 165"/>
                <a:gd name="T15" fmla="*/ 190 h 250"/>
                <a:gd name="T16" fmla="*/ 24 w 165"/>
                <a:gd name="T17" fmla="*/ 190 h 250"/>
                <a:gd name="T18" fmla="*/ 19 w 165"/>
                <a:gd name="T19" fmla="*/ 195 h 250"/>
                <a:gd name="T20" fmla="*/ 89 w 165"/>
                <a:gd name="T21" fmla="*/ 250 h 250"/>
                <a:gd name="T22" fmla="*/ 165 w 165"/>
                <a:gd name="T23" fmla="*/ 174 h 250"/>
                <a:gd name="T24" fmla="*/ 165 w 165"/>
                <a:gd name="T25" fmla="*/ 7 h 250"/>
                <a:gd name="T26" fmla="*/ 162 w 165"/>
                <a:gd name="T27" fmla="*/ 4 h 250"/>
                <a:gd name="T28" fmla="*/ 140 w 165"/>
                <a:gd name="T29" fmla="*/ 4 h 250"/>
                <a:gd name="T30" fmla="*/ 137 w 165"/>
                <a:gd name="T31" fmla="*/ 7 h 250"/>
                <a:gd name="T32" fmla="*/ 137 w 165"/>
                <a:gd name="T33" fmla="*/ 21 h 250"/>
                <a:gd name="T34" fmla="*/ 99 w 165"/>
                <a:gd name="T35" fmla="*/ 0 h 250"/>
                <a:gd name="T36" fmla="*/ 96 w 165"/>
                <a:gd name="T37" fmla="*/ 3 h 250"/>
                <a:gd name="T38" fmla="*/ 96 w 165"/>
                <a:gd name="T39" fmla="*/ 28 h 250"/>
                <a:gd name="T40" fmla="*/ 97 w 165"/>
                <a:gd name="T41" fmla="*/ 31 h 250"/>
                <a:gd name="T42" fmla="*/ 138 w 165"/>
                <a:gd name="T43" fmla="*/ 87 h 250"/>
                <a:gd name="T44" fmla="*/ 83 w 165"/>
                <a:gd name="T45" fmla="*/ 146 h 250"/>
                <a:gd name="T46" fmla="*/ 29 w 165"/>
                <a:gd name="T47" fmla="*/ 87 h 250"/>
                <a:gd name="T48" fmla="*/ 68 w 165"/>
                <a:gd name="T49" fmla="*/ 31 h 250"/>
                <a:gd name="T50" fmla="*/ 70 w 165"/>
                <a:gd name="T51" fmla="*/ 29 h 250"/>
                <a:gd name="T52" fmla="*/ 70 w 165"/>
                <a:gd name="T53" fmla="*/ 3 h 250"/>
                <a:gd name="T54" fmla="*/ 67 w 165"/>
                <a:gd name="T55" fmla="*/ 0 h 250"/>
                <a:gd name="T56" fmla="*/ 67 w 165"/>
                <a:gd name="T57"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5" h="250">
                  <a:moveTo>
                    <a:pt x="67" y="0"/>
                  </a:moveTo>
                  <a:cubicBezTo>
                    <a:pt x="29" y="8"/>
                    <a:pt x="0" y="44"/>
                    <a:pt x="0" y="86"/>
                  </a:cubicBezTo>
                  <a:cubicBezTo>
                    <a:pt x="0" y="135"/>
                    <a:pt x="37" y="174"/>
                    <a:pt x="82" y="174"/>
                  </a:cubicBezTo>
                  <a:cubicBezTo>
                    <a:pt x="103" y="174"/>
                    <a:pt x="122" y="166"/>
                    <a:pt x="137" y="152"/>
                  </a:cubicBezTo>
                  <a:cubicBezTo>
                    <a:pt x="137" y="173"/>
                    <a:pt x="137" y="173"/>
                    <a:pt x="137" y="173"/>
                  </a:cubicBezTo>
                  <a:cubicBezTo>
                    <a:pt x="137" y="205"/>
                    <a:pt x="120" y="222"/>
                    <a:pt x="89" y="222"/>
                  </a:cubicBezTo>
                  <a:cubicBezTo>
                    <a:pt x="66" y="222"/>
                    <a:pt x="52" y="213"/>
                    <a:pt x="48" y="194"/>
                  </a:cubicBezTo>
                  <a:cubicBezTo>
                    <a:pt x="47" y="192"/>
                    <a:pt x="46" y="190"/>
                    <a:pt x="43" y="190"/>
                  </a:cubicBezTo>
                  <a:cubicBezTo>
                    <a:pt x="24" y="190"/>
                    <a:pt x="24" y="190"/>
                    <a:pt x="24" y="190"/>
                  </a:cubicBezTo>
                  <a:cubicBezTo>
                    <a:pt x="21" y="190"/>
                    <a:pt x="19" y="192"/>
                    <a:pt x="19" y="195"/>
                  </a:cubicBezTo>
                  <a:cubicBezTo>
                    <a:pt x="22" y="228"/>
                    <a:pt x="51" y="250"/>
                    <a:pt x="89" y="250"/>
                  </a:cubicBezTo>
                  <a:cubicBezTo>
                    <a:pt x="135" y="250"/>
                    <a:pt x="165" y="219"/>
                    <a:pt x="165" y="174"/>
                  </a:cubicBezTo>
                  <a:cubicBezTo>
                    <a:pt x="165" y="7"/>
                    <a:pt x="165" y="7"/>
                    <a:pt x="165" y="7"/>
                  </a:cubicBezTo>
                  <a:cubicBezTo>
                    <a:pt x="165" y="5"/>
                    <a:pt x="164" y="4"/>
                    <a:pt x="162" y="4"/>
                  </a:cubicBezTo>
                  <a:cubicBezTo>
                    <a:pt x="140" y="4"/>
                    <a:pt x="140" y="4"/>
                    <a:pt x="140" y="4"/>
                  </a:cubicBezTo>
                  <a:cubicBezTo>
                    <a:pt x="138" y="4"/>
                    <a:pt x="137" y="5"/>
                    <a:pt x="137" y="7"/>
                  </a:cubicBezTo>
                  <a:cubicBezTo>
                    <a:pt x="137" y="21"/>
                    <a:pt x="137" y="21"/>
                    <a:pt x="137" y="21"/>
                  </a:cubicBezTo>
                  <a:cubicBezTo>
                    <a:pt x="126" y="11"/>
                    <a:pt x="113" y="4"/>
                    <a:pt x="99" y="0"/>
                  </a:cubicBezTo>
                  <a:cubicBezTo>
                    <a:pt x="97" y="0"/>
                    <a:pt x="96" y="1"/>
                    <a:pt x="96" y="3"/>
                  </a:cubicBezTo>
                  <a:cubicBezTo>
                    <a:pt x="96" y="28"/>
                    <a:pt x="96" y="28"/>
                    <a:pt x="96" y="28"/>
                  </a:cubicBezTo>
                  <a:cubicBezTo>
                    <a:pt x="96" y="29"/>
                    <a:pt x="96" y="30"/>
                    <a:pt x="97" y="31"/>
                  </a:cubicBezTo>
                  <a:cubicBezTo>
                    <a:pt x="121" y="37"/>
                    <a:pt x="138" y="60"/>
                    <a:pt x="138" y="87"/>
                  </a:cubicBezTo>
                  <a:cubicBezTo>
                    <a:pt x="138" y="119"/>
                    <a:pt x="114" y="146"/>
                    <a:pt x="83" y="146"/>
                  </a:cubicBezTo>
                  <a:cubicBezTo>
                    <a:pt x="53" y="146"/>
                    <a:pt x="29" y="119"/>
                    <a:pt x="29" y="87"/>
                  </a:cubicBezTo>
                  <a:cubicBezTo>
                    <a:pt x="29" y="61"/>
                    <a:pt x="45" y="38"/>
                    <a:pt x="68" y="31"/>
                  </a:cubicBezTo>
                  <a:cubicBezTo>
                    <a:pt x="69" y="31"/>
                    <a:pt x="70" y="30"/>
                    <a:pt x="70" y="29"/>
                  </a:cubicBezTo>
                  <a:cubicBezTo>
                    <a:pt x="70" y="3"/>
                    <a:pt x="70" y="3"/>
                    <a:pt x="70" y="3"/>
                  </a:cubicBezTo>
                  <a:cubicBezTo>
                    <a:pt x="70" y="1"/>
                    <a:pt x="69" y="0"/>
                    <a:pt x="67" y="0"/>
                  </a:cubicBezTo>
                  <a:cubicBezTo>
                    <a:pt x="67" y="0"/>
                    <a:pt x="67" y="0"/>
                    <a:pt x="67"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342"/>
            </a:p>
          </p:txBody>
        </p:sp>
        <p:sp>
          <p:nvSpPr>
            <p:cNvPr id="13" name="Oval 12">
              <a:extLst>
                <a:ext uri="{FF2B5EF4-FFF2-40B4-BE49-F238E27FC236}">
                  <a16:creationId xmlns:a16="http://schemas.microsoft.com/office/drawing/2014/main" id="{1114B85E-E1BE-464E-8E28-ACA4300CA4C0}"/>
                </a:ext>
              </a:extLst>
            </p:cNvPr>
            <p:cNvSpPr>
              <a:spLocks noChangeArrowheads="1"/>
            </p:cNvSpPr>
            <p:nvPr/>
          </p:nvSpPr>
          <p:spPr bwMode="auto">
            <a:xfrm>
              <a:off x="2843" y="1589"/>
              <a:ext cx="87" cy="8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2342"/>
            </a:p>
          </p:txBody>
        </p:sp>
        <p:sp>
          <p:nvSpPr>
            <p:cNvPr id="14" name="Oval 13">
              <a:extLst>
                <a:ext uri="{FF2B5EF4-FFF2-40B4-BE49-F238E27FC236}">
                  <a16:creationId xmlns:a16="http://schemas.microsoft.com/office/drawing/2014/main" id="{5BA160C3-B4E4-4003-BFF3-28A6B0C1B0F9}"/>
                </a:ext>
              </a:extLst>
            </p:cNvPr>
            <p:cNvSpPr>
              <a:spLocks noChangeArrowheads="1"/>
            </p:cNvSpPr>
            <p:nvPr/>
          </p:nvSpPr>
          <p:spPr bwMode="auto">
            <a:xfrm>
              <a:off x="3873" y="1589"/>
              <a:ext cx="87" cy="8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sz="2342"/>
            </a:p>
          </p:txBody>
        </p:sp>
        <p:sp>
          <p:nvSpPr>
            <p:cNvPr id="15" name="Freeform 13">
              <a:extLst>
                <a:ext uri="{FF2B5EF4-FFF2-40B4-BE49-F238E27FC236}">
                  <a16:creationId xmlns:a16="http://schemas.microsoft.com/office/drawing/2014/main" id="{0F26E6D7-1351-4C95-A3E8-FF86354A3C85}"/>
                </a:ext>
              </a:extLst>
            </p:cNvPr>
            <p:cNvSpPr>
              <a:spLocks/>
            </p:cNvSpPr>
            <p:nvPr/>
          </p:nvSpPr>
          <p:spPr bwMode="auto">
            <a:xfrm>
              <a:off x="4062" y="1584"/>
              <a:ext cx="242" cy="462"/>
            </a:xfrm>
            <a:custGeom>
              <a:avLst/>
              <a:gdLst>
                <a:gd name="T0" fmla="*/ 39 w 128"/>
                <a:gd name="T1" fmla="*/ 55 h 244"/>
                <a:gd name="T2" fmla="*/ 39 w 128"/>
                <a:gd name="T3" fmla="*/ 76 h 244"/>
                <a:gd name="T4" fmla="*/ 4 w 128"/>
                <a:gd name="T5" fmla="*/ 76 h 244"/>
                <a:gd name="T6" fmla="*/ 0 w 128"/>
                <a:gd name="T7" fmla="*/ 81 h 244"/>
                <a:gd name="T8" fmla="*/ 0 w 128"/>
                <a:gd name="T9" fmla="*/ 99 h 244"/>
                <a:gd name="T10" fmla="*/ 4 w 128"/>
                <a:gd name="T11" fmla="*/ 103 h 244"/>
                <a:gd name="T12" fmla="*/ 39 w 128"/>
                <a:gd name="T13" fmla="*/ 103 h 244"/>
                <a:gd name="T14" fmla="*/ 39 w 128"/>
                <a:gd name="T15" fmla="*/ 239 h 244"/>
                <a:gd name="T16" fmla="*/ 44 w 128"/>
                <a:gd name="T17" fmla="*/ 244 h 244"/>
                <a:gd name="T18" fmla="*/ 62 w 128"/>
                <a:gd name="T19" fmla="*/ 244 h 244"/>
                <a:gd name="T20" fmla="*/ 67 w 128"/>
                <a:gd name="T21" fmla="*/ 239 h 244"/>
                <a:gd name="T22" fmla="*/ 67 w 128"/>
                <a:gd name="T23" fmla="*/ 103 h 244"/>
                <a:gd name="T24" fmla="*/ 120 w 128"/>
                <a:gd name="T25" fmla="*/ 103 h 244"/>
                <a:gd name="T26" fmla="*/ 125 w 128"/>
                <a:gd name="T27" fmla="*/ 99 h 244"/>
                <a:gd name="T28" fmla="*/ 125 w 128"/>
                <a:gd name="T29" fmla="*/ 81 h 244"/>
                <a:gd name="T30" fmla="*/ 120 w 128"/>
                <a:gd name="T31" fmla="*/ 76 h 244"/>
                <a:gd name="T32" fmla="*/ 67 w 128"/>
                <a:gd name="T33" fmla="*/ 76 h 244"/>
                <a:gd name="T34" fmla="*/ 67 w 128"/>
                <a:gd name="T35" fmla="*/ 55 h 244"/>
                <a:gd name="T36" fmla="*/ 91 w 128"/>
                <a:gd name="T37" fmla="*/ 27 h 244"/>
                <a:gd name="T38" fmla="*/ 122 w 128"/>
                <a:gd name="T39" fmla="*/ 37 h 244"/>
                <a:gd name="T40" fmla="*/ 125 w 128"/>
                <a:gd name="T41" fmla="*/ 38 h 244"/>
                <a:gd name="T42" fmla="*/ 128 w 128"/>
                <a:gd name="T43" fmla="*/ 33 h 244"/>
                <a:gd name="T44" fmla="*/ 128 w 128"/>
                <a:gd name="T45" fmla="*/ 16 h 244"/>
                <a:gd name="T46" fmla="*/ 125 w 128"/>
                <a:gd name="T47" fmla="*/ 9 h 244"/>
                <a:gd name="T48" fmla="*/ 89 w 128"/>
                <a:gd name="T49" fmla="*/ 0 h 244"/>
                <a:gd name="T50" fmla="*/ 39 w 128"/>
                <a:gd name="T51" fmla="*/ 5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244">
                  <a:moveTo>
                    <a:pt x="39" y="55"/>
                  </a:moveTo>
                  <a:cubicBezTo>
                    <a:pt x="39" y="76"/>
                    <a:pt x="39" y="76"/>
                    <a:pt x="39" y="76"/>
                  </a:cubicBezTo>
                  <a:cubicBezTo>
                    <a:pt x="4" y="76"/>
                    <a:pt x="4" y="76"/>
                    <a:pt x="4" y="76"/>
                  </a:cubicBezTo>
                  <a:cubicBezTo>
                    <a:pt x="1" y="76"/>
                    <a:pt x="0" y="78"/>
                    <a:pt x="0" y="81"/>
                  </a:cubicBezTo>
                  <a:cubicBezTo>
                    <a:pt x="0" y="99"/>
                    <a:pt x="0" y="99"/>
                    <a:pt x="0" y="99"/>
                  </a:cubicBezTo>
                  <a:cubicBezTo>
                    <a:pt x="0" y="102"/>
                    <a:pt x="1" y="103"/>
                    <a:pt x="4" y="103"/>
                  </a:cubicBezTo>
                  <a:cubicBezTo>
                    <a:pt x="39" y="103"/>
                    <a:pt x="39" y="103"/>
                    <a:pt x="39" y="103"/>
                  </a:cubicBezTo>
                  <a:cubicBezTo>
                    <a:pt x="39" y="239"/>
                    <a:pt x="39" y="239"/>
                    <a:pt x="39" y="239"/>
                  </a:cubicBezTo>
                  <a:cubicBezTo>
                    <a:pt x="39" y="242"/>
                    <a:pt x="41" y="244"/>
                    <a:pt x="44" y="244"/>
                  </a:cubicBezTo>
                  <a:cubicBezTo>
                    <a:pt x="62" y="244"/>
                    <a:pt x="62" y="244"/>
                    <a:pt x="62" y="244"/>
                  </a:cubicBezTo>
                  <a:cubicBezTo>
                    <a:pt x="65" y="244"/>
                    <a:pt x="67" y="242"/>
                    <a:pt x="67" y="239"/>
                  </a:cubicBezTo>
                  <a:cubicBezTo>
                    <a:pt x="67" y="103"/>
                    <a:pt x="67" y="103"/>
                    <a:pt x="67" y="103"/>
                  </a:cubicBezTo>
                  <a:cubicBezTo>
                    <a:pt x="120" y="103"/>
                    <a:pt x="120" y="103"/>
                    <a:pt x="120" y="103"/>
                  </a:cubicBezTo>
                  <a:cubicBezTo>
                    <a:pt x="123" y="103"/>
                    <a:pt x="125" y="102"/>
                    <a:pt x="125" y="99"/>
                  </a:cubicBezTo>
                  <a:cubicBezTo>
                    <a:pt x="125" y="81"/>
                    <a:pt x="125" y="81"/>
                    <a:pt x="125" y="81"/>
                  </a:cubicBezTo>
                  <a:cubicBezTo>
                    <a:pt x="125" y="78"/>
                    <a:pt x="123" y="76"/>
                    <a:pt x="120" y="76"/>
                  </a:cubicBezTo>
                  <a:cubicBezTo>
                    <a:pt x="67" y="76"/>
                    <a:pt x="67" y="76"/>
                    <a:pt x="67" y="76"/>
                  </a:cubicBezTo>
                  <a:cubicBezTo>
                    <a:pt x="67" y="55"/>
                    <a:pt x="67" y="55"/>
                    <a:pt x="67" y="55"/>
                  </a:cubicBezTo>
                  <a:cubicBezTo>
                    <a:pt x="67" y="38"/>
                    <a:pt x="76" y="27"/>
                    <a:pt x="91" y="27"/>
                  </a:cubicBezTo>
                  <a:cubicBezTo>
                    <a:pt x="102" y="27"/>
                    <a:pt x="110" y="30"/>
                    <a:pt x="122" y="37"/>
                  </a:cubicBezTo>
                  <a:cubicBezTo>
                    <a:pt x="123" y="38"/>
                    <a:pt x="124" y="38"/>
                    <a:pt x="125" y="38"/>
                  </a:cubicBezTo>
                  <a:cubicBezTo>
                    <a:pt x="127" y="38"/>
                    <a:pt x="128" y="36"/>
                    <a:pt x="128" y="33"/>
                  </a:cubicBezTo>
                  <a:cubicBezTo>
                    <a:pt x="128" y="16"/>
                    <a:pt x="128" y="16"/>
                    <a:pt x="128" y="16"/>
                  </a:cubicBezTo>
                  <a:cubicBezTo>
                    <a:pt x="128" y="13"/>
                    <a:pt x="128" y="11"/>
                    <a:pt x="125" y="9"/>
                  </a:cubicBezTo>
                  <a:cubicBezTo>
                    <a:pt x="114" y="3"/>
                    <a:pt x="103" y="0"/>
                    <a:pt x="89" y="0"/>
                  </a:cubicBezTo>
                  <a:cubicBezTo>
                    <a:pt x="54" y="0"/>
                    <a:pt x="39" y="29"/>
                    <a:pt x="39" y="5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342"/>
            </a:p>
          </p:txBody>
        </p:sp>
        <p:sp>
          <p:nvSpPr>
            <p:cNvPr id="16" name="Freeform 14">
              <a:extLst>
                <a:ext uri="{FF2B5EF4-FFF2-40B4-BE49-F238E27FC236}">
                  <a16:creationId xmlns:a16="http://schemas.microsoft.com/office/drawing/2014/main" id="{DA6E6734-7A5F-4A76-946D-520C7807BB30}"/>
                </a:ext>
              </a:extLst>
            </p:cNvPr>
            <p:cNvSpPr>
              <a:spLocks/>
            </p:cNvSpPr>
            <p:nvPr/>
          </p:nvSpPr>
          <p:spPr bwMode="auto">
            <a:xfrm>
              <a:off x="2071" y="1578"/>
              <a:ext cx="632" cy="631"/>
            </a:xfrm>
            <a:custGeom>
              <a:avLst/>
              <a:gdLst>
                <a:gd name="T0" fmla="*/ 181 w 334"/>
                <a:gd name="T1" fmla="*/ 1 h 333"/>
                <a:gd name="T2" fmla="*/ 180 w 334"/>
                <a:gd name="T3" fmla="*/ 4 h 333"/>
                <a:gd name="T4" fmla="*/ 180 w 334"/>
                <a:gd name="T5" fmla="*/ 26 h 333"/>
                <a:gd name="T6" fmla="*/ 180 w 334"/>
                <a:gd name="T7" fmla="*/ 26 h 333"/>
                <a:gd name="T8" fmla="*/ 182 w 334"/>
                <a:gd name="T9" fmla="*/ 28 h 333"/>
                <a:gd name="T10" fmla="*/ 306 w 334"/>
                <a:gd name="T11" fmla="*/ 166 h 333"/>
                <a:gd name="T12" fmla="*/ 167 w 334"/>
                <a:gd name="T13" fmla="*/ 305 h 333"/>
                <a:gd name="T14" fmla="*/ 28 w 334"/>
                <a:gd name="T15" fmla="*/ 166 h 333"/>
                <a:gd name="T16" fmla="*/ 152 w 334"/>
                <a:gd name="T17" fmla="*/ 28 h 333"/>
                <a:gd name="T18" fmla="*/ 154 w 334"/>
                <a:gd name="T19" fmla="*/ 26 h 333"/>
                <a:gd name="T20" fmla="*/ 154 w 334"/>
                <a:gd name="T21" fmla="*/ 26 h 333"/>
                <a:gd name="T22" fmla="*/ 154 w 334"/>
                <a:gd name="T23" fmla="*/ 4 h 333"/>
                <a:gd name="T24" fmla="*/ 153 w 334"/>
                <a:gd name="T25" fmla="*/ 1 h 333"/>
                <a:gd name="T26" fmla="*/ 150 w 334"/>
                <a:gd name="T27" fmla="*/ 0 h 333"/>
                <a:gd name="T28" fmla="*/ 149 w 334"/>
                <a:gd name="T29" fmla="*/ 0 h 333"/>
                <a:gd name="T30" fmla="*/ 149 w 334"/>
                <a:gd name="T31" fmla="*/ 0 h 333"/>
                <a:gd name="T32" fmla="*/ 0 w 334"/>
                <a:gd name="T33" fmla="*/ 166 h 333"/>
                <a:gd name="T34" fmla="*/ 167 w 334"/>
                <a:gd name="T35" fmla="*/ 333 h 333"/>
                <a:gd name="T36" fmla="*/ 334 w 334"/>
                <a:gd name="T37" fmla="*/ 166 h 333"/>
                <a:gd name="T38" fmla="*/ 185 w 334"/>
                <a:gd name="T39" fmla="*/ 0 h 333"/>
                <a:gd name="T40" fmla="*/ 185 w 334"/>
                <a:gd name="T41" fmla="*/ 0 h 333"/>
                <a:gd name="T42" fmla="*/ 184 w 334"/>
                <a:gd name="T43" fmla="*/ 0 h 333"/>
                <a:gd name="T44" fmla="*/ 181 w 334"/>
                <a:gd name="T45" fmla="*/ 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4" h="333">
                  <a:moveTo>
                    <a:pt x="181" y="1"/>
                  </a:moveTo>
                  <a:cubicBezTo>
                    <a:pt x="180" y="2"/>
                    <a:pt x="180" y="3"/>
                    <a:pt x="180" y="4"/>
                  </a:cubicBezTo>
                  <a:cubicBezTo>
                    <a:pt x="180" y="26"/>
                    <a:pt x="180" y="26"/>
                    <a:pt x="180" y="26"/>
                  </a:cubicBezTo>
                  <a:cubicBezTo>
                    <a:pt x="180" y="26"/>
                    <a:pt x="180" y="26"/>
                    <a:pt x="180" y="26"/>
                  </a:cubicBezTo>
                  <a:cubicBezTo>
                    <a:pt x="180" y="27"/>
                    <a:pt x="181" y="28"/>
                    <a:pt x="182" y="28"/>
                  </a:cubicBezTo>
                  <a:cubicBezTo>
                    <a:pt x="251" y="35"/>
                    <a:pt x="306" y="94"/>
                    <a:pt x="306" y="166"/>
                  </a:cubicBezTo>
                  <a:cubicBezTo>
                    <a:pt x="306" y="243"/>
                    <a:pt x="244" y="305"/>
                    <a:pt x="167" y="305"/>
                  </a:cubicBezTo>
                  <a:cubicBezTo>
                    <a:pt x="90" y="305"/>
                    <a:pt x="28" y="243"/>
                    <a:pt x="28" y="166"/>
                  </a:cubicBezTo>
                  <a:cubicBezTo>
                    <a:pt x="28" y="94"/>
                    <a:pt x="82" y="35"/>
                    <a:pt x="152" y="28"/>
                  </a:cubicBezTo>
                  <a:cubicBezTo>
                    <a:pt x="153" y="28"/>
                    <a:pt x="154" y="27"/>
                    <a:pt x="154" y="26"/>
                  </a:cubicBezTo>
                  <a:cubicBezTo>
                    <a:pt x="154" y="26"/>
                    <a:pt x="154" y="26"/>
                    <a:pt x="154" y="26"/>
                  </a:cubicBezTo>
                  <a:cubicBezTo>
                    <a:pt x="154" y="4"/>
                    <a:pt x="154" y="4"/>
                    <a:pt x="154" y="4"/>
                  </a:cubicBezTo>
                  <a:cubicBezTo>
                    <a:pt x="154" y="3"/>
                    <a:pt x="154" y="2"/>
                    <a:pt x="153" y="1"/>
                  </a:cubicBezTo>
                  <a:cubicBezTo>
                    <a:pt x="152" y="0"/>
                    <a:pt x="151" y="0"/>
                    <a:pt x="150" y="0"/>
                  </a:cubicBezTo>
                  <a:cubicBezTo>
                    <a:pt x="149" y="0"/>
                    <a:pt x="149" y="0"/>
                    <a:pt x="149" y="0"/>
                  </a:cubicBezTo>
                  <a:cubicBezTo>
                    <a:pt x="149" y="0"/>
                    <a:pt x="149" y="0"/>
                    <a:pt x="149" y="0"/>
                  </a:cubicBezTo>
                  <a:cubicBezTo>
                    <a:pt x="65" y="9"/>
                    <a:pt x="0" y="80"/>
                    <a:pt x="0" y="166"/>
                  </a:cubicBezTo>
                  <a:cubicBezTo>
                    <a:pt x="0" y="258"/>
                    <a:pt x="75" y="333"/>
                    <a:pt x="167" y="333"/>
                  </a:cubicBezTo>
                  <a:cubicBezTo>
                    <a:pt x="259" y="333"/>
                    <a:pt x="334" y="258"/>
                    <a:pt x="334" y="166"/>
                  </a:cubicBezTo>
                  <a:cubicBezTo>
                    <a:pt x="334" y="80"/>
                    <a:pt x="269" y="9"/>
                    <a:pt x="185" y="0"/>
                  </a:cubicBezTo>
                  <a:cubicBezTo>
                    <a:pt x="185" y="0"/>
                    <a:pt x="185" y="0"/>
                    <a:pt x="185" y="0"/>
                  </a:cubicBezTo>
                  <a:cubicBezTo>
                    <a:pt x="185" y="0"/>
                    <a:pt x="184" y="0"/>
                    <a:pt x="184" y="0"/>
                  </a:cubicBezTo>
                  <a:cubicBezTo>
                    <a:pt x="183" y="0"/>
                    <a:pt x="182" y="0"/>
                    <a:pt x="181" y="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2342"/>
            </a:p>
          </p:txBody>
        </p:sp>
      </p:grpSp>
    </p:spTree>
    <p:extLst>
      <p:ext uri="{BB962C8B-B14F-4D97-AF65-F5344CB8AC3E}">
        <p14:creationId xmlns:p14="http://schemas.microsoft.com/office/powerpoint/2010/main" val="98034261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2_Title and Content Dark">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10878" y="512498"/>
            <a:ext cx="11368018" cy="776038"/>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a:xfrm>
            <a:off x="410880" y="1521182"/>
            <a:ext cx="6178854" cy="4517348"/>
          </a:xfrm>
        </p:spPr>
        <p:txBody>
          <a:bodyPr/>
          <a:lstStyle>
            <a:lvl1pPr>
              <a:defRPr sz="1800">
                <a:solidFill>
                  <a:schemeClr val="bg1"/>
                </a:solidFill>
              </a:defRPr>
            </a:lvl1pPr>
            <a:lvl2pPr>
              <a:defRPr sz="1800">
                <a:solidFill>
                  <a:schemeClr val="bg1"/>
                </a:solidFill>
              </a:defRPr>
            </a:lvl2pPr>
            <a:lvl3pPr>
              <a:defRPr sz="1800">
                <a:solidFill>
                  <a:schemeClr val="accent3"/>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920368" y="6332830"/>
            <a:ext cx="4784400" cy="273450"/>
          </a:xfrm>
          <a:prstGeom prst="rect">
            <a:avLst/>
          </a:prstGeom>
        </p:spPr>
        <p:txBody>
          <a:bodyPr/>
          <a:lstStyle>
            <a:lvl1pPr>
              <a:defRPr>
                <a:solidFill>
                  <a:schemeClr val="bg1"/>
                </a:solidFill>
              </a:defRPr>
            </a:lvl1pPr>
          </a:lstStyle>
          <a:p>
            <a:r>
              <a:rPr lang="en-US"/>
              <a:t>Thought Leadership &amp; UV-C activation</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32B354EE-31EA-4FC2-9496-7B6202183237}" type="slidenum">
              <a:rPr lang="en-US" smtClean="0"/>
              <a:pPr/>
              <a:t>‹#›</a:t>
            </a:fld>
            <a:endParaRPr lang="en-US"/>
          </a:p>
        </p:txBody>
      </p:sp>
    </p:spTree>
    <p:extLst>
      <p:ext uri="{BB962C8B-B14F-4D97-AF65-F5344CB8AC3E}">
        <p14:creationId xmlns:p14="http://schemas.microsoft.com/office/powerpoint/2010/main" val="2598023190"/>
      </p:ext>
    </p:extLst>
  </p:cSld>
  <p:clrMapOvr>
    <a:masterClrMapping/>
  </p:clrMapOvr>
  <p:transition>
    <p:fade/>
  </p:transition>
  <p:extLst>
    <p:ext uri="{DCECCB84-F9BA-43D5-87BE-67443E8EF086}">
      <p15:sldGuideLst xmlns:p15="http://schemas.microsoft.com/office/powerpoint/2012/main">
        <p15:guide id="1" pos="4151">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10878" y="512498"/>
            <a:ext cx="11368018" cy="776038"/>
          </a:xfrm>
        </p:spPr>
        <p:txBody>
          <a:bodyPr/>
          <a:lstStyle/>
          <a:p>
            <a:r>
              <a:rPr lang="en-US"/>
              <a:t>Click to edit Master title style</a:t>
            </a:r>
          </a:p>
        </p:txBody>
      </p:sp>
      <p:sp>
        <p:nvSpPr>
          <p:cNvPr id="3" name="Content Placeholder 2"/>
          <p:cNvSpPr>
            <a:spLocks noGrp="1"/>
          </p:cNvSpPr>
          <p:nvPr>
            <p:ph idx="1"/>
          </p:nvPr>
        </p:nvSpPr>
        <p:spPr>
          <a:xfrm>
            <a:off x="410880" y="1521182"/>
            <a:ext cx="6178854" cy="4517348"/>
          </a:xfrm>
        </p:spPr>
        <p:txBody>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a:t>An introduction</a:t>
            </a:r>
          </a:p>
        </p:txBody>
      </p:sp>
      <p:sp>
        <p:nvSpPr>
          <p:cNvPr id="6" name="Slide Number Placeholder 5"/>
          <p:cNvSpPr>
            <a:spLocks noGrp="1"/>
          </p:cNvSpPr>
          <p:nvPr>
            <p:ph type="sldNum" sz="quarter" idx="12"/>
          </p:nvPr>
        </p:nvSpPr>
        <p:spPr/>
        <p:txBody>
          <a:bodyPr/>
          <a:lstStyle/>
          <a:p>
            <a:fld id="{32B354EE-31EA-4FC2-9496-7B6202183237}" type="slidenum">
              <a:rPr lang="en-US" smtClean="0"/>
              <a:t>‹#›</a:t>
            </a:fld>
            <a:endParaRPr lang="en-US"/>
          </a:p>
        </p:txBody>
      </p:sp>
    </p:spTree>
    <p:extLst>
      <p:ext uri="{BB962C8B-B14F-4D97-AF65-F5344CB8AC3E}">
        <p14:creationId xmlns:p14="http://schemas.microsoft.com/office/powerpoint/2010/main" val="2238662176"/>
      </p:ext>
    </p:extLst>
  </p:cSld>
  <p:clrMapOvr>
    <a:masterClrMapping/>
  </p:clrMapOvr>
  <p:transition>
    <p:fade/>
  </p:transition>
  <p:extLst>
    <p:ext uri="{DCECCB84-F9BA-43D5-87BE-67443E8EF086}">
      <p15:sldGuideLst xmlns:p15="http://schemas.microsoft.com/office/powerpoint/2012/main">
        <p15:guide id="1" pos="415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2.xml"/><Relationship Id="rId13" Type="http://schemas.openxmlformats.org/officeDocument/2006/relationships/slideLayout" Target="../slideLayouts/slideLayout207.xml"/><Relationship Id="rId18" Type="http://schemas.openxmlformats.org/officeDocument/2006/relationships/slideLayout" Target="../slideLayouts/slideLayout212.xml"/><Relationship Id="rId3" Type="http://schemas.openxmlformats.org/officeDocument/2006/relationships/slideLayout" Target="../slideLayouts/slideLayout197.xml"/><Relationship Id="rId21" Type="http://schemas.openxmlformats.org/officeDocument/2006/relationships/theme" Target="../theme/theme10.xml"/><Relationship Id="rId7" Type="http://schemas.openxmlformats.org/officeDocument/2006/relationships/slideLayout" Target="../slideLayouts/slideLayout201.xml"/><Relationship Id="rId12" Type="http://schemas.openxmlformats.org/officeDocument/2006/relationships/slideLayout" Target="../slideLayouts/slideLayout206.xml"/><Relationship Id="rId17" Type="http://schemas.openxmlformats.org/officeDocument/2006/relationships/slideLayout" Target="../slideLayouts/slideLayout211.xml"/><Relationship Id="rId2" Type="http://schemas.openxmlformats.org/officeDocument/2006/relationships/slideLayout" Target="../slideLayouts/slideLayout196.xml"/><Relationship Id="rId16" Type="http://schemas.openxmlformats.org/officeDocument/2006/relationships/slideLayout" Target="../slideLayouts/slideLayout210.xml"/><Relationship Id="rId20" Type="http://schemas.openxmlformats.org/officeDocument/2006/relationships/slideLayout" Target="../slideLayouts/slideLayout214.xml"/><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slideLayout" Target="../slideLayouts/slideLayout205.xml"/><Relationship Id="rId5" Type="http://schemas.openxmlformats.org/officeDocument/2006/relationships/slideLayout" Target="../slideLayouts/slideLayout199.xml"/><Relationship Id="rId15" Type="http://schemas.openxmlformats.org/officeDocument/2006/relationships/slideLayout" Target="../slideLayouts/slideLayout209.xml"/><Relationship Id="rId10" Type="http://schemas.openxmlformats.org/officeDocument/2006/relationships/slideLayout" Target="../slideLayouts/slideLayout204.xml"/><Relationship Id="rId19" Type="http://schemas.openxmlformats.org/officeDocument/2006/relationships/slideLayout" Target="../slideLayouts/slideLayout213.xml"/><Relationship Id="rId4" Type="http://schemas.openxmlformats.org/officeDocument/2006/relationships/slideLayout" Target="../slideLayouts/slideLayout198.xml"/><Relationship Id="rId9" Type="http://schemas.openxmlformats.org/officeDocument/2006/relationships/slideLayout" Target="../slideLayouts/slideLayout203.xml"/><Relationship Id="rId14" Type="http://schemas.openxmlformats.org/officeDocument/2006/relationships/slideLayout" Target="../slideLayouts/slideLayout20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22.xml"/><Relationship Id="rId13" Type="http://schemas.openxmlformats.org/officeDocument/2006/relationships/slideLayout" Target="../slideLayouts/slideLayout227.xml"/><Relationship Id="rId18" Type="http://schemas.openxmlformats.org/officeDocument/2006/relationships/slideLayout" Target="../slideLayouts/slideLayout232.xml"/><Relationship Id="rId3" Type="http://schemas.openxmlformats.org/officeDocument/2006/relationships/slideLayout" Target="../slideLayouts/slideLayout217.xml"/><Relationship Id="rId21" Type="http://schemas.openxmlformats.org/officeDocument/2006/relationships/slideLayout" Target="../slideLayouts/slideLayout235.xml"/><Relationship Id="rId7" Type="http://schemas.openxmlformats.org/officeDocument/2006/relationships/slideLayout" Target="../slideLayouts/slideLayout221.xml"/><Relationship Id="rId12" Type="http://schemas.openxmlformats.org/officeDocument/2006/relationships/slideLayout" Target="../slideLayouts/slideLayout226.xml"/><Relationship Id="rId17" Type="http://schemas.openxmlformats.org/officeDocument/2006/relationships/slideLayout" Target="../slideLayouts/slideLayout231.xml"/><Relationship Id="rId2" Type="http://schemas.openxmlformats.org/officeDocument/2006/relationships/slideLayout" Target="../slideLayouts/slideLayout216.xml"/><Relationship Id="rId16" Type="http://schemas.openxmlformats.org/officeDocument/2006/relationships/slideLayout" Target="../slideLayouts/slideLayout230.xml"/><Relationship Id="rId20" Type="http://schemas.openxmlformats.org/officeDocument/2006/relationships/slideLayout" Target="../slideLayouts/slideLayout234.xml"/><Relationship Id="rId1" Type="http://schemas.openxmlformats.org/officeDocument/2006/relationships/slideLayout" Target="../slideLayouts/slideLayout215.xml"/><Relationship Id="rId6" Type="http://schemas.openxmlformats.org/officeDocument/2006/relationships/slideLayout" Target="../slideLayouts/slideLayout220.xml"/><Relationship Id="rId11" Type="http://schemas.openxmlformats.org/officeDocument/2006/relationships/slideLayout" Target="../slideLayouts/slideLayout225.xml"/><Relationship Id="rId24" Type="http://schemas.openxmlformats.org/officeDocument/2006/relationships/theme" Target="../theme/theme11.xml"/><Relationship Id="rId5" Type="http://schemas.openxmlformats.org/officeDocument/2006/relationships/slideLayout" Target="../slideLayouts/slideLayout219.xml"/><Relationship Id="rId15" Type="http://schemas.openxmlformats.org/officeDocument/2006/relationships/slideLayout" Target="../slideLayouts/slideLayout229.xml"/><Relationship Id="rId23" Type="http://schemas.openxmlformats.org/officeDocument/2006/relationships/slideLayout" Target="../slideLayouts/slideLayout237.xml"/><Relationship Id="rId10" Type="http://schemas.openxmlformats.org/officeDocument/2006/relationships/slideLayout" Target="../slideLayouts/slideLayout224.xml"/><Relationship Id="rId19" Type="http://schemas.openxmlformats.org/officeDocument/2006/relationships/slideLayout" Target="../slideLayouts/slideLayout233.xml"/><Relationship Id="rId4" Type="http://schemas.openxmlformats.org/officeDocument/2006/relationships/slideLayout" Target="../slideLayouts/slideLayout218.xml"/><Relationship Id="rId9" Type="http://schemas.openxmlformats.org/officeDocument/2006/relationships/slideLayout" Target="../slideLayouts/slideLayout223.xml"/><Relationship Id="rId14" Type="http://schemas.openxmlformats.org/officeDocument/2006/relationships/slideLayout" Target="../slideLayouts/slideLayout228.xml"/><Relationship Id="rId22" Type="http://schemas.openxmlformats.org/officeDocument/2006/relationships/slideLayout" Target="../slideLayouts/slideLayout23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45.xml"/><Relationship Id="rId13" Type="http://schemas.openxmlformats.org/officeDocument/2006/relationships/slideLayout" Target="../slideLayouts/slideLayout250.xml"/><Relationship Id="rId18" Type="http://schemas.openxmlformats.org/officeDocument/2006/relationships/slideLayout" Target="../slideLayouts/slideLayout255.xml"/><Relationship Id="rId26" Type="http://schemas.openxmlformats.org/officeDocument/2006/relationships/oleObject" Target="../embeddings/oleObject51.bin"/><Relationship Id="rId3" Type="http://schemas.openxmlformats.org/officeDocument/2006/relationships/slideLayout" Target="../slideLayouts/slideLayout240.xml"/><Relationship Id="rId21" Type="http://schemas.openxmlformats.org/officeDocument/2006/relationships/slideLayout" Target="../slideLayouts/slideLayout258.xml"/><Relationship Id="rId7" Type="http://schemas.openxmlformats.org/officeDocument/2006/relationships/slideLayout" Target="../slideLayouts/slideLayout244.xml"/><Relationship Id="rId12" Type="http://schemas.openxmlformats.org/officeDocument/2006/relationships/slideLayout" Target="../slideLayouts/slideLayout249.xml"/><Relationship Id="rId17" Type="http://schemas.openxmlformats.org/officeDocument/2006/relationships/slideLayout" Target="../slideLayouts/slideLayout254.xml"/><Relationship Id="rId25" Type="http://schemas.openxmlformats.org/officeDocument/2006/relationships/tags" Target="../tags/tag99.xml"/><Relationship Id="rId2" Type="http://schemas.openxmlformats.org/officeDocument/2006/relationships/slideLayout" Target="../slideLayouts/slideLayout239.xml"/><Relationship Id="rId16" Type="http://schemas.openxmlformats.org/officeDocument/2006/relationships/slideLayout" Target="../slideLayouts/slideLayout253.xml"/><Relationship Id="rId20" Type="http://schemas.openxmlformats.org/officeDocument/2006/relationships/slideLayout" Target="../slideLayouts/slideLayout257.xml"/><Relationship Id="rId1" Type="http://schemas.openxmlformats.org/officeDocument/2006/relationships/slideLayout" Target="../slideLayouts/slideLayout238.xml"/><Relationship Id="rId6" Type="http://schemas.openxmlformats.org/officeDocument/2006/relationships/slideLayout" Target="../slideLayouts/slideLayout243.xml"/><Relationship Id="rId11" Type="http://schemas.openxmlformats.org/officeDocument/2006/relationships/slideLayout" Target="../slideLayouts/slideLayout248.xml"/><Relationship Id="rId24" Type="http://schemas.openxmlformats.org/officeDocument/2006/relationships/tags" Target="../tags/tag98.xml"/><Relationship Id="rId5" Type="http://schemas.openxmlformats.org/officeDocument/2006/relationships/slideLayout" Target="../slideLayouts/slideLayout242.xml"/><Relationship Id="rId15" Type="http://schemas.openxmlformats.org/officeDocument/2006/relationships/slideLayout" Target="../slideLayouts/slideLayout252.xml"/><Relationship Id="rId23" Type="http://schemas.openxmlformats.org/officeDocument/2006/relationships/theme" Target="../theme/theme12.xml"/><Relationship Id="rId10" Type="http://schemas.openxmlformats.org/officeDocument/2006/relationships/slideLayout" Target="../slideLayouts/slideLayout247.xml"/><Relationship Id="rId19" Type="http://schemas.openxmlformats.org/officeDocument/2006/relationships/slideLayout" Target="../slideLayouts/slideLayout256.xml"/><Relationship Id="rId4" Type="http://schemas.openxmlformats.org/officeDocument/2006/relationships/slideLayout" Target="../slideLayouts/slideLayout241.xml"/><Relationship Id="rId9" Type="http://schemas.openxmlformats.org/officeDocument/2006/relationships/slideLayout" Target="../slideLayouts/slideLayout246.xml"/><Relationship Id="rId14" Type="http://schemas.openxmlformats.org/officeDocument/2006/relationships/slideLayout" Target="../slideLayouts/slideLayout251.xml"/><Relationship Id="rId22" Type="http://schemas.openxmlformats.org/officeDocument/2006/relationships/slideLayout" Target="../slideLayouts/slideLayout259.xml"/><Relationship Id="rId27" Type="http://schemas.openxmlformats.org/officeDocument/2006/relationships/image" Target="../media/image19.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theme" Target="../theme/theme2.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26" Type="http://schemas.openxmlformats.org/officeDocument/2006/relationships/slideLayout" Target="../slideLayouts/slideLayout65.xml"/><Relationship Id="rId3" Type="http://schemas.openxmlformats.org/officeDocument/2006/relationships/slideLayout" Target="../slideLayouts/slideLayout42.xml"/><Relationship Id="rId21" Type="http://schemas.openxmlformats.org/officeDocument/2006/relationships/slideLayout" Target="../slideLayouts/slideLayout60.xml"/><Relationship Id="rId34" Type="http://schemas.openxmlformats.org/officeDocument/2006/relationships/tags" Target="../tags/tag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slideLayout" Target="../slideLayouts/slideLayout64.xml"/><Relationship Id="rId33" Type="http://schemas.openxmlformats.org/officeDocument/2006/relationships/tags" Target="../tags/tag1.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29" Type="http://schemas.openxmlformats.org/officeDocument/2006/relationships/slideLayout" Target="../slideLayouts/slideLayout68.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slideLayout" Target="../slideLayouts/slideLayout63.xml"/><Relationship Id="rId32" Type="http://schemas.openxmlformats.org/officeDocument/2006/relationships/theme" Target="../theme/theme3.xml"/><Relationship Id="rId37" Type="http://schemas.openxmlformats.org/officeDocument/2006/relationships/image" Target="../media/image2.emf"/><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28" Type="http://schemas.openxmlformats.org/officeDocument/2006/relationships/slideLayout" Target="../slideLayouts/slideLayout67.xml"/><Relationship Id="rId36" Type="http://schemas.openxmlformats.org/officeDocument/2006/relationships/image" Target="../media/image1.emf"/><Relationship Id="rId10" Type="http://schemas.openxmlformats.org/officeDocument/2006/relationships/slideLayout" Target="../slideLayouts/slideLayout49.xml"/><Relationship Id="rId19" Type="http://schemas.openxmlformats.org/officeDocument/2006/relationships/slideLayout" Target="../slideLayouts/slideLayout58.xml"/><Relationship Id="rId31" Type="http://schemas.openxmlformats.org/officeDocument/2006/relationships/slideLayout" Target="../slideLayouts/slideLayout70.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 Id="rId27" Type="http://schemas.openxmlformats.org/officeDocument/2006/relationships/slideLayout" Target="../slideLayouts/slideLayout66.xml"/><Relationship Id="rId30" Type="http://schemas.openxmlformats.org/officeDocument/2006/relationships/slideLayout" Target="../slideLayouts/slideLayout69.xml"/><Relationship Id="rId35"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 Type="http://schemas.openxmlformats.org/officeDocument/2006/relationships/slideLayout" Target="../slideLayouts/slideLayout73.xml"/><Relationship Id="rId21" Type="http://schemas.openxmlformats.org/officeDocument/2006/relationships/slideLayout" Target="../slideLayouts/slideLayout91.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29" Type="http://schemas.openxmlformats.org/officeDocument/2006/relationships/slideLayout" Target="../slideLayouts/slideLayout99.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21" Type="http://schemas.openxmlformats.org/officeDocument/2006/relationships/slideLayout" Target="../slideLayouts/slideLayout120.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theme" Target="../theme/theme5.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3" Type="http://schemas.openxmlformats.org/officeDocument/2006/relationships/slideLayout" Target="../slideLayouts/slideLayout124.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theme" Target="../theme/theme6.xml"/><Relationship Id="rId2" Type="http://schemas.openxmlformats.org/officeDocument/2006/relationships/slideLayout" Target="../slideLayouts/slideLayout123.xml"/><Relationship Id="rId16" Type="http://schemas.openxmlformats.org/officeDocument/2006/relationships/slideLayout" Target="../slideLayouts/slideLayout137.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5" Type="http://schemas.openxmlformats.org/officeDocument/2006/relationships/slideLayout" Target="../slideLayouts/slideLayout126.xml"/><Relationship Id="rId15" Type="http://schemas.openxmlformats.org/officeDocument/2006/relationships/slideLayout" Target="../slideLayouts/slideLayout136.xml"/><Relationship Id="rId10" Type="http://schemas.openxmlformats.org/officeDocument/2006/relationships/slideLayout" Target="../slideLayouts/slideLayout131.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26" Type="http://schemas.openxmlformats.org/officeDocument/2006/relationships/slideLayout" Target="../slideLayouts/slideLayout163.xml"/><Relationship Id="rId3" Type="http://schemas.openxmlformats.org/officeDocument/2006/relationships/slideLayout" Target="../slideLayouts/slideLayout140.xml"/><Relationship Id="rId21" Type="http://schemas.openxmlformats.org/officeDocument/2006/relationships/slideLayout" Target="../slideLayouts/slideLayout158.xml"/><Relationship Id="rId34" Type="http://schemas.openxmlformats.org/officeDocument/2006/relationships/tags" Target="../tags/tag50.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5" Type="http://schemas.openxmlformats.org/officeDocument/2006/relationships/slideLayout" Target="../slideLayouts/slideLayout162.xml"/><Relationship Id="rId33" Type="http://schemas.openxmlformats.org/officeDocument/2006/relationships/tags" Target="../tags/tag49.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slideLayout" Target="../slideLayouts/slideLayout157.xml"/><Relationship Id="rId29" Type="http://schemas.openxmlformats.org/officeDocument/2006/relationships/slideLayout" Target="../slideLayouts/slideLayout166.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24" Type="http://schemas.openxmlformats.org/officeDocument/2006/relationships/slideLayout" Target="../slideLayouts/slideLayout161.xml"/><Relationship Id="rId32" Type="http://schemas.openxmlformats.org/officeDocument/2006/relationships/theme" Target="../theme/theme7.xml"/><Relationship Id="rId37" Type="http://schemas.openxmlformats.org/officeDocument/2006/relationships/image" Target="../media/image2.emf"/><Relationship Id="rId5" Type="http://schemas.openxmlformats.org/officeDocument/2006/relationships/slideLayout" Target="../slideLayouts/slideLayout142.xml"/><Relationship Id="rId15" Type="http://schemas.openxmlformats.org/officeDocument/2006/relationships/slideLayout" Target="../slideLayouts/slideLayout152.xml"/><Relationship Id="rId23" Type="http://schemas.openxmlformats.org/officeDocument/2006/relationships/slideLayout" Target="../slideLayouts/slideLayout160.xml"/><Relationship Id="rId28" Type="http://schemas.openxmlformats.org/officeDocument/2006/relationships/slideLayout" Target="../slideLayouts/slideLayout165.xml"/><Relationship Id="rId36" Type="http://schemas.openxmlformats.org/officeDocument/2006/relationships/image" Target="../media/image1.emf"/><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31" Type="http://schemas.openxmlformats.org/officeDocument/2006/relationships/slideLayout" Target="../slideLayouts/slideLayout168.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 Id="rId22" Type="http://schemas.openxmlformats.org/officeDocument/2006/relationships/slideLayout" Target="../slideLayouts/slideLayout159.xml"/><Relationship Id="rId27" Type="http://schemas.openxmlformats.org/officeDocument/2006/relationships/slideLayout" Target="../slideLayouts/slideLayout164.xml"/><Relationship Id="rId30" Type="http://schemas.openxmlformats.org/officeDocument/2006/relationships/slideLayout" Target="../slideLayouts/slideLayout167.xml"/><Relationship Id="rId35" Type="http://schemas.openxmlformats.org/officeDocument/2006/relationships/oleObject" Target="../embeddings/oleObject26.bin"/></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171.xml"/><Relationship Id="rId7" Type="http://schemas.openxmlformats.org/officeDocument/2006/relationships/image" Target="../media/image9.png"/><Relationship Id="rId2" Type="http://schemas.openxmlformats.org/officeDocument/2006/relationships/slideLayout" Target="../slideLayouts/slideLayout170.xml"/><Relationship Id="rId1" Type="http://schemas.openxmlformats.org/officeDocument/2006/relationships/slideLayout" Target="../slideLayouts/slideLayout169.xml"/><Relationship Id="rId6" Type="http://schemas.openxmlformats.org/officeDocument/2006/relationships/theme" Target="../theme/theme8.xml"/><Relationship Id="rId5" Type="http://schemas.openxmlformats.org/officeDocument/2006/relationships/slideLayout" Target="../slideLayouts/slideLayout173.xml"/><Relationship Id="rId4" Type="http://schemas.openxmlformats.org/officeDocument/2006/relationships/slideLayout" Target="../slideLayouts/slideLayout17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1.xml"/><Relationship Id="rId13" Type="http://schemas.openxmlformats.org/officeDocument/2006/relationships/slideLayout" Target="../slideLayouts/slideLayout186.xml"/><Relationship Id="rId18" Type="http://schemas.openxmlformats.org/officeDocument/2006/relationships/slideLayout" Target="../slideLayouts/slideLayout191.xml"/><Relationship Id="rId3" Type="http://schemas.openxmlformats.org/officeDocument/2006/relationships/slideLayout" Target="../slideLayouts/slideLayout176.xml"/><Relationship Id="rId21" Type="http://schemas.openxmlformats.org/officeDocument/2006/relationships/slideLayout" Target="../slideLayouts/slideLayout194.xml"/><Relationship Id="rId7" Type="http://schemas.openxmlformats.org/officeDocument/2006/relationships/slideLayout" Target="../slideLayouts/slideLayout180.xml"/><Relationship Id="rId12" Type="http://schemas.openxmlformats.org/officeDocument/2006/relationships/slideLayout" Target="../slideLayouts/slideLayout185.xml"/><Relationship Id="rId17" Type="http://schemas.openxmlformats.org/officeDocument/2006/relationships/slideLayout" Target="../slideLayouts/slideLayout190.xml"/><Relationship Id="rId2" Type="http://schemas.openxmlformats.org/officeDocument/2006/relationships/slideLayout" Target="../slideLayouts/slideLayout175.xml"/><Relationship Id="rId16" Type="http://schemas.openxmlformats.org/officeDocument/2006/relationships/slideLayout" Target="../slideLayouts/slideLayout189.xml"/><Relationship Id="rId20" Type="http://schemas.openxmlformats.org/officeDocument/2006/relationships/slideLayout" Target="../slideLayouts/slideLayout193.xml"/><Relationship Id="rId1" Type="http://schemas.openxmlformats.org/officeDocument/2006/relationships/slideLayout" Target="../slideLayouts/slideLayout174.xml"/><Relationship Id="rId6" Type="http://schemas.openxmlformats.org/officeDocument/2006/relationships/slideLayout" Target="../slideLayouts/slideLayout179.xml"/><Relationship Id="rId11" Type="http://schemas.openxmlformats.org/officeDocument/2006/relationships/slideLayout" Target="../slideLayouts/slideLayout184.xml"/><Relationship Id="rId5" Type="http://schemas.openxmlformats.org/officeDocument/2006/relationships/slideLayout" Target="../slideLayouts/slideLayout178.xml"/><Relationship Id="rId15" Type="http://schemas.openxmlformats.org/officeDocument/2006/relationships/slideLayout" Target="../slideLayouts/slideLayout188.xml"/><Relationship Id="rId10" Type="http://schemas.openxmlformats.org/officeDocument/2006/relationships/slideLayout" Target="../slideLayouts/slideLayout183.xml"/><Relationship Id="rId19" Type="http://schemas.openxmlformats.org/officeDocument/2006/relationships/slideLayout" Target="../slideLayouts/slideLayout192.xml"/><Relationship Id="rId4" Type="http://schemas.openxmlformats.org/officeDocument/2006/relationships/slideLayout" Target="../slideLayouts/slideLayout177.xml"/><Relationship Id="rId9" Type="http://schemas.openxmlformats.org/officeDocument/2006/relationships/slideLayout" Target="../slideLayouts/slideLayout182.xml"/><Relationship Id="rId14" Type="http://schemas.openxmlformats.org/officeDocument/2006/relationships/slideLayout" Target="../slideLayouts/slideLayout187.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0879" y="410669"/>
            <a:ext cx="11368018" cy="776038"/>
          </a:xfrm>
          <a:prstGeom prst="rect">
            <a:avLst/>
          </a:prstGeom>
        </p:spPr>
        <p:txBody>
          <a:bodyPr vert="horz" lIns="0" tIns="0" rIns="0" bIns="0" rtlCol="0" anchor="t" anchorCtr="0">
            <a:noAutofit/>
          </a:bodyPr>
          <a:lstStyle/>
          <a:p>
            <a:r>
              <a:rPr lang="en-US" noProof="0"/>
              <a:t>Click to edit Master title style</a:t>
            </a:r>
          </a:p>
        </p:txBody>
      </p:sp>
      <p:sp>
        <p:nvSpPr>
          <p:cNvPr id="3" name="Text Placeholder 2"/>
          <p:cNvSpPr>
            <a:spLocks noGrp="1"/>
          </p:cNvSpPr>
          <p:nvPr>
            <p:ph type="body" idx="1"/>
          </p:nvPr>
        </p:nvSpPr>
        <p:spPr>
          <a:xfrm>
            <a:off x="410879" y="1521182"/>
            <a:ext cx="11368018" cy="4494734"/>
          </a:xfrm>
          <a:prstGeom prst="rect">
            <a:avLst/>
          </a:prstGeom>
        </p:spPr>
        <p:txBody>
          <a:bodyPr vert="horz" lIns="0" tIns="0" rIns="0" bIns="0" rtlCol="0" anchor="t" anchorCtr="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2"/>
          </p:nvPr>
        </p:nvSpPr>
        <p:spPr>
          <a:xfrm>
            <a:off x="6096910" y="6332830"/>
            <a:ext cx="1194866" cy="273450"/>
          </a:xfrm>
          <a:prstGeom prst="rect">
            <a:avLst/>
          </a:prstGeom>
        </p:spPr>
        <p:txBody>
          <a:bodyPr vert="horz" lIns="0" tIns="0" rIns="0" bIns="0" rtlCol="0" anchor="t" anchorCtr="0">
            <a:noAutofit/>
          </a:bodyPr>
          <a:lstStyle>
            <a:lvl1pPr algn="l">
              <a:defRPr sz="1100">
                <a:solidFill>
                  <a:schemeClr val="accent5"/>
                </a:solidFill>
              </a:defRPr>
            </a:lvl1pPr>
          </a:lstStyle>
          <a:p>
            <a:fld id="{A70C1E90-B22E-4BFF-9028-EF438619120A}" type="datetimeFigureOut">
              <a:rPr lang="en-BE" smtClean="0"/>
              <a:t>26/09/2023</a:t>
            </a:fld>
            <a:endParaRPr lang="en-BE"/>
          </a:p>
        </p:txBody>
      </p:sp>
      <p:sp>
        <p:nvSpPr>
          <p:cNvPr id="5" name="Footer Placeholder 4"/>
          <p:cNvSpPr>
            <a:spLocks noGrp="1"/>
          </p:cNvSpPr>
          <p:nvPr>
            <p:ph type="ftr" sz="quarter" idx="3"/>
          </p:nvPr>
        </p:nvSpPr>
        <p:spPr>
          <a:xfrm>
            <a:off x="920368" y="6332830"/>
            <a:ext cx="4784400" cy="273450"/>
          </a:xfrm>
          <a:prstGeom prst="rect">
            <a:avLst/>
          </a:prstGeom>
        </p:spPr>
        <p:txBody>
          <a:bodyPr vert="horz" lIns="0" tIns="0" rIns="0" bIns="0" rtlCol="0" anchor="t" anchorCtr="0">
            <a:noAutofit/>
          </a:bodyPr>
          <a:lstStyle>
            <a:lvl1pPr algn="l">
              <a:defRPr sz="1100">
                <a:solidFill>
                  <a:schemeClr val="accent5"/>
                </a:solidFill>
              </a:defRPr>
            </a:lvl1pPr>
          </a:lstStyle>
          <a:p>
            <a:endParaRPr lang="en-BE"/>
          </a:p>
        </p:txBody>
      </p:sp>
      <p:sp>
        <p:nvSpPr>
          <p:cNvPr id="6" name="Slide Number Placeholder 5"/>
          <p:cNvSpPr>
            <a:spLocks noGrp="1"/>
          </p:cNvSpPr>
          <p:nvPr>
            <p:ph type="sldNum" sz="quarter" idx="4"/>
          </p:nvPr>
        </p:nvSpPr>
        <p:spPr>
          <a:xfrm>
            <a:off x="410882" y="6332830"/>
            <a:ext cx="507262" cy="273450"/>
          </a:xfrm>
          <a:prstGeom prst="rect">
            <a:avLst/>
          </a:prstGeom>
        </p:spPr>
        <p:txBody>
          <a:bodyPr vert="horz" lIns="0" tIns="0" rIns="0" bIns="0" rtlCol="0" anchor="t" anchorCtr="0">
            <a:noAutofit/>
          </a:bodyPr>
          <a:lstStyle>
            <a:lvl1pPr algn="l">
              <a:defRPr sz="1100">
                <a:solidFill>
                  <a:schemeClr val="accent5"/>
                </a:solidFill>
              </a:defRPr>
            </a:lvl1pPr>
          </a:lstStyle>
          <a:p>
            <a:fld id="{9F5F79E4-174E-4D15-B5B9-2923F86E0116}" type="slidenum">
              <a:rPr lang="en-BE" smtClean="0"/>
              <a:t>‹#›</a:t>
            </a:fld>
            <a:endParaRPr lang="en-BE"/>
          </a:p>
        </p:txBody>
      </p:sp>
      <p:sp>
        <p:nvSpPr>
          <p:cNvPr id="18" name="Freeform 5">
            <a:extLst>
              <a:ext uri="{FF2B5EF4-FFF2-40B4-BE49-F238E27FC236}">
                <a16:creationId xmlns:a16="http://schemas.microsoft.com/office/drawing/2014/main" id="{932C11A5-A03B-4075-B595-9FA95A8BD6D8}"/>
              </a:ext>
            </a:extLst>
          </p:cNvPr>
          <p:cNvSpPr>
            <a:spLocks noChangeAspect="1" noEditPoints="1"/>
          </p:cNvSpPr>
          <p:nvPr/>
        </p:nvSpPr>
        <p:spPr bwMode="auto">
          <a:xfrm>
            <a:off x="11163612" y="6336092"/>
            <a:ext cx="612000" cy="106642"/>
          </a:xfrm>
          <a:custGeom>
            <a:avLst/>
            <a:gdLst>
              <a:gd name="T0" fmla="*/ 2108 w 2301"/>
              <a:gd name="T1" fmla="*/ 43 h 400"/>
              <a:gd name="T2" fmla="*/ 2257 w 2301"/>
              <a:gd name="T3" fmla="*/ 121 h 400"/>
              <a:gd name="T4" fmla="*/ 2154 w 2301"/>
              <a:gd name="T5" fmla="*/ 289 h 400"/>
              <a:gd name="T6" fmla="*/ 2261 w 2301"/>
              <a:gd name="T7" fmla="*/ 295 h 400"/>
              <a:gd name="T8" fmla="*/ 2301 w 2301"/>
              <a:gd name="T9" fmla="*/ 300 h 400"/>
              <a:gd name="T10" fmla="*/ 2108 w 2301"/>
              <a:gd name="T11" fmla="*/ 167 h 400"/>
              <a:gd name="T12" fmla="*/ 548 w 2301"/>
              <a:gd name="T13" fmla="*/ 121 h 400"/>
              <a:gd name="T14" fmla="*/ 643 w 2301"/>
              <a:gd name="T15" fmla="*/ 43 h 400"/>
              <a:gd name="T16" fmla="*/ 746 w 2301"/>
              <a:gd name="T17" fmla="*/ 167 h 400"/>
              <a:gd name="T18" fmla="*/ 729 w 2301"/>
              <a:gd name="T19" fmla="*/ 342 h 400"/>
              <a:gd name="T20" fmla="*/ 789 w 2301"/>
              <a:gd name="T21" fmla="*/ 296 h 400"/>
              <a:gd name="T22" fmla="*/ 622 w 2301"/>
              <a:gd name="T23" fmla="*/ 371 h 400"/>
              <a:gd name="T24" fmla="*/ 1997 w 2301"/>
              <a:gd name="T25" fmla="*/ 297 h 400"/>
              <a:gd name="T26" fmla="*/ 1822 w 2301"/>
              <a:gd name="T27" fmla="*/ 327 h 400"/>
              <a:gd name="T28" fmla="*/ 1954 w 2301"/>
              <a:gd name="T29" fmla="*/ 213 h 400"/>
              <a:gd name="T30" fmla="*/ 1962 w 2301"/>
              <a:gd name="T31" fmla="*/ 141 h 400"/>
              <a:gd name="T32" fmla="*/ 1885 w 2301"/>
              <a:gd name="T33" fmla="*/ 400 h 400"/>
              <a:gd name="T34" fmla="*/ 0 w 2301"/>
              <a:gd name="T35" fmla="*/ 389 h 400"/>
              <a:gd name="T36" fmla="*/ 19 w 2301"/>
              <a:gd name="T37" fmla="*/ 167 h 400"/>
              <a:gd name="T38" fmla="*/ 125 w 2301"/>
              <a:gd name="T39" fmla="*/ 126 h 400"/>
              <a:gd name="T40" fmla="*/ 206 w 2301"/>
              <a:gd name="T41" fmla="*/ 395 h 400"/>
              <a:gd name="T42" fmla="*/ 381 w 2301"/>
              <a:gd name="T43" fmla="*/ 116 h 400"/>
              <a:gd name="T44" fmla="*/ 266 w 2301"/>
              <a:gd name="T45" fmla="*/ 126 h 400"/>
              <a:gd name="T46" fmla="*/ 272 w 2301"/>
              <a:gd name="T47" fmla="*/ 395 h 400"/>
              <a:gd name="T48" fmla="*/ 312 w 2301"/>
              <a:gd name="T49" fmla="*/ 250 h 400"/>
              <a:gd name="T50" fmla="*/ 313 w 2301"/>
              <a:gd name="T51" fmla="*/ 228 h 400"/>
              <a:gd name="T52" fmla="*/ 313 w 2301"/>
              <a:gd name="T53" fmla="*/ 215 h 400"/>
              <a:gd name="T54" fmla="*/ 316 w 2301"/>
              <a:gd name="T55" fmla="*/ 206 h 400"/>
              <a:gd name="T56" fmla="*/ 319 w 2301"/>
              <a:gd name="T57" fmla="*/ 197 h 400"/>
              <a:gd name="T58" fmla="*/ 327 w 2301"/>
              <a:gd name="T59" fmla="*/ 186 h 400"/>
              <a:gd name="T60" fmla="*/ 447 w 2301"/>
              <a:gd name="T61" fmla="*/ 389 h 400"/>
              <a:gd name="T62" fmla="*/ 493 w 2301"/>
              <a:gd name="T63" fmla="*/ 228 h 400"/>
              <a:gd name="T64" fmla="*/ 142 w 2301"/>
              <a:gd name="T65" fmla="*/ 38 h 400"/>
              <a:gd name="T66" fmla="*/ 1292 w 2301"/>
              <a:gd name="T67" fmla="*/ 116 h 400"/>
              <a:gd name="T68" fmla="*/ 1177 w 2301"/>
              <a:gd name="T69" fmla="*/ 126 h 400"/>
              <a:gd name="T70" fmla="*/ 1183 w 2301"/>
              <a:gd name="T71" fmla="*/ 395 h 400"/>
              <a:gd name="T72" fmla="*/ 1223 w 2301"/>
              <a:gd name="T73" fmla="*/ 250 h 400"/>
              <a:gd name="T74" fmla="*/ 1224 w 2301"/>
              <a:gd name="T75" fmla="*/ 228 h 400"/>
              <a:gd name="T76" fmla="*/ 1224 w 2301"/>
              <a:gd name="T77" fmla="*/ 215 h 400"/>
              <a:gd name="T78" fmla="*/ 1227 w 2301"/>
              <a:gd name="T79" fmla="*/ 206 h 400"/>
              <a:gd name="T80" fmla="*/ 1230 w 2301"/>
              <a:gd name="T81" fmla="*/ 197 h 400"/>
              <a:gd name="T82" fmla="*/ 1238 w 2301"/>
              <a:gd name="T83" fmla="*/ 186 h 400"/>
              <a:gd name="T84" fmla="*/ 1386 w 2301"/>
              <a:gd name="T85" fmla="*/ 179 h 400"/>
              <a:gd name="T86" fmla="*/ 1002 w 2301"/>
              <a:gd name="T87" fmla="*/ 126 h 400"/>
              <a:gd name="T88" fmla="*/ 956 w 2301"/>
              <a:gd name="T89" fmla="*/ 170 h 400"/>
              <a:gd name="T90" fmla="*/ 981 w 2301"/>
              <a:gd name="T91" fmla="*/ 400 h 400"/>
              <a:gd name="T92" fmla="*/ 981 w 2301"/>
              <a:gd name="T93" fmla="*/ 354 h 400"/>
              <a:gd name="T94" fmla="*/ 1692 w 2301"/>
              <a:gd name="T95" fmla="*/ 232 h 400"/>
              <a:gd name="T96" fmla="*/ 1646 w 2301"/>
              <a:gd name="T97" fmla="*/ 149 h 400"/>
              <a:gd name="T98" fmla="*/ 1648 w 2301"/>
              <a:gd name="T99" fmla="*/ 258 h 400"/>
              <a:gd name="T100" fmla="*/ 1536 w 2301"/>
              <a:gd name="T101" fmla="*/ 120 h 400"/>
              <a:gd name="T102" fmla="*/ 1646 w 2301"/>
              <a:gd name="T103" fmla="*/ 390 h 400"/>
              <a:gd name="T104" fmla="*/ 1692 w 2301"/>
              <a:gd name="T105" fmla="*/ 242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01" h="400">
                <a:moveTo>
                  <a:pt x="2054" y="162"/>
                </a:moveTo>
                <a:cubicBezTo>
                  <a:pt x="2054" y="126"/>
                  <a:pt x="2054" y="126"/>
                  <a:pt x="2054" y="126"/>
                </a:cubicBezTo>
                <a:cubicBezTo>
                  <a:pt x="2054" y="122"/>
                  <a:pt x="2055" y="121"/>
                  <a:pt x="2059" y="121"/>
                </a:cubicBezTo>
                <a:cubicBezTo>
                  <a:pt x="2108" y="121"/>
                  <a:pt x="2108" y="121"/>
                  <a:pt x="2108" y="121"/>
                </a:cubicBezTo>
                <a:cubicBezTo>
                  <a:pt x="2108" y="43"/>
                  <a:pt x="2108" y="43"/>
                  <a:pt x="2108" y="43"/>
                </a:cubicBezTo>
                <a:cubicBezTo>
                  <a:pt x="2108" y="39"/>
                  <a:pt x="2110" y="38"/>
                  <a:pt x="2113" y="38"/>
                </a:cubicBezTo>
                <a:cubicBezTo>
                  <a:pt x="2149" y="38"/>
                  <a:pt x="2149" y="38"/>
                  <a:pt x="2149" y="38"/>
                </a:cubicBezTo>
                <a:cubicBezTo>
                  <a:pt x="2152" y="38"/>
                  <a:pt x="2154" y="39"/>
                  <a:pt x="2154" y="43"/>
                </a:cubicBezTo>
                <a:cubicBezTo>
                  <a:pt x="2154" y="121"/>
                  <a:pt x="2154" y="121"/>
                  <a:pt x="2154" y="121"/>
                </a:cubicBezTo>
                <a:cubicBezTo>
                  <a:pt x="2257" y="121"/>
                  <a:pt x="2257" y="121"/>
                  <a:pt x="2257" y="121"/>
                </a:cubicBezTo>
                <a:cubicBezTo>
                  <a:pt x="2260" y="121"/>
                  <a:pt x="2262" y="122"/>
                  <a:pt x="2262" y="126"/>
                </a:cubicBezTo>
                <a:cubicBezTo>
                  <a:pt x="2262" y="162"/>
                  <a:pt x="2262" y="162"/>
                  <a:pt x="2262" y="162"/>
                </a:cubicBezTo>
                <a:cubicBezTo>
                  <a:pt x="2262" y="165"/>
                  <a:pt x="2260" y="167"/>
                  <a:pt x="2257" y="167"/>
                </a:cubicBezTo>
                <a:cubicBezTo>
                  <a:pt x="2154" y="167"/>
                  <a:pt x="2154" y="167"/>
                  <a:pt x="2154" y="167"/>
                </a:cubicBezTo>
                <a:cubicBezTo>
                  <a:pt x="2154" y="289"/>
                  <a:pt x="2154" y="289"/>
                  <a:pt x="2154" y="289"/>
                </a:cubicBezTo>
                <a:cubicBezTo>
                  <a:pt x="2154" y="311"/>
                  <a:pt x="2158" y="326"/>
                  <a:pt x="2166" y="336"/>
                </a:cubicBezTo>
                <a:cubicBezTo>
                  <a:pt x="2174" y="348"/>
                  <a:pt x="2186" y="353"/>
                  <a:pt x="2204" y="353"/>
                </a:cubicBezTo>
                <a:cubicBezTo>
                  <a:pt x="2221" y="353"/>
                  <a:pt x="2232" y="351"/>
                  <a:pt x="2240" y="342"/>
                </a:cubicBezTo>
                <a:cubicBezTo>
                  <a:pt x="2248" y="333"/>
                  <a:pt x="2252" y="319"/>
                  <a:pt x="2255" y="300"/>
                </a:cubicBezTo>
                <a:cubicBezTo>
                  <a:pt x="2255" y="297"/>
                  <a:pt x="2257" y="295"/>
                  <a:pt x="2261" y="295"/>
                </a:cubicBezTo>
                <a:cubicBezTo>
                  <a:pt x="2296" y="295"/>
                  <a:pt x="2296" y="295"/>
                  <a:pt x="2296" y="295"/>
                </a:cubicBezTo>
                <a:cubicBezTo>
                  <a:pt x="2298" y="295"/>
                  <a:pt x="2298" y="295"/>
                  <a:pt x="2298" y="295"/>
                </a:cubicBezTo>
                <a:cubicBezTo>
                  <a:pt x="2298" y="295"/>
                  <a:pt x="2299" y="295"/>
                  <a:pt x="2300" y="296"/>
                </a:cubicBezTo>
                <a:cubicBezTo>
                  <a:pt x="2300" y="296"/>
                  <a:pt x="2301" y="297"/>
                  <a:pt x="2301" y="297"/>
                </a:cubicBezTo>
                <a:cubicBezTo>
                  <a:pt x="2301" y="298"/>
                  <a:pt x="2301" y="299"/>
                  <a:pt x="2301" y="300"/>
                </a:cubicBezTo>
                <a:cubicBezTo>
                  <a:pt x="2301" y="327"/>
                  <a:pt x="2295" y="350"/>
                  <a:pt x="2276" y="371"/>
                </a:cubicBezTo>
                <a:cubicBezTo>
                  <a:pt x="2259" y="390"/>
                  <a:pt x="2235" y="400"/>
                  <a:pt x="2205" y="400"/>
                </a:cubicBezTo>
                <a:cubicBezTo>
                  <a:pt x="2173" y="400"/>
                  <a:pt x="2149" y="390"/>
                  <a:pt x="2133" y="371"/>
                </a:cubicBezTo>
                <a:cubicBezTo>
                  <a:pt x="2116" y="353"/>
                  <a:pt x="2108" y="325"/>
                  <a:pt x="2108" y="289"/>
                </a:cubicBezTo>
                <a:cubicBezTo>
                  <a:pt x="2108" y="167"/>
                  <a:pt x="2108" y="167"/>
                  <a:pt x="2108" y="167"/>
                </a:cubicBezTo>
                <a:cubicBezTo>
                  <a:pt x="2059" y="167"/>
                  <a:pt x="2059" y="167"/>
                  <a:pt x="2059" y="167"/>
                </a:cubicBezTo>
                <a:cubicBezTo>
                  <a:pt x="2055" y="167"/>
                  <a:pt x="2054" y="165"/>
                  <a:pt x="2054" y="162"/>
                </a:cubicBezTo>
                <a:moveTo>
                  <a:pt x="543" y="162"/>
                </a:moveTo>
                <a:cubicBezTo>
                  <a:pt x="543" y="126"/>
                  <a:pt x="543" y="126"/>
                  <a:pt x="543" y="126"/>
                </a:cubicBezTo>
                <a:cubicBezTo>
                  <a:pt x="543" y="122"/>
                  <a:pt x="545" y="121"/>
                  <a:pt x="548" y="121"/>
                </a:cubicBezTo>
                <a:cubicBezTo>
                  <a:pt x="597" y="121"/>
                  <a:pt x="597" y="121"/>
                  <a:pt x="597" y="121"/>
                </a:cubicBezTo>
                <a:cubicBezTo>
                  <a:pt x="597" y="43"/>
                  <a:pt x="597" y="43"/>
                  <a:pt x="597" y="43"/>
                </a:cubicBezTo>
                <a:cubicBezTo>
                  <a:pt x="597" y="39"/>
                  <a:pt x="599" y="38"/>
                  <a:pt x="603" y="38"/>
                </a:cubicBezTo>
                <a:cubicBezTo>
                  <a:pt x="638" y="38"/>
                  <a:pt x="638" y="38"/>
                  <a:pt x="638" y="38"/>
                </a:cubicBezTo>
                <a:cubicBezTo>
                  <a:pt x="642" y="38"/>
                  <a:pt x="643" y="39"/>
                  <a:pt x="643" y="43"/>
                </a:cubicBezTo>
                <a:cubicBezTo>
                  <a:pt x="643" y="121"/>
                  <a:pt x="643" y="121"/>
                  <a:pt x="643" y="121"/>
                </a:cubicBezTo>
                <a:cubicBezTo>
                  <a:pt x="746" y="121"/>
                  <a:pt x="746" y="121"/>
                  <a:pt x="746" y="121"/>
                </a:cubicBezTo>
                <a:cubicBezTo>
                  <a:pt x="750" y="121"/>
                  <a:pt x="751" y="122"/>
                  <a:pt x="751" y="126"/>
                </a:cubicBezTo>
                <a:cubicBezTo>
                  <a:pt x="751" y="162"/>
                  <a:pt x="751" y="162"/>
                  <a:pt x="751" y="162"/>
                </a:cubicBezTo>
                <a:cubicBezTo>
                  <a:pt x="751" y="165"/>
                  <a:pt x="750" y="167"/>
                  <a:pt x="746" y="167"/>
                </a:cubicBezTo>
                <a:cubicBezTo>
                  <a:pt x="644" y="167"/>
                  <a:pt x="644" y="167"/>
                  <a:pt x="644" y="167"/>
                </a:cubicBezTo>
                <a:cubicBezTo>
                  <a:pt x="644" y="289"/>
                  <a:pt x="644" y="289"/>
                  <a:pt x="644" y="289"/>
                </a:cubicBezTo>
                <a:cubicBezTo>
                  <a:pt x="644" y="311"/>
                  <a:pt x="648" y="326"/>
                  <a:pt x="655" y="336"/>
                </a:cubicBezTo>
                <a:cubicBezTo>
                  <a:pt x="663" y="348"/>
                  <a:pt x="675" y="353"/>
                  <a:pt x="694" y="353"/>
                </a:cubicBezTo>
                <a:cubicBezTo>
                  <a:pt x="711" y="353"/>
                  <a:pt x="721" y="351"/>
                  <a:pt x="729" y="342"/>
                </a:cubicBezTo>
                <a:cubicBezTo>
                  <a:pt x="737" y="333"/>
                  <a:pt x="741" y="319"/>
                  <a:pt x="744" y="300"/>
                </a:cubicBezTo>
                <a:cubicBezTo>
                  <a:pt x="745" y="297"/>
                  <a:pt x="746" y="295"/>
                  <a:pt x="750" y="295"/>
                </a:cubicBezTo>
                <a:cubicBezTo>
                  <a:pt x="785" y="295"/>
                  <a:pt x="785" y="295"/>
                  <a:pt x="785" y="295"/>
                </a:cubicBezTo>
                <a:cubicBezTo>
                  <a:pt x="787" y="295"/>
                  <a:pt x="787" y="295"/>
                  <a:pt x="787" y="295"/>
                </a:cubicBezTo>
                <a:cubicBezTo>
                  <a:pt x="788" y="295"/>
                  <a:pt x="788" y="295"/>
                  <a:pt x="789" y="296"/>
                </a:cubicBezTo>
                <a:cubicBezTo>
                  <a:pt x="790" y="296"/>
                  <a:pt x="790" y="297"/>
                  <a:pt x="790" y="297"/>
                </a:cubicBezTo>
                <a:cubicBezTo>
                  <a:pt x="790" y="298"/>
                  <a:pt x="790" y="299"/>
                  <a:pt x="790" y="300"/>
                </a:cubicBezTo>
                <a:cubicBezTo>
                  <a:pt x="790" y="327"/>
                  <a:pt x="784" y="350"/>
                  <a:pt x="765" y="371"/>
                </a:cubicBezTo>
                <a:cubicBezTo>
                  <a:pt x="748" y="390"/>
                  <a:pt x="725" y="400"/>
                  <a:pt x="694" y="400"/>
                </a:cubicBezTo>
                <a:cubicBezTo>
                  <a:pt x="662" y="400"/>
                  <a:pt x="639" y="390"/>
                  <a:pt x="622" y="371"/>
                </a:cubicBezTo>
                <a:cubicBezTo>
                  <a:pt x="606" y="353"/>
                  <a:pt x="597" y="325"/>
                  <a:pt x="597" y="289"/>
                </a:cubicBezTo>
                <a:cubicBezTo>
                  <a:pt x="597" y="167"/>
                  <a:pt x="597" y="167"/>
                  <a:pt x="597" y="167"/>
                </a:cubicBezTo>
                <a:cubicBezTo>
                  <a:pt x="548" y="167"/>
                  <a:pt x="548" y="167"/>
                  <a:pt x="548" y="167"/>
                </a:cubicBezTo>
                <a:cubicBezTo>
                  <a:pt x="545" y="167"/>
                  <a:pt x="543" y="165"/>
                  <a:pt x="543" y="162"/>
                </a:cubicBezTo>
                <a:moveTo>
                  <a:pt x="1997" y="297"/>
                </a:moveTo>
                <a:cubicBezTo>
                  <a:pt x="1965" y="297"/>
                  <a:pt x="1965" y="297"/>
                  <a:pt x="1965" y="297"/>
                </a:cubicBezTo>
                <a:cubicBezTo>
                  <a:pt x="1958" y="297"/>
                  <a:pt x="1956" y="301"/>
                  <a:pt x="1955" y="304"/>
                </a:cubicBezTo>
                <a:cubicBezTo>
                  <a:pt x="1950" y="319"/>
                  <a:pt x="1942" y="331"/>
                  <a:pt x="1929" y="340"/>
                </a:cubicBezTo>
                <a:cubicBezTo>
                  <a:pt x="1917" y="349"/>
                  <a:pt x="1902" y="354"/>
                  <a:pt x="1885" y="354"/>
                </a:cubicBezTo>
                <a:cubicBezTo>
                  <a:pt x="1860" y="354"/>
                  <a:pt x="1837" y="345"/>
                  <a:pt x="1822" y="327"/>
                </a:cubicBezTo>
                <a:cubicBezTo>
                  <a:pt x="1807" y="309"/>
                  <a:pt x="1799" y="286"/>
                  <a:pt x="1799" y="258"/>
                </a:cubicBezTo>
                <a:cubicBezTo>
                  <a:pt x="1799" y="230"/>
                  <a:pt x="1807" y="206"/>
                  <a:pt x="1822" y="188"/>
                </a:cubicBezTo>
                <a:cubicBezTo>
                  <a:pt x="1837" y="170"/>
                  <a:pt x="1860" y="162"/>
                  <a:pt x="1885" y="162"/>
                </a:cubicBezTo>
                <a:cubicBezTo>
                  <a:pt x="1902" y="162"/>
                  <a:pt x="1916" y="166"/>
                  <a:pt x="1928" y="175"/>
                </a:cubicBezTo>
                <a:cubicBezTo>
                  <a:pt x="1941" y="184"/>
                  <a:pt x="1949" y="197"/>
                  <a:pt x="1954" y="213"/>
                </a:cubicBezTo>
                <a:cubicBezTo>
                  <a:pt x="1955" y="215"/>
                  <a:pt x="1957" y="219"/>
                  <a:pt x="1964" y="219"/>
                </a:cubicBezTo>
                <a:cubicBezTo>
                  <a:pt x="1996" y="219"/>
                  <a:pt x="1996" y="219"/>
                  <a:pt x="1996" y="219"/>
                </a:cubicBezTo>
                <a:cubicBezTo>
                  <a:pt x="1999" y="219"/>
                  <a:pt x="2002" y="217"/>
                  <a:pt x="2002" y="213"/>
                </a:cubicBezTo>
                <a:cubicBezTo>
                  <a:pt x="2002" y="211"/>
                  <a:pt x="2002" y="209"/>
                  <a:pt x="2001" y="207"/>
                </a:cubicBezTo>
                <a:cubicBezTo>
                  <a:pt x="1994" y="179"/>
                  <a:pt x="1982" y="157"/>
                  <a:pt x="1962" y="141"/>
                </a:cubicBezTo>
                <a:cubicBezTo>
                  <a:pt x="1942" y="125"/>
                  <a:pt x="1916" y="117"/>
                  <a:pt x="1885" y="117"/>
                </a:cubicBezTo>
                <a:cubicBezTo>
                  <a:pt x="1845" y="117"/>
                  <a:pt x="1812" y="130"/>
                  <a:pt x="1788" y="157"/>
                </a:cubicBezTo>
                <a:cubicBezTo>
                  <a:pt x="1765" y="183"/>
                  <a:pt x="1753" y="217"/>
                  <a:pt x="1753" y="258"/>
                </a:cubicBezTo>
                <a:cubicBezTo>
                  <a:pt x="1753" y="299"/>
                  <a:pt x="1765" y="333"/>
                  <a:pt x="1789" y="360"/>
                </a:cubicBezTo>
                <a:cubicBezTo>
                  <a:pt x="1812" y="386"/>
                  <a:pt x="1845" y="400"/>
                  <a:pt x="1885" y="400"/>
                </a:cubicBezTo>
                <a:cubicBezTo>
                  <a:pt x="1916" y="400"/>
                  <a:pt x="1942" y="392"/>
                  <a:pt x="1962" y="376"/>
                </a:cubicBezTo>
                <a:cubicBezTo>
                  <a:pt x="1982" y="360"/>
                  <a:pt x="1995" y="337"/>
                  <a:pt x="2003" y="309"/>
                </a:cubicBezTo>
                <a:cubicBezTo>
                  <a:pt x="2003" y="307"/>
                  <a:pt x="2003" y="305"/>
                  <a:pt x="2003" y="303"/>
                </a:cubicBezTo>
                <a:cubicBezTo>
                  <a:pt x="2003" y="300"/>
                  <a:pt x="2002" y="297"/>
                  <a:pt x="1997" y="297"/>
                </a:cubicBezTo>
                <a:moveTo>
                  <a:pt x="0" y="389"/>
                </a:moveTo>
                <a:cubicBezTo>
                  <a:pt x="0" y="354"/>
                  <a:pt x="0" y="354"/>
                  <a:pt x="0" y="354"/>
                </a:cubicBezTo>
                <a:cubicBezTo>
                  <a:pt x="0" y="351"/>
                  <a:pt x="2" y="349"/>
                  <a:pt x="6" y="349"/>
                </a:cubicBezTo>
                <a:cubicBezTo>
                  <a:pt x="78" y="349"/>
                  <a:pt x="78" y="349"/>
                  <a:pt x="78" y="349"/>
                </a:cubicBezTo>
                <a:cubicBezTo>
                  <a:pt x="78" y="167"/>
                  <a:pt x="78" y="167"/>
                  <a:pt x="78" y="167"/>
                </a:cubicBezTo>
                <a:cubicBezTo>
                  <a:pt x="19" y="167"/>
                  <a:pt x="19" y="167"/>
                  <a:pt x="19" y="167"/>
                </a:cubicBezTo>
                <a:cubicBezTo>
                  <a:pt x="16" y="167"/>
                  <a:pt x="14" y="165"/>
                  <a:pt x="14" y="162"/>
                </a:cubicBezTo>
                <a:cubicBezTo>
                  <a:pt x="14" y="126"/>
                  <a:pt x="14" y="126"/>
                  <a:pt x="14" y="126"/>
                </a:cubicBezTo>
                <a:cubicBezTo>
                  <a:pt x="14" y="122"/>
                  <a:pt x="16" y="121"/>
                  <a:pt x="19" y="121"/>
                </a:cubicBezTo>
                <a:cubicBezTo>
                  <a:pt x="119" y="121"/>
                  <a:pt x="119" y="121"/>
                  <a:pt x="119" y="121"/>
                </a:cubicBezTo>
                <a:cubicBezTo>
                  <a:pt x="122" y="121"/>
                  <a:pt x="124" y="122"/>
                  <a:pt x="125" y="126"/>
                </a:cubicBezTo>
                <a:cubicBezTo>
                  <a:pt x="125" y="349"/>
                  <a:pt x="125" y="349"/>
                  <a:pt x="125" y="349"/>
                </a:cubicBezTo>
                <a:cubicBezTo>
                  <a:pt x="206" y="349"/>
                  <a:pt x="206" y="349"/>
                  <a:pt x="206" y="349"/>
                </a:cubicBezTo>
                <a:cubicBezTo>
                  <a:pt x="209" y="349"/>
                  <a:pt x="211" y="351"/>
                  <a:pt x="211" y="354"/>
                </a:cubicBezTo>
                <a:cubicBezTo>
                  <a:pt x="211" y="389"/>
                  <a:pt x="211" y="389"/>
                  <a:pt x="211" y="389"/>
                </a:cubicBezTo>
                <a:cubicBezTo>
                  <a:pt x="211" y="393"/>
                  <a:pt x="210" y="395"/>
                  <a:pt x="206" y="395"/>
                </a:cubicBezTo>
                <a:cubicBezTo>
                  <a:pt x="6" y="395"/>
                  <a:pt x="6" y="395"/>
                  <a:pt x="6" y="395"/>
                </a:cubicBezTo>
                <a:cubicBezTo>
                  <a:pt x="2" y="395"/>
                  <a:pt x="0" y="393"/>
                  <a:pt x="0" y="389"/>
                </a:cubicBezTo>
                <a:moveTo>
                  <a:pt x="493" y="227"/>
                </a:moveTo>
                <a:cubicBezTo>
                  <a:pt x="493" y="199"/>
                  <a:pt x="485" y="173"/>
                  <a:pt x="463" y="149"/>
                </a:cubicBezTo>
                <a:cubicBezTo>
                  <a:pt x="444" y="128"/>
                  <a:pt x="411" y="116"/>
                  <a:pt x="381" y="116"/>
                </a:cubicBezTo>
                <a:cubicBezTo>
                  <a:pt x="332" y="116"/>
                  <a:pt x="312" y="150"/>
                  <a:pt x="312" y="150"/>
                </a:cubicBezTo>
                <a:cubicBezTo>
                  <a:pt x="312" y="126"/>
                  <a:pt x="312" y="126"/>
                  <a:pt x="312" y="126"/>
                </a:cubicBezTo>
                <a:cubicBezTo>
                  <a:pt x="312" y="122"/>
                  <a:pt x="311" y="121"/>
                  <a:pt x="307" y="121"/>
                </a:cubicBezTo>
                <a:cubicBezTo>
                  <a:pt x="272" y="121"/>
                  <a:pt x="272" y="121"/>
                  <a:pt x="272" y="121"/>
                </a:cubicBezTo>
                <a:cubicBezTo>
                  <a:pt x="268" y="121"/>
                  <a:pt x="266" y="122"/>
                  <a:pt x="266" y="126"/>
                </a:cubicBezTo>
                <a:cubicBezTo>
                  <a:pt x="266" y="231"/>
                  <a:pt x="266" y="231"/>
                  <a:pt x="266" y="231"/>
                </a:cubicBezTo>
                <a:cubicBezTo>
                  <a:pt x="266" y="235"/>
                  <a:pt x="266" y="238"/>
                  <a:pt x="266" y="242"/>
                </a:cubicBezTo>
                <a:cubicBezTo>
                  <a:pt x="266" y="244"/>
                  <a:pt x="266" y="247"/>
                  <a:pt x="266" y="250"/>
                </a:cubicBezTo>
                <a:cubicBezTo>
                  <a:pt x="266" y="389"/>
                  <a:pt x="266" y="389"/>
                  <a:pt x="266" y="389"/>
                </a:cubicBezTo>
                <a:cubicBezTo>
                  <a:pt x="266" y="393"/>
                  <a:pt x="268" y="395"/>
                  <a:pt x="272" y="395"/>
                </a:cubicBezTo>
                <a:cubicBezTo>
                  <a:pt x="307" y="395"/>
                  <a:pt x="307" y="395"/>
                  <a:pt x="307" y="395"/>
                </a:cubicBezTo>
                <a:cubicBezTo>
                  <a:pt x="311" y="395"/>
                  <a:pt x="312" y="393"/>
                  <a:pt x="312" y="389"/>
                </a:cubicBezTo>
                <a:cubicBezTo>
                  <a:pt x="312" y="251"/>
                  <a:pt x="312" y="251"/>
                  <a:pt x="312" y="251"/>
                </a:cubicBezTo>
                <a:cubicBezTo>
                  <a:pt x="312" y="250"/>
                  <a:pt x="312" y="250"/>
                  <a:pt x="312" y="250"/>
                </a:cubicBezTo>
                <a:cubicBezTo>
                  <a:pt x="312" y="250"/>
                  <a:pt x="312" y="250"/>
                  <a:pt x="312" y="250"/>
                </a:cubicBezTo>
                <a:cubicBezTo>
                  <a:pt x="312" y="243"/>
                  <a:pt x="312" y="241"/>
                  <a:pt x="312" y="236"/>
                </a:cubicBezTo>
                <a:cubicBezTo>
                  <a:pt x="312" y="235"/>
                  <a:pt x="312" y="235"/>
                  <a:pt x="312" y="235"/>
                </a:cubicBezTo>
                <a:cubicBezTo>
                  <a:pt x="312" y="234"/>
                  <a:pt x="312" y="233"/>
                  <a:pt x="312" y="232"/>
                </a:cubicBezTo>
                <a:cubicBezTo>
                  <a:pt x="312" y="232"/>
                  <a:pt x="312" y="231"/>
                  <a:pt x="312" y="231"/>
                </a:cubicBezTo>
                <a:cubicBezTo>
                  <a:pt x="312" y="230"/>
                  <a:pt x="313" y="229"/>
                  <a:pt x="313" y="228"/>
                </a:cubicBezTo>
                <a:cubicBezTo>
                  <a:pt x="313" y="228"/>
                  <a:pt x="313" y="224"/>
                  <a:pt x="313" y="223"/>
                </a:cubicBezTo>
                <a:cubicBezTo>
                  <a:pt x="313" y="222"/>
                  <a:pt x="313" y="222"/>
                  <a:pt x="313" y="221"/>
                </a:cubicBezTo>
                <a:cubicBezTo>
                  <a:pt x="313" y="220"/>
                  <a:pt x="313" y="220"/>
                  <a:pt x="313" y="219"/>
                </a:cubicBezTo>
                <a:cubicBezTo>
                  <a:pt x="313" y="218"/>
                  <a:pt x="313" y="218"/>
                  <a:pt x="313" y="217"/>
                </a:cubicBezTo>
                <a:cubicBezTo>
                  <a:pt x="313" y="216"/>
                  <a:pt x="313" y="216"/>
                  <a:pt x="313" y="215"/>
                </a:cubicBezTo>
                <a:cubicBezTo>
                  <a:pt x="314" y="215"/>
                  <a:pt x="314" y="214"/>
                  <a:pt x="314" y="213"/>
                </a:cubicBezTo>
                <a:cubicBezTo>
                  <a:pt x="314" y="213"/>
                  <a:pt x="314" y="212"/>
                  <a:pt x="314" y="211"/>
                </a:cubicBezTo>
                <a:cubicBezTo>
                  <a:pt x="314" y="211"/>
                  <a:pt x="314" y="210"/>
                  <a:pt x="315" y="210"/>
                </a:cubicBezTo>
                <a:cubicBezTo>
                  <a:pt x="315" y="209"/>
                  <a:pt x="315" y="208"/>
                  <a:pt x="315" y="208"/>
                </a:cubicBezTo>
                <a:cubicBezTo>
                  <a:pt x="315" y="207"/>
                  <a:pt x="315" y="207"/>
                  <a:pt x="316" y="206"/>
                </a:cubicBezTo>
                <a:cubicBezTo>
                  <a:pt x="316" y="205"/>
                  <a:pt x="316" y="205"/>
                  <a:pt x="316" y="204"/>
                </a:cubicBezTo>
                <a:cubicBezTo>
                  <a:pt x="316" y="203"/>
                  <a:pt x="317" y="203"/>
                  <a:pt x="317" y="202"/>
                </a:cubicBezTo>
                <a:cubicBezTo>
                  <a:pt x="317" y="202"/>
                  <a:pt x="317" y="201"/>
                  <a:pt x="318" y="200"/>
                </a:cubicBezTo>
                <a:cubicBezTo>
                  <a:pt x="318" y="200"/>
                  <a:pt x="318" y="199"/>
                  <a:pt x="319" y="199"/>
                </a:cubicBezTo>
                <a:cubicBezTo>
                  <a:pt x="319" y="198"/>
                  <a:pt x="319" y="197"/>
                  <a:pt x="319" y="197"/>
                </a:cubicBezTo>
                <a:cubicBezTo>
                  <a:pt x="320" y="196"/>
                  <a:pt x="320" y="195"/>
                  <a:pt x="321" y="195"/>
                </a:cubicBezTo>
                <a:cubicBezTo>
                  <a:pt x="321" y="194"/>
                  <a:pt x="321" y="194"/>
                  <a:pt x="322" y="193"/>
                </a:cubicBezTo>
                <a:cubicBezTo>
                  <a:pt x="322" y="192"/>
                  <a:pt x="323" y="192"/>
                  <a:pt x="323" y="191"/>
                </a:cubicBezTo>
                <a:cubicBezTo>
                  <a:pt x="323" y="190"/>
                  <a:pt x="324" y="190"/>
                  <a:pt x="324" y="189"/>
                </a:cubicBezTo>
                <a:cubicBezTo>
                  <a:pt x="325" y="188"/>
                  <a:pt x="326" y="187"/>
                  <a:pt x="327" y="186"/>
                </a:cubicBezTo>
                <a:cubicBezTo>
                  <a:pt x="342" y="168"/>
                  <a:pt x="360" y="162"/>
                  <a:pt x="380" y="162"/>
                </a:cubicBezTo>
                <a:cubicBezTo>
                  <a:pt x="398" y="162"/>
                  <a:pt x="416" y="169"/>
                  <a:pt x="427" y="180"/>
                </a:cubicBezTo>
                <a:cubicBezTo>
                  <a:pt x="439" y="192"/>
                  <a:pt x="447" y="210"/>
                  <a:pt x="447" y="229"/>
                </a:cubicBezTo>
                <a:cubicBezTo>
                  <a:pt x="447" y="254"/>
                  <a:pt x="447" y="254"/>
                  <a:pt x="447" y="254"/>
                </a:cubicBezTo>
                <a:cubicBezTo>
                  <a:pt x="447" y="389"/>
                  <a:pt x="447" y="389"/>
                  <a:pt x="447" y="389"/>
                </a:cubicBezTo>
                <a:cubicBezTo>
                  <a:pt x="447" y="393"/>
                  <a:pt x="449" y="395"/>
                  <a:pt x="453" y="395"/>
                </a:cubicBezTo>
                <a:cubicBezTo>
                  <a:pt x="488" y="395"/>
                  <a:pt x="488" y="395"/>
                  <a:pt x="488" y="395"/>
                </a:cubicBezTo>
                <a:cubicBezTo>
                  <a:pt x="492" y="395"/>
                  <a:pt x="493" y="393"/>
                  <a:pt x="493" y="389"/>
                </a:cubicBezTo>
                <a:cubicBezTo>
                  <a:pt x="493" y="254"/>
                  <a:pt x="493" y="254"/>
                  <a:pt x="493" y="254"/>
                </a:cubicBezTo>
                <a:cubicBezTo>
                  <a:pt x="493" y="228"/>
                  <a:pt x="493" y="228"/>
                  <a:pt x="493" y="228"/>
                </a:cubicBezTo>
                <a:cubicBezTo>
                  <a:pt x="493" y="227"/>
                  <a:pt x="493" y="227"/>
                  <a:pt x="493" y="227"/>
                </a:cubicBezTo>
                <a:close/>
                <a:moveTo>
                  <a:pt x="105" y="0"/>
                </a:moveTo>
                <a:cubicBezTo>
                  <a:pt x="84" y="0"/>
                  <a:pt x="67" y="17"/>
                  <a:pt x="67" y="38"/>
                </a:cubicBezTo>
                <a:cubicBezTo>
                  <a:pt x="67" y="58"/>
                  <a:pt x="84" y="75"/>
                  <a:pt x="105" y="75"/>
                </a:cubicBezTo>
                <a:cubicBezTo>
                  <a:pt x="125" y="75"/>
                  <a:pt x="142" y="58"/>
                  <a:pt x="142" y="38"/>
                </a:cubicBezTo>
                <a:cubicBezTo>
                  <a:pt x="142" y="17"/>
                  <a:pt x="125" y="0"/>
                  <a:pt x="105" y="0"/>
                </a:cubicBezTo>
                <a:moveTo>
                  <a:pt x="1386" y="179"/>
                </a:moveTo>
                <a:cubicBezTo>
                  <a:pt x="1390" y="177"/>
                  <a:pt x="1391" y="173"/>
                  <a:pt x="1389" y="169"/>
                </a:cubicBezTo>
                <a:cubicBezTo>
                  <a:pt x="1385" y="162"/>
                  <a:pt x="1380" y="156"/>
                  <a:pt x="1374" y="149"/>
                </a:cubicBezTo>
                <a:cubicBezTo>
                  <a:pt x="1355" y="128"/>
                  <a:pt x="1322" y="116"/>
                  <a:pt x="1292" y="116"/>
                </a:cubicBezTo>
                <a:cubicBezTo>
                  <a:pt x="1243" y="116"/>
                  <a:pt x="1223" y="150"/>
                  <a:pt x="1223" y="150"/>
                </a:cubicBezTo>
                <a:cubicBezTo>
                  <a:pt x="1223" y="126"/>
                  <a:pt x="1223" y="126"/>
                  <a:pt x="1223" y="126"/>
                </a:cubicBezTo>
                <a:cubicBezTo>
                  <a:pt x="1223" y="123"/>
                  <a:pt x="1221" y="121"/>
                  <a:pt x="1218" y="121"/>
                </a:cubicBezTo>
                <a:cubicBezTo>
                  <a:pt x="1183" y="121"/>
                  <a:pt x="1183" y="121"/>
                  <a:pt x="1183" y="121"/>
                </a:cubicBezTo>
                <a:cubicBezTo>
                  <a:pt x="1179" y="121"/>
                  <a:pt x="1177" y="122"/>
                  <a:pt x="1177" y="126"/>
                </a:cubicBezTo>
                <a:cubicBezTo>
                  <a:pt x="1177" y="231"/>
                  <a:pt x="1177" y="231"/>
                  <a:pt x="1177" y="231"/>
                </a:cubicBezTo>
                <a:cubicBezTo>
                  <a:pt x="1177" y="235"/>
                  <a:pt x="1177" y="238"/>
                  <a:pt x="1177" y="242"/>
                </a:cubicBezTo>
                <a:cubicBezTo>
                  <a:pt x="1177" y="244"/>
                  <a:pt x="1177" y="247"/>
                  <a:pt x="1177" y="250"/>
                </a:cubicBezTo>
                <a:cubicBezTo>
                  <a:pt x="1177" y="389"/>
                  <a:pt x="1177" y="389"/>
                  <a:pt x="1177" y="389"/>
                </a:cubicBezTo>
                <a:cubicBezTo>
                  <a:pt x="1177" y="393"/>
                  <a:pt x="1179" y="395"/>
                  <a:pt x="1183" y="395"/>
                </a:cubicBezTo>
                <a:cubicBezTo>
                  <a:pt x="1218" y="395"/>
                  <a:pt x="1218" y="395"/>
                  <a:pt x="1218" y="395"/>
                </a:cubicBezTo>
                <a:cubicBezTo>
                  <a:pt x="1221" y="395"/>
                  <a:pt x="1223" y="392"/>
                  <a:pt x="1223" y="389"/>
                </a:cubicBezTo>
                <a:cubicBezTo>
                  <a:pt x="1223" y="251"/>
                  <a:pt x="1223" y="251"/>
                  <a:pt x="1223" y="251"/>
                </a:cubicBezTo>
                <a:cubicBezTo>
                  <a:pt x="1223" y="250"/>
                  <a:pt x="1223" y="250"/>
                  <a:pt x="1223" y="250"/>
                </a:cubicBezTo>
                <a:cubicBezTo>
                  <a:pt x="1223" y="250"/>
                  <a:pt x="1223" y="250"/>
                  <a:pt x="1223" y="250"/>
                </a:cubicBezTo>
                <a:cubicBezTo>
                  <a:pt x="1223" y="243"/>
                  <a:pt x="1223" y="241"/>
                  <a:pt x="1223" y="236"/>
                </a:cubicBezTo>
                <a:cubicBezTo>
                  <a:pt x="1223" y="236"/>
                  <a:pt x="1223" y="235"/>
                  <a:pt x="1223" y="235"/>
                </a:cubicBezTo>
                <a:cubicBezTo>
                  <a:pt x="1223" y="234"/>
                  <a:pt x="1223" y="233"/>
                  <a:pt x="1223" y="232"/>
                </a:cubicBezTo>
                <a:cubicBezTo>
                  <a:pt x="1223" y="232"/>
                  <a:pt x="1223" y="231"/>
                  <a:pt x="1223" y="231"/>
                </a:cubicBezTo>
                <a:cubicBezTo>
                  <a:pt x="1223" y="230"/>
                  <a:pt x="1223" y="229"/>
                  <a:pt x="1224" y="228"/>
                </a:cubicBezTo>
                <a:cubicBezTo>
                  <a:pt x="1224" y="228"/>
                  <a:pt x="1224" y="224"/>
                  <a:pt x="1224" y="223"/>
                </a:cubicBezTo>
                <a:cubicBezTo>
                  <a:pt x="1224" y="222"/>
                  <a:pt x="1224" y="222"/>
                  <a:pt x="1224" y="221"/>
                </a:cubicBezTo>
                <a:cubicBezTo>
                  <a:pt x="1224" y="220"/>
                  <a:pt x="1224" y="220"/>
                  <a:pt x="1224" y="219"/>
                </a:cubicBezTo>
                <a:cubicBezTo>
                  <a:pt x="1224" y="218"/>
                  <a:pt x="1224" y="218"/>
                  <a:pt x="1224" y="217"/>
                </a:cubicBezTo>
                <a:cubicBezTo>
                  <a:pt x="1224" y="216"/>
                  <a:pt x="1224" y="216"/>
                  <a:pt x="1224" y="215"/>
                </a:cubicBezTo>
                <a:cubicBezTo>
                  <a:pt x="1225" y="215"/>
                  <a:pt x="1225" y="214"/>
                  <a:pt x="1225" y="213"/>
                </a:cubicBezTo>
                <a:cubicBezTo>
                  <a:pt x="1225" y="213"/>
                  <a:pt x="1225" y="212"/>
                  <a:pt x="1225" y="211"/>
                </a:cubicBezTo>
                <a:cubicBezTo>
                  <a:pt x="1225" y="211"/>
                  <a:pt x="1225" y="210"/>
                  <a:pt x="1226" y="210"/>
                </a:cubicBezTo>
                <a:cubicBezTo>
                  <a:pt x="1226" y="209"/>
                  <a:pt x="1226" y="208"/>
                  <a:pt x="1226" y="208"/>
                </a:cubicBezTo>
                <a:cubicBezTo>
                  <a:pt x="1226" y="207"/>
                  <a:pt x="1226" y="207"/>
                  <a:pt x="1227" y="206"/>
                </a:cubicBezTo>
                <a:cubicBezTo>
                  <a:pt x="1227" y="205"/>
                  <a:pt x="1227" y="205"/>
                  <a:pt x="1227" y="204"/>
                </a:cubicBezTo>
                <a:cubicBezTo>
                  <a:pt x="1227" y="203"/>
                  <a:pt x="1228" y="203"/>
                  <a:pt x="1228" y="202"/>
                </a:cubicBezTo>
                <a:cubicBezTo>
                  <a:pt x="1228" y="202"/>
                  <a:pt x="1228" y="201"/>
                  <a:pt x="1229" y="200"/>
                </a:cubicBezTo>
                <a:cubicBezTo>
                  <a:pt x="1229" y="200"/>
                  <a:pt x="1229" y="199"/>
                  <a:pt x="1230" y="199"/>
                </a:cubicBezTo>
                <a:cubicBezTo>
                  <a:pt x="1230" y="198"/>
                  <a:pt x="1230" y="197"/>
                  <a:pt x="1230" y="197"/>
                </a:cubicBezTo>
                <a:cubicBezTo>
                  <a:pt x="1231" y="196"/>
                  <a:pt x="1231" y="195"/>
                  <a:pt x="1232" y="195"/>
                </a:cubicBezTo>
                <a:cubicBezTo>
                  <a:pt x="1232" y="194"/>
                  <a:pt x="1232" y="194"/>
                  <a:pt x="1232" y="193"/>
                </a:cubicBezTo>
                <a:cubicBezTo>
                  <a:pt x="1233" y="192"/>
                  <a:pt x="1233" y="192"/>
                  <a:pt x="1234" y="191"/>
                </a:cubicBezTo>
                <a:cubicBezTo>
                  <a:pt x="1234" y="190"/>
                  <a:pt x="1235" y="190"/>
                  <a:pt x="1235" y="189"/>
                </a:cubicBezTo>
                <a:cubicBezTo>
                  <a:pt x="1236" y="188"/>
                  <a:pt x="1237" y="187"/>
                  <a:pt x="1238" y="186"/>
                </a:cubicBezTo>
                <a:cubicBezTo>
                  <a:pt x="1253" y="168"/>
                  <a:pt x="1271" y="162"/>
                  <a:pt x="1291" y="162"/>
                </a:cubicBezTo>
                <a:cubicBezTo>
                  <a:pt x="1308" y="162"/>
                  <a:pt x="1328" y="169"/>
                  <a:pt x="1338" y="180"/>
                </a:cubicBezTo>
                <a:cubicBezTo>
                  <a:pt x="1341" y="184"/>
                  <a:pt x="1345" y="188"/>
                  <a:pt x="1348" y="192"/>
                </a:cubicBezTo>
                <a:cubicBezTo>
                  <a:pt x="1350" y="196"/>
                  <a:pt x="1354" y="197"/>
                  <a:pt x="1357" y="195"/>
                </a:cubicBezTo>
                <a:lnTo>
                  <a:pt x="1386" y="179"/>
                </a:lnTo>
                <a:close/>
                <a:moveTo>
                  <a:pt x="1106" y="268"/>
                </a:moveTo>
                <a:cubicBezTo>
                  <a:pt x="1109" y="268"/>
                  <a:pt x="1112" y="265"/>
                  <a:pt x="1112" y="262"/>
                </a:cubicBezTo>
                <a:cubicBezTo>
                  <a:pt x="1112" y="256"/>
                  <a:pt x="1112" y="249"/>
                  <a:pt x="1112" y="246"/>
                </a:cubicBezTo>
                <a:cubicBezTo>
                  <a:pt x="1107" y="184"/>
                  <a:pt x="1065" y="133"/>
                  <a:pt x="1010" y="120"/>
                </a:cubicBezTo>
                <a:cubicBezTo>
                  <a:pt x="1006" y="119"/>
                  <a:pt x="1002" y="122"/>
                  <a:pt x="1002" y="126"/>
                </a:cubicBezTo>
                <a:cubicBezTo>
                  <a:pt x="1002" y="164"/>
                  <a:pt x="1002" y="164"/>
                  <a:pt x="1002" y="164"/>
                </a:cubicBezTo>
                <a:cubicBezTo>
                  <a:pt x="1002" y="166"/>
                  <a:pt x="1004" y="169"/>
                  <a:pt x="1006" y="170"/>
                </a:cubicBezTo>
                <a:cubicBezTo>
                  <a:pt x="1032" y="179"/>
                  <a:pt x="1053" y="201"/>
                  <a:pt x="1062" y="229"/>
                </a:cubicBezTo>
                <a:cubicBezTo>
                  <a:pt x="900" y="229"/>
                  <a:pt x="900" y="229"/>
                  <a:pt x="900" y="229"/>
                </a:cubicBezTo>
                <a:cubicBezTo>
                  <a:pt x="909" y="201"/>
                  <a:pt x="930" y="179"/>
                  <a:pt x="956" y="170"/>
                </a:cubicBezTo>
                <a:cubicBezTo>
                  <a:pt x="958" y="169"/>
                  <a:pt x="960" y="166"/>
                  <a:pt x="960" y="164"/>
                </a:cubicBezTo>
                <a:cubicBezTo>
                  <a:pt x="960" y="126"/>
                  <a:pt x="960" y="126"/>
                  <a:pt x="960" y="126"/>
                </a:cubicBezTo>
                <a:cubicBezTo>
                  <a:pt x="960" y="122"/>
                  <a:pt x="956" y="119"/>
                  <a:pt x="952" y="120"/>
                </a:cubicBezTo>
                <a:cubicBezTo>
                  <a:pt x="893" y="134"/>
                  <a:pt x="850" y="191"/>
                  <a:pt x="850" y="258"/>
                </a:cubicBezTo>
                <a:cubicBezTo>
                  <a:pt x="850" y="337"/>
                  <a:pt x="908" y="400"/>
                  <a:pt x="981" y="400"/>
                </a:cubicBezTo>
                <a:cubicBezTo>
                  <a:pt x="1032" y="400"/>
                  <a:pt x="1076" y="369"/>
                  <a:pt x="1098" y="322"/>
                </a:cubicBezTo>
                <a:cubicBezTo>
                  <a:pt x="1100" y="318"/>
                  <a:pt x="1097" y="313"/>
                  <a:pt x="1092" y="313"/>
                </a:cubicBezTo>
                <a:cubicBezTo>
                  <a:pt x="1055" y="313"/>
                  <a:pt x="1055" y="313"/>
                  <a:pt x="1055" y="313"/>
                </a:cubicBezTo>
                <a:cubicBezTo>
                  <a:pt x="1053" y="313"/>
                  <a:pt x="1051" y="314"/>
                  <a:pt x="1049" y="316"/>
                </a:cubicBezTo>
                <a:cubicBezTo>
                  <a:pt x="1034" y="339"/>
                  <a:pt x="1009" y="354"/>
                  <a:pt x="981" y="354"/>
                </a:cubicBezTo>
                <a:cubicBezTo>
                  <a:pt x="936" y="354"/>
                  <a:pt x="900" y="316"/>
                  <a:pt x="896" y="268"/>
                </a:cubicBezTo>
                <a:cubicBezTo>
                  <a:pt x="1066" y="268"/>
                  <a:pt x="1066" y="268"/>
                  <a:pt x="1066" y="268"/>
                </a:cubicBezTo>
                <a:cubicBezTo>
                  <a:pt x="1066" y="268"/>
                  <a:pt x="1066" y="268"/>
                  <a:pt x="1066" y="268"/>
                </a:cubicBezTo>
                <a:lnTo>
                  <a:pt x="1106" y="268"/>
                </a:lnTo>
                <a:close/>
                <a:moveTo>
                  <a:pt x="1692" y="232"/>
                </a:moveTo>
                <a:cubicBezTo>
                  <a:pt x="1692" y="126"/>
                  <a:pt x="1692" y="126"/>
                  <a:pt x="1692" y="126"/>
                </a:cubicBezTo>
                <a:cubicBezTo>
                  <a:pt x="1692" y="123"/>
                  <a:pt x="1690" y="121"/>
                  <a:pt x="1686" y="121"/>
                </a:cubicBezTo>
                <a:cubicBezTo>
                  <a:pt x="1651" y="121"/>
                  <a:pt x="1651" y="121"/>
                  <a:pt x="1651" y="121"/>
                </a:cubicBezTo>
                <a:cubicBezTo>
                  <a:pt x="1648" y="121"/>
                  <a:pt x="1646" y="123"/>
                  <a:pt x="1646" y="126"/>
                </a:cubicBezTo>
                <a:cubicBezTo>
                  <a:pt x="1646" y="149"/>
                  <a:pt x="1646" y="149"/>
                  <a:pt x="1646" y="149"/>
                </a:cubicBezTo>
                <a:cubicBezTo>
                  <a:pt x="1628" y="133"/>
                  <a:pt x="1607" y="121"/>
                  <a:pt x="1583" y="116"/>
                </a:cubicBezTo>
                <a:cubicBezTo>
                  <a:pt x="1580" y="115"/>
                  <a:pt x="1578" y="117"/>
                  <a:pt x="1578" y="120"/>
                </a:cubicBezTo>
                <a:cubicBezTo>
                  <a:pt x="1578" y="161"/>
                  <a:pt x="1578" y="161"/>
                  <a:pt x="1578" y="161"/>
                </a:cubicBezTo>
                <a:cubicBezTo>
                  <a:pt x="1578" y="163"/>
                  <a:pt x="1579" y="165"/>
                  <a:pt x="1581" y="165"/>
                </a:cubicBezTo>
                <a:cubicBezTo>
                  <a:pt x="1619" y="176"/>
                  <a:pt x="1648" y="213"/>
                  <a:pt x="1648" y="258"/>
                </a:cubicBezTo>
                <a:cubicBezTo>
                  <a:pt x="1648" y="311"/>
                  <a:pt x="1608" y="354"/>
                  <a:pt x="1558" y="354"/>
                </a:cubicBezTo>
                <a:cubicBezTo>
                  <a:pt x="1509" y="354"/>
                  <a:pt x="1469" y="311"/>
                  <a:pt x="1469" y="258"/>
                </a:cubicBezTo>
                <a:cubicBezTo>
                  <a:pt x="1469" y="214"/>
                  <a:pt x="1496" y="178"/>
                  <a:pt x="1533" y="166"/>
                </a:cubicBezTo>
                <a:cubicBezTo>
                  <a:pt x="1535" y="165"/>
                  <a:pt x="1536" y="164"/>
                  <a:pt x="1536" y="162"/>
                </a:cubicBezTo>
                <a:cubicBezTo>
                  <a:pt x="1536" y="120"/>
                  <a:pt x="1536" y="120"/>
                  <a:pt x="1536" y="120"/>
                </a:cubicBezTo>
                <a:cubicBezTo>
                  <a:pt x="1536" y="117"/>
                  <a:pt x="1534" y="115"/>
                  <a:pt x="1531" y="116"/>
                </a:cubicBezTo>
                <a:cubicBezTo>
                  <a:pt x="1469" y="128"/>
                  <a:pt x="1422" y="187"/>
                  <a:pt x="1422" y="257"/>
                </a:cubicBezTo>
                <a:cubicBezTo>
                  <a:pt x="1422" y="336"/>
                  <a:pt x="1482" y="400"/>
                  <a:pt x="1557" y="400"/>
                </a:cubicBezTo>
                <a:cubicBezTo>
                  <a:pt x="1591" y="400"/>
                  <a:pt x="1622" y="386"/>
                  <a:pt x="1646" y="364"/>
                </a:cubicBezTo>
                <a:cubicBezTo>
                  <a:pt x="1646" y="390"/>
                  <a:pt x="1646" y="390"/>
                  <a:pt x="1646" y="390"/>
                </a:cubicBezTo>
                <a:cubicBezTo>
                  <a:pt x="1646" y="393"/>
                  <a:pt x="1648" y="395"/>
                  <a:pt x="1651" y="395"/>
                </a:cubicBezTo>
                <a:cubicBezTo>
                  <a:pt x="1686" y="395"/>
                  <a:pt x="1686" y="395"/>
                  <a:pt x="1686" y="395"/>
                </a:cubicBezTo>
                <a:cubicBezTo>
                  <a:pt x="1690" y="395"/>
                  <a:pt x="1692" y="393"/>
                  <a:pt x="1692" y="390"/>
                </a:cubicBezTo>
                <a:cubicBezTo>
                  <a:pt x="1692" y="250"/>
                  <a:pt x="1692" y="250"/>
                  <a:pt x="1692" y="250"/>
                </a:cubicBezTo>
                <a:cubicBezTo>
                  <a:pt x="1692" y="247"/>
                  <a:pt x="1692" y="245"/>
                  <a:pt x="1692" y="242"/>
                </a:cubicBezTo>
                <a:cubicBezTo>
                  <a:pt x="1692" y="239"/>
                  <a:pt x="1692" y="235"/>
                  <a:pt x="1692" y="232"/>
                </a:cubicBezTo>
              </a:path>
            </a:pathLst>
          </a:custGeom>
          <a:solidFill>
            <a:srgbClr val="FF37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95294702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Lst>
  <p:transition>
    <p:fade/>
  </p:transition>
  <p:txStyles>
    <p:titleStyle>
      <a:lvl1pPr algn="l" defTabSz="1042512" rtl="0" eaLnBrk="1" latinLnBrk="0" hangingPunct="1">
        <a:lnSpc>
          <a:spcPct val="90000"/>
        </a:lnSpc>
        <a:spcBef>
          <a:spcPct val="0"/>
        </a:spcBef>
        <a:buNone/>
        <a:defRPr sz="2400" b="0" kern="1200">
          <a:solidFill>
            <a:schemeClr val="tx2"/>
          </a:solidFill>
          <a:latin typeface="+mj-lt"/>
          <a:ea typeface="+mj-ea"/>
          <a:cs typeface="+mj-cs"/>
        </a:defRPr>
      </a:lvl1pPr>
    </p:titleStyle>
    <p:bodyStyle>
      <a:lvl1pPr marL="0" indent="0" algn="l" defTabSz="1042512" rtl="0" eaLnBrk="1" latinLnBrk="0" hangingPunct="1">
        <a:lnSpc>
          <a:spcPct val="90000"/>
        </a:lnSpc>
        <a:spcBef>
          <a:spcPts val="0"/>
        </a:spcBef>
        <a:spcAft>
          <a:spcPts val="1027"/>
        </a:spcAft>
        <a:buFont typeface="Arial" panose="020B0604020202020204" pitchFamily="34" charset="0"/>
        <a:buNone/>
        <a:defRPr sz="1597" kern="1200">
          <a:solidFill>
            <a:schemeClr val="tx2"/>
          </a:solidFill>
          <a:latin typeface="+mn-lt"/>
          <a:ea typeface="+mn-ea"/>
          <a:cs typeface="+mn-cs"/>
        </a:defRPr>
      </a:lvl1pPr>
      <a:lvl2pPr marL="0" indent="0" algn="l" defTabSz="1042512" rtl="0" eaLnBrk="1" latinLnBrk="0" hangingPunct="1">
        <a:lnSpc>
          <a:spcPct val="90000"/>
        </a:lnSpc>
        <a:spcBef>
          <a:spcPts val="0"/>
        </a:spcBef>
        <a:spcAft>
          <a:spcPts val="1027"/>
        </a:spcAft>
        <a:buFont typeface="Arial" panose="020B0604020202020204" pitchFamily="34" charset="0"/>
        <a:buNone/>
        <a:defRPr sz="1597" b="1" kern="1200">
          <a:solidFill>
            <a:schemeClr val="tx2"/>
          </a:solidFill>
          <a:latin typeface="+mn-lt"/>
          <a:ea typeface="+mn-ea"/>
          <a:cs typeface="+mn-cs"/>
        </a:defRPr>
      </a:lvl2pPr>
      <a:lvl3pPr marL="0" indent="0" algn="l" defTabSz="1042512" rtl="0" eaLnBrk="1" latinLnBrk="0" hangingPunct="1">
        <a:lnSpc>
          <a:spcPct val="90000"/>
        </a:lnSpc>
        <a:spcBef>
          <a:spcPts val="0"/>
        </a:spcBef>
        <a:spcAft>
          <a:spcPts val="1027"/>
        </a:spcAft>
        <a:buFont typeface="Arial" panose="020B0604020202020204" pitchFamily="34" charset="0"/>
        <a:buNone/>
        <a:defRPr sz="1597" kern="1200">
          <a:solidFill>
            <a:schemeClr val="accent5"/>
          </a:solidFill>
          <a:latin typeface="+mn-lt"/>
          <a:ea typeface="+mn-ea"/>
          <a:cs typeface="+mn-cs"/>
        </a:defRPr>
      </a:lvl3pPr>
      <a:lvl4pPr marL="290427" indent="-290427" algn="l" defTabSz="1042512" rtl="0" eaLnBrk="1" latinLnBrk="0" hangingPunct="1">
        <a:lnSpc>
          <a:spcPct val="90000"/>
        </a:lnSpc>
        <a:spcBef>
          <a:spcPts val="0"/>
        </a:spcBef>
        <a:spcAft>
          <a:spcPts val="684"/>
        </a:spcAft>
        <a:buClr>
          <a:schemeClr val="accent5"/>
        </a:buClr>
        <a:buFont typeface="Arial" panose="020B0604020202020204" pitchFamily="34" charset="0"/>
        <a:buChar char="•"/>
        <a:defRPr sz="1400" kern="1200">
          <a:solidFill>
            <a:schemeClr val="tx2"/>
          </a:solidFill>
          <a:latin typeface="+mn-lt"/>
          <a:ea typeface="+mn-ea"/>
          <a:cs typeface="+mn-cs"/>
        </a:defRPr>
      </a:lvl4pPr>
      <a:lvl5pPr marL="580854" indent="-290427" algn="l" defTabSz="1042512" rtl="0" eaLnBrk="1" latinLnBrk="0" hangingPunct="1">
        <a:lnSpc>
          <a:spcPct val="90000"/>
        </a:lnSpc>
        <a:spcBef>
          <a:spcPts val="0"/>
        </a:spcBef>
        <a:spcAft>
          <a:spcPts val="684"/>
        </a:spcAft>
        <a:buClr>
          <a:schemeClr val="accent5"/>
        </a:buClr>
        <a:buFont typeface="Arial" panose="020B0604020202020204" pitchFamily="34" charset="0"/>
        <a:buChar char="•"/>
        <a:defRPr sz="1400" kern="1200">
          <a:solidFill>
            <a:schemeClr val="tx2"/>
          </a:solidFill>
          <a:latin typeface="+mn-lt"/>
          <a:ea typeface="+mn-ea"/>
          <a:cs typeface="+mn-cs"/>
        </a:defRPr>
      </a:lvl5pPr>
      <a:lvl6pPr marL="871281" indent="-290427" algn="l" defTabSz="1042512" rtl="0" eaLnBrk="1" latinLnBrk="0" hangingPunct="1">
        <a:lnSpc>
          <a:spcPct val="90000"/>
        </a:lnSpc>
        <a:spcBef>
          <a:spcPts val="0"/>
        </a:spcBef>
        <a:spcAft>
          <a:spcPts val="684"/>
        </a:spcAft>
        <a:buClr>
          <a:schemeClr val="accent5"/>
        </a:buClr>
        <a:buFont typeface="Arial" panose="020B0604020202020204" pitchFamily="34" charset="0"/>
        <a:buChar char="•"/>
        <a:defRPr sz="1400" kern="1200">
          <a:solidFill>
            <a:schemeClr val="tx2"/>
          </a:solidFill>
          <a:latin typeface="+mn-lt"/>
          <a:ea typeface="+mn-ea"/>
          <a:cs typeface="+mn-cs"/>
        </a:defRPr>
      </a:lvl6pPr>
      <a:lvl7pPr marL="1161708" indent="-290427" algn="l" defTabSz="1042512" rtl="0" eaLnBrk="1" latinLnBrk="0" hangingPunct="1">
        <a:lnSpc>
          <a:spcPct val="90000"/>
        </a:lnSpc>
        <a:spcBef>
          <a:spcPts val="0"/>
        </a:spcBef>
        <a:spcAft>
          <a:spcPts val="684"/>
        </a:spcAft>
        <a:buClr>
          <a:schemeClr val="accent5"/>
        </a:buClr>
        <a:buFont typeface="Arial" panose="020B0604020202020204" pitchFamily="34" charset="0"/>
        <a:buChar char="•"/>
        <a:defRPr sz="1400" kern="1200">
          <a:solidFill>
            <a:schemeClr val="tx2"/>
          </a:solidFill>
          <a:latin typeface="+mn-lt"/>
          <a:ea typeface="+mn-ea"/>
          <a:cs typeface="+mn-cs"/>
        </a:defRPr>
      </a:lvl7pPr>
      <a:lvl8pPr marL="1452133" indent="-290427" algn="l" defTabSz="1042512" rtl="0" eaLnBrk="1" latinLnBrk="0" hangingPunct="1">
        <a:lnSpc>
          <a:spcPct val="90000"/>
        </a:lnSpc>
        <a:spcBef>
          <a:spcPts val="0"/>
        </a:spcBef>
        <a:spcAft>
          <a:spcPts val="684"/>
        </a:spcAft>
        <a:buClr>
          <a:schemeClr val="accent5"/>
        </a:buClr>
        <a:buFont typeface="Arial" panose="020B0604020202020204" pitchFamily="34" charset="0"/>
        <a:buChar char="•"/>
        <a:defRPr sz="1400" kern="1200">
          <a:solidFill>
            <a:schemeClr val="tx2"/>
          </a:solidFill>
          <a:latin typeface="+mn-lt"/>
          <a:ea typeface="+mn-ea"/>
          <a:cs typeface="+mn-cs"/>
        </a:defRPr>
      </a:lvl8pPr>
      <a:lvl9pPr marL="1742562" indent="-290427" algn="l" defTabSz="1042512" rtl="0" eaLnBrk="1" latinLnBrk="0" hangingPunct="1">
        <a:lnSpc>
          <a:spcPct val="90000"/>
        </a:lnSpc>
        <a:spcBef>
          <a:spcPts val="0"/>
        </a:spcBef>
        <a:spcAft>
          <a:spcPts val="684"/>
        </a:spcAft>
        <a:buClr>
          <a:schemeClr val="accent5"/>
        </a:buClr>
        <a:buFont typeface="Arial" panose="020B0604020202020204" pitchFamily="34" charset="0"/>
        <a:buChar char="•"/>
        <a:defRPr sz="1400" kern="1200">
          <a:solidFill>
            <a:schemeClr val="tx2"/>
          </a:solidFill>
          <a:latin typeface="+mn-lt"/>
          <a:ea typeface="+mn-ea"/>
          <a:cs typeface="+mn-cs"/>
        </a:defRPr>
      </a:lvl9pPr>
    </p:bodyStyle>
    <p:otherStyle>
      <a:defPPr>
        <a:defRPr lang="en-US"/>
      </a:defPPr>
      <a:lvl1pPr marL="0" algn="l" defTabSz="1042512" rtl="0" eaLnBrk="1" latinLnBrk="0" hangingPunct="1">
        <a:defRPr sz="2052" kern="1200">
          <a:solidFill>
            <a:schemeClr val="tx1"/>
          </a:solidFill>
          <a:latin typeface="+mn-lt"/>
          <a:ea typeface="+mn-ea"/>
          <a:cs typeface="+mn-cs"/>
        </a:defRPr>
      </a:lvl1pPr>
      <a:lvl2pPr marL="521258" algn="l" defTabSz="1042512" rtl="0" eaLnBrk="1" latinLnBrk="0" hangingPunct="1">
        <a:defRPr sz="2052" kern="1200">
          <a:solidFill>
            <a:schemeClr val="tx1"/>
          </a:solidFill>
          <a:latin typeface="+mn-lt"/>
          <a:ea typeface="+mn-ea"/>
          <a:cs typeface="+mn-cs"/>
        </a:defRPr>
      </a:lvl2pPr>
      <a:lvl3pPr marL="1042512" algn="l" defTabSz="1042512" rtl="0" eaLnBrk="1" latinLnBrk="0" hangingPunct="1">
        <a:defRPr sz="2052" kern="1200">
          <a:solidFill>
            <a:schemeClr val="tx1"/>
          </a:solidFill>
          <a:latin typeface="+mn-lt"/>
          <a:ea typeface="+mn-ea"/>
          <a:cs typeface="+mn-cs"/>
        </a:defRPr>
      </a:lvl3pPr>
      <a:lvl4pPr marL="1563773" algn="l" defTabSz="1042512" rtl="0" eaLnBrk="1" latinLnBrk="0" hangingPunct="1">
        <a:defRPr sz="2052" kern="1200">
          <a:solidFill>
            <a:schemeClr val="tx1"/>
          </a:solidFill>
          <a:latin typeface="+mn-lt"/>
          <a:ea typeface="+mn-ea"/>
          <a:cs typeface="+mn-cs"/>
        </a:defRPr>
      </a:lvl4pPr>
      <a:lvl5pPr marL="2085031" algn="l" defTabSz="1042512" rtl="0" eaLnBrk="1" latinLnBrk="0" hangingPunct="1">
        <a:defRPr sz="2052" kern="1200">
          <a:solidFill>
            <a:schemeClr val="tx1"/>
          </a:solidFill>
          <a:latin typeface="+mn-lt"/>
          <a:ea typeface="+mn-ea"/>
          <a:cs typeface="+mn-cs"/>
        </a:defRPr>
      </a:lvl5pPr>
      <a:lvl6pPr marL="2606285" algn="l" defTabSz="1042512" rtl="0" eaLnBrk="1" latinLnBrk="0" hangingPunct="1">
        <a:defRPr sz="2052" kern="1200">
          <a:solidFill>
            <a:schemeClr val="tx1"/>
          </a:solidFill>
          <a:latin typeface="+mn-lt"/>
          <a:ea typeface="+mn-ea"/>
          <a:cs typeface="+mn-cs"/>
        </a:defRPr>
      </a:lvl6pPr>
      <a:lvl7pPr marL="3127543" algn="l" defTabSz="1042512" rtl="0" eaLnBrk="1" latinLnBrk="0" hangingPunct="1">
        <a:defRPr sz="2052" kern="1200">
          <a:solidFill>
            <a:schemeClr val="tx1"/>
          </a:solidFill>
          <a:latin typeface="+mn-lt"/>
          <a:ea typeface="+mn-ea"/>
          <a:cs typeface="+mn-cs"/>
        </a:defRPr>
      </a:lvl7pPr>
      <a:lvl8pPr marL="3648803" algn="l" defTabSz="1042512" rtl="0" eaLnBrk="1" latinLnBrk="0" hangingPunct="1">
        <a:defRPr sz="2052" kern="1200">
          <a:solidFill>
            <a:schemeClr val="tx1"/>
          </a:solidFill>
          <a:latin typeface="+mn-lt"/>
          <a:ea typeface="+mn-ea"/>
          <a:cs typeface="+mn-cs"/>
        </a:defRPr>
      </a:lvl8pPr>
      <a:lvl9pPr marL="4170060" algn="l" defTabSz="1042512" rtl="0" eaLnBrk="1" latinLnBrk="0" hangingPunct="1">
        <a:defRPr sz="205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1">
          <p15:clr>
            <a:srgbClr val="F26B43"/>
          </p15:clr>
        </p15:guide>
        <p15:guide id="2" pos="3840">
          <p15:clr>
            <a:srgbClr val="F26B43"/>
          </p15:clr>
        </p15:guide>
        <p15:guide id="3" pos="260">
          <p15:clr>
            <a:srgbClr val="F26B43"/>
          </p15:clr>
        </p15:guide>
        <p15:guide id="4" pos="7420">
          <p15:clr>
            <a:srgbClr val="F26B43"/>
          </p15:clr>
        </p15:guide>
        <p15:guide id="5" orient="horz" pos="259">
          <p15:clr>
            <a:srgbClr val="F26B43"/>
          </p15:clr>
        </p15:guide>
        <p15:guide id="6" orient="horz" pos="958">
          <p15:clr>
            <a:srgbClr val="F26B43"/>
          </p15:clr>
        </p15:guide>
        <p15:guide id="7" orient="horz" pos="3989">
          <p15:clr>
            <a:srgbClr val="F26B43"/>
          </p15:clr>
        </p15:guide>
        <p15:guide id="8" orient="horz" pos="3790">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0878" y="512498"/>
            <a:ext cx="11368018" cy="776038"/>
          </a:xfrm>
          <a:prstGeom prst="rect">
            <a:avLst/>
          </a:prstGeom>
        </p:spPr>
        <p:txBody>
          <a:bodyPr vert="horz" lIns="0" tIns="0" rIns="0" bIns="0" rtlCol="0" anchor="t" anchorCtr="0">
            <a:noAutofit/>
          </a:bodyPr>
          <a:lstStyle/>
          <a:p>
            <a:r>
              <a:rPr lang="en-US" noProof="0"/>
              <a:t>Click to edit Master title style</a:t>
            </a:r>
          </a:p>
        </p:txBody>
      </p:sp>
      <p:sp>
        <p:nvSpPr>
          <p:cNvPr id="3" name="Text Placeholder 2"/>
          <p:cNvSpPr>
            <a:spLocks noGrp="1"/>
          </p:cNvSpPr>
          <p:nvPr>
            <p:ph type="body" idx="1"/>
          </p:nvPr>
        </p:nvSpPr>
        <p:spPr>
          <a:xfrm>
            <a:off x="410878" y="1521182"/>
            <a:ext cx="11368018" cy="4517348"/>
          </a:xfrm>
          <a:prstGeom prst="rect">
            <a:avLst/>
          </a:prstGeom>
        </p:spPr>
        <p:txBody>
          <a:bodyPr vert="horz" lIns="0" tIns="0" rIns="0" bIns="0" rtlCol="0" anchor="t" anchorCtr="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th level</a:t>
            </a:r>
          </a:p>
        </p:txBody>
      </p:sp>
      <p:sp>
        <p:nvSpPr>
          <p:cNvPr id="4" name="Date Placeholder 3"/>
          <p:cNvSpPr>
            <a:spLocks noGrp="1"/>
          </p:cNvSpPr>
          <p:nvPr>
            <p:ph type="dt" sz="half" idx="2"/>
          </p:nvPr>
        </p:nvSpPr>
        <p:spPr>
          <a:xfrm>
            <a:off x="6096909" y="6332830"/>
            <a:ext cx="1194867" cy="273450"/>
          </a:xfrm>
          <a:prstGeom prst="rect">
            <a:avLst/>
          </a:prstGeom>
        </p:spPr>
        <p:txBody>
          <a:bodyPr vert="horz" lIns="0" tIns="0" rIns="0" bIns="0" rtlCol="0" anchor="t" anchorCtr="0">
            <a:noAutofit/>
          </a:bodyPr>
          <a:lstStyle>
            <a:lvl1pPr algn="l">
              <a:defRPr sz="1100">
                <a:solidFill>
                  <a:schemeClr val="accent5"/>
                </a:solidFill>
              </a:defRPr>
            </a:lvl1pPr>
          </a:lstStyle>
          <a:p>
            <a:endParaRPr lang="en-US" noProof="0"/>
          </a:p>
        </p:txBody>
      </p:sp>
      <p:sp>
        <p:nvSpPr>
          <p:cNvPr id="5" name="Footer Placeholder 4"/>
          <p:cNvSpPr>
            <a:spLocks noGrp="1"/>
          </p:cNvSpPr>
          <p:nvPr>
            <p:ph type="ftr" sz="quarter" idx="3"/>
          </p:nvPr>
        </p:nvSpPr>
        <p:spPr>
          <a:xfrm>
            <a:off x="920368" y="6332830"/>
            <a:ext cx="3629317" cy="273450"/>
          </a:xfrm>
          <a:prstGeom prst="rect">
            <a:avLst/>
          </a:prstGeom>
        </p:spPr>
        <p:txBody>
          <a:bodyPr vert="horz" lIns="0" tIns="0" rIns="0" bIns="0" rtlCol="0" anchor="t" anchorCtr="0">
            <a:noAutofit/>
          </a:bodyPr>
          <a:lstStyle>
            <a:lvl1pPr algn="l">
              <a:defRPr sz="1100">
                <a:solidFill>
                  <a:schemeClr val="accent5"/>
                </a:solidFill>
              </a:defRPr>
            </a:lvl1pPr>
          </a:lstStyle>
          <a:p>
            <a:r>
              <a:rPr lang="en-US" noProof="0"/>
              <a:t>Footer (Insert &gt; Header &amp; Footer to edit)</a:t>
            </a:r>
          </a:p>
        </p:txBody>
      </p:sp>
      <p:sp>
        <p:nvSpPr>
          <p:cNvPr id="6" name="Slide Number Placeholder 5"/>
          <p:cNvSpPr>
            <a:spLocks noGrp="1"/>
          </p:cNvSpPr>
          <p:nvPr>
            <p:ph type="sldNum" sz="quarter" idx="4"/>
          </p:nvPr>
        </p:nvSpPr>
        <p:spPr>
          <a:xfrm>
            <a:off x="410881" y="6332830"/>
            <a:ext cx="507262" cy="273450"/>
          </a:xfrm>
          <a:prstGeom prst="rect">
            <a:avLst/>
          </a:prstGeom>
        </p:spPr>
        <p:txBody>
          <a:bodyPr vert="horz" lIns="0" tIns="0" rIns="0" bIns="0" rtlCol="0" anchor="t" anchorCtr="0">
            <a:noAutofit/>
          </a:bodyPr>
          <a:lstStyle>
            <a:lvl1pPr algn="l">
              <a:defRPr sz="1100">
                <a:solidFill>
                  <a:schemeClr val="accent5"/>
                </a:solidFill>
              </a:defRPr>
            </a:lvl1pPr>
          </a:lstStyle>
          <a:p>
            <a:fld id="{32B354EE-31EA-4FC2-9496-7B6202183237}" type="slidenum">
              <a:rPr lang="en-US" noProof="0" smtClean="0"/>
              <a:pPr/>
              <a:t>‹#›</a:t>
            </a:fld>
            <a:endParaRPr lang="en-US" noProof="0"/>
          </a:p>
        </p:txBody>
      </p:sp>
    </p:spTree>
    <p:extLst>
      <p:ext uri="{BB962C8B-B14F-4D97-AF65-F5344CB8AC3E}">
        <p14:creationId xmlns:p14="http://schemas.microsoft.com/office/powerpoint/2010/main" val="2148625683"/>
      </p:ext>
    </p:extLst>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 id="2147483896" r:id="rId4"/>
    <p:sldLayoutId id="2147483897" r:id="rId5"/>
    <p:sldLayoutId id="2147483898" r:id="rId6"/>
    <p:sldLayoutId id="2147483899" r:id="rId7"/>
    <p:sldLayoutId id="2147483900" r:id="rId8"/>
    <p:sldLayoutId id="2147483901" r:id="rId9"/>
    <p:sldLayoutId id="2147483902" r:id="rId10"/>
    <p:sldLayoutId id="2147483903" r:id="rId11"/>
    <p:sldLayoutId id="2147483904" r:id="rId12"/>
    <p:sldLayoutId id="2147483905" r:id="rId13"/>
    <p:sldLayoutId id="2147483906" r:id="rId14"/>
    <p:sldLayoutId id="2147483907" r:id="rId15"/>
    <p:sldLayoutId id="2147483908" r:id="rId16"/>
    <p:sldLayoutId id="2147483909" r:id="rId17"/>
    <p:sldLayoutId id="2147483910" r:id="rId18"/>
    <p:sldLayoutId id="2147483911" r:id="rId19"/>
    <p:sldLayoutId id="2147483912" r:id="rId20"/>
  </p:sldLayoutIdLst>
  <p:transition>
    <p:fade/>
  </p:transition>
  <p:hf hdr="0" dt="0"/>
  <p:txStyles>
    <p:titleStyle>
      <a:lvl1pPr algn="l" defTabSz="913923"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3923" rtl="0" eaLnBrk="1" latinLnBrk="0" hangingPunct="1">
        <a:lnSpc>
          <a:spcPct val="90000"/>
        </a:lnSpc>
        <a:spcBef>
          <a:spcPts val="0"/>
        </a:spcBef>
        <a:spcAft>
          <a:spcPts val="900"/>
        </a:spcAft>
        <a:buFont typeface="Arial" panose="020B0604020202020204" pitchFamily="34" charset="0"/>
        <a:buNone/>
        <a:defRPr sz="1800" kern="1200">
          <a:solidFill>
            <a:schemeClr val="tx2"/>
          </a:solidFill>
          <a:latin typeface="+mn-lt"/>
          <a:ea typeface="+mn-ea"/>
          <a:cs typeface="+mn-cs"/>
        </a:defRPr>
      </a:lvl1pPr>
      <a:lvl2pPr marL="0" indent="0" algn="l" defTabSz="913923" rtl="0" eaLnBrk="1" latinLnBrk="0" hangingPunct="1">
        <a:lnSpc>
          <a:spcPct val="90000"/>
        </a:lnSpc>
        <a:spcBef>
          <a:spcPts val="0"/>
        </a:spcBef>
        <a:spcAft>
          <a:spcPts val="900"/>
        </a:spcAft>
        <a:buFont typeface="Arial" panose="020B0604020202020204" pitchFamily="34" charset="0"/>
        <a:buNone/>
        <a:defRPr sz="1800" b="1" kern="1200">
          <a:solidFill>
            <a:schemeClr val="tx2"/>
          </a:solidFill>
          <a:latin typeface="+mn-lt"/>
          <a:ea typeface="+mn-ea"/>
          <a:cs typeface="+mn-cs"/>
        </a:defRPr>
      </a:lvl2pPr>
      <a:lvl3pPr marL="0" indent="0" algn="l" defTabSz="913923" rtl="0" eaLnBrk="1" latinLnBrk="0" hangingPunct="1">
        <a:lnSpc>
          <a:spcPct val="90000"/>
        </a:lnSpc>
        <a:spcBef>
          <a:spcPts val="0"/>
        </a:spcBef>
        <a:spcAft>
          <a:spcPts val="900"/>
        </a:spcAft>
        <a:buFont typeface="Arial" panose="020B0604020202020204" pitchFamily="34" charset="0"/>
        <a:buNone/>
        <a:defRPr sz="1800" kern="1200">
          <a:solidFill>
            <a:schemeClr val="accent3"/>
          </a:solidFill>
          <a:latin typeface="+mn-lt"/>
          <a:ea typeface="+mn-ea"/>
          <a:cs typeface="+mn-cs"/>
        </a:defRPr>
      </a:lvl3pPr>
      <a:lvl4pPr marL="254604" indent="-254604" algn="l" defTabSz="913923" rtl="0" eaLnBrk="1" latinLnBrk="0" hangingPunct="1">
        <a:lnSpc>
          <a:spcPct val="90000"/>
        </a:lnSpc>
        <a:spcBef>
          <a:spcPts val="0"/>
        </a:spcBef>
        <a:spcAft>
          <a:spcPts val="900"/>
        </a:spcAft>
        <a:buClr>
          <a:schemeClr val="accent3"/>
        </a:buClr>
        <a:buFont typeface="Arial" panose="020B0604020202020204" pitchFamily="34" charset="0"/>
        <a:buChar char="•"/>
        <a:defRPr sz="1800" kern="1200">
          <a:solidFill>
            <a:schemeClr val="tx2"/>
          </a:solidFill>
          <a:latin typeface="+mn-lt"/>
          <a:ea typeface="+mn-ea"/>
          <a:cs typeface="+mn-cs"/>
        </a:defRPr>
      </a:lvl4pPr>
      <a:lvl5pPr marL="509208" indent="-254604" algn="l" defTabSz="913923" rtl="0" eaLnBrk="1" latinLnBrk="0" hangingPunct="1">
        <a:lnSpc>
          <a:spcPct val="90000"/>
        </a:lnSpc>
        <a:spcBef>
          <a:spcPts val="0"/>
        </a:spcBef>
        <a:spcAft>
          <a:spcPts val="900"/>
        </a:spcAft>
        <a:buClr>
          <a:schemeClr val="accent3"/>
        </a:buClr>
        <a:buFont typeface="Arial" panose="020B0604020202020204" pitchFamily="34" charset="0"/>
        <a:buChar char="•"/>
        <a:defRPr sz="1800" kern="1200">
          <a:solidFill>
            <a:schemeClr val="tx2"/>
          </a:solidFill>
          <a:latin typeface="+mn-lt"/>
          <a:ea typeface="+mn-ea"/>
          <a:cs typeface="+mn-cs"/>
        </a:defRPr>
      </a:lvl5pPr>
      <a:lvl6pPr marL="763813" indent="-254604" algn="l" defTabSz="913923" rtl="0" eaLnBrk="1" latinLnBrk="0" hangingPunct="1">
        <a:lnSpc>
          <a:spcPct val="90000"/>
        </a:lnSpc>
        <a:spcBef>
          <a:spcPts val="0"/>
        </a:spcBef>
        <a:spcAft>
          <a:spcPts val="900"/>
        </a:spcAft>
        <a:buClr>
          <a:schemeClr val="accent3"/>
        </a:buClr>
        <a:buFont typeface="Arial" panose="020B0604020202020204" pitchFamily="34" charset="0"/>
        <a:buChar char="•"/>
        <a:defRPr sz="1800" kern="1200">
          <a:solidFill>
            <a:schemeClr val="tx2"/>
          </a:solidFill>
          <a:latin typeface="+mn-lt"/>
          <a:ea typeface="+mn-ea"/>
          <a:cs typeface="+mn-cs"/>
        </a:defRPr>
      </a:lvl6pPr>
      <a:lvl7pPr marL="1018417" indent="-254604" algn="l" defTabSz="913923" rtl="0" eaLnBrk="1" latinLnBrk="0" hangingPunct="1">
        <a:lnSpc>
          <a:spcPct val="90000"/>
        </a:lnSpc>
        <a:spcBef>
          <a:spcPts val="0"/>
        </a:spcBef>
        <a:spcAft>
          <a:spcPts val="900"/>
        </a:spcAft>
        <a:buClr>
          <a:schemeClr val="accent3"/>
        </a:buClr>
        <a:buFont typeface="Arial" panose="020B0604020202020204" pitchFamily="34" charset="0"/>
        <a:buChar char="•"/>
        <a:defRPr sz="1800" kern="1200">
          <a:solidFill>
            <a:schemeClr val="tx2"/>
          </a:solidFill>
          <a:latin typeface="+mn-lt"/>
          <a:ea typeface="+mn-ea"/>
          <a:cs typeface="+mn-cs"/>
        </a:defRPr>
      </a:lvl7pPr>
      <a:lvl8pPr marL="1273019" indent="-254604" algn="l" defTabSz="913923" rtl="0" eaLnBrk="1" latinLnBrk="0" hangingPunct="1">
        <a:lnSpc>
          <a:spcPct val="90000"/>
        </a:lnSpc>
        <a:spcBef>
          <a:spcPts val="0"/>
        </a:spcBef>
        <a:spcAft>
          <a:spcPts val="900"/>
        </a:spcAft>
        <a:buClr>
          <a:schemeClr val="accent3"/>
        </a:buClr>
        <a:buFont typeface="Arial" panose="020B0604020202020204" pitchFamily="34" charset="0"/>
        <a:buChar char="•"/>
        <a:defRPr sz="1800" kern="1200">
          <a:solidFill>
            <a:schemeClr val="tx2"/>
          </a:solidFill>
          <a:latin typeface="+mn-lt"/>
          <a:ea typeface="+mn-ea"/>
          <a:cs typeface="+mn-cs"/>
        </a:defRPr>
      </a:lvl8pPr>
      <a:lvl9pPr marL="1527625" indent="-254604" algn="l" defTabSz="913923" rtl="0" eaLnBrk="1" latinLnBrk="0" hangingPunct="1">
        <a:lnSpc>
          <a:spcPct val="90000"/>
        </a:lnSpc>
        <a:spcBef>
          <a:spcPts val="0"/>
        </a:spcBef>
        <a:spcAft>
          <a:spcPts val="900"/>
        </a:spcAft>
        <a:buClr>
          <a:schemeClr val="accent3"/>
        </a:buClr>
        <a:buFont typeface="Arial" panose="020B0604020202020204" pitchFamily="34" charset="0"/>
        <a:buChar char="•"/>
        <a:defRPr sz="1800" kern="1200">
          <a:solidFill>
            <a:schemeClr val="tx2"/>
          </a:solidFill>
          <a:latin typeface="+mn-lt"/>
          <a:ea typeface="+mn-ea"/>
          <a:cs typeface="+mn-cs"/>
        </a:defRPr>
      </a:lvl9pPr>
    </p:bodyStyle>
    <p:otherStyle>
      <a:defPPr>
        <a:defRPr lang="en-US"/>
      </a:defPPr>
      <a:lvl1pPr marL="0" algn="l" defTabSz="913923" rtl="0" eaLnBrk="1" latinLnBrk="0" hangingPunct="1">
        <a:defRPr sz="1799" kern="1200">
          <a:solidFill>
            <a:schemeClr val="tx1"/>
          </a:solidFill>
          <a:latin typeface="+mn-lt"/>
          <a:ea typeface="+mn-ea"/>
          <a:cs typeface="+mn-cs"/>
        </a:defRPr>
      </a:lvl1pPr>
      <a:lvl2pPr marL="456963" algn="l" defTabSz="913923" rtl="0" eaLnBrk="1" latinLnBrk="0" hangingPunct="1">
        <a:defRPr sz="1799" kern="1200">
          <a:solidFill>
            <a:schemeClr val="tx1"/>
          </a:solidFill>
          <a:latin typeface="+mn-lt"/>
          <a:ea typeface="+mn-ea"/>
          <a:cs typeface="+mn-cs"/>
        </a:defRPr>
      </a:lvl2pPr>
      <a:lvl3pPr marL="913923" algn="l" defTabSz="913923" rtl="0" eaLnBrk="1" latinLnBrk="0" hangingPunct="1">
        <a:defRPr sz="1799" kern="1200">
          <a:solidFill>
            <a:schemeClr val="tx1"/>
          </a:solidFill>
          <a:latin typeface="+mn-lt"/>
          <a:ea typeface="+mn-ea"/>
          <a:cs typeface="+mn-cs"/>
        </a:defRPr>
      </a:lvl3pPr>
      <a:lvl4pPr marL="1370889" algn="l" defTabSz="913923" rtl="0" eaLnBrk="1" latinLnBrk="0" hangingPunct="1">
        <a:defRPr sz="1799" kern="1200">
          <a:solidFill>
            <a:schemeClr val="tx1"/>
          </a:solidFill>
          <a:latin typeface="+mn-lt"/>
          <a:ea typeface="+mn-ea"/>
          <a:cs typeface="+mn-cs"/>
        </a:defRPr>
      </a:lvl4pPr>
      <a:lvl5pPr marL="1827852" algn="l" defTabSz="913923" rtl="0" eaLnBrk="1" latinLnBrk="0" hangingPunct="1">
        <a:defRPr sz="1799" kern="1200">
          <a:solidFill>
            <a:schemeClr val="tx1"/>
          </a:solidFill>
          <a:latin typeface="+mn-lt"/>
          <a:ea typeface="+mn-ea"/>
          <a:cs typeface="+mn-cs"/>
        </a:defRPr>
      </a:lvl5pPr>
      <a:lvl6pPr marL="2284812" algn="l" defTabSz="913923" rtl="0" eaLnBrk="1" latinLnBrk="0" hangingPunct="1">
        <a:defRPr sz="1799" kern="1200">
          <a:solidFill>
            <a:schemeClr val="tx1"/>
          </a:solidFill>
          <a:latin typeface="+mn-lt"/>
          <a:ea typeface="+mn-ea"/>
          <a:cs typeface="+mn-cs"/>
        </a:defRPr>
      </a:lvl6pPr>
      <a:lvl7pPr marL="2741775" algn="l" defTabSz="913923" rtl="0" eaLnBrk="1" latinLnBrk="0" hangingPunct="1">
        <a:defRPr sz="1799" kern="1200">
          <a:solidFill>
            <a:schemeClr val="tx1"/>
          </a:solidFill>
          <a:latin typeface="+mn-lt"/>
          <a:ea typeface="+mn-ea"/>
          <a:cs typeface="+mn-cs"/>
        </a:defRPr>
      </a:lvl7pPr>
      <a:lvl8pPr marL="3198740" algn="l" defTabSz="913923" rtl="0" eaLnBrk="1" latinLnBrk="0" hangingPunct="1">
        <a:defRPr sz="1799" kern="1200">
          <a:solidFill>
            <a:schemeClr val="tx1"/>
          </a:solidFill>
          <a:latin typeface="+mn-lt"/>
          <a:ea typeface="+mn-ea"/>
          <a:cs typeface="+mn-cs"/>
        </a:defRPr>
      </a:lvl8pPr>
      <a:lvl9pPr marL="3655703" algn="l" defTabSz="91392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1">
          <p15:clr>
            <a:srgbClr val="F26B43"/>
          </p15:clr>
        </p15:guide>
        <p15:guide id="2" pos="3841">
          <p15:clr>
            <a:srgbClr val="F26B43"/>
          </p15:clr>
        </p15:guide>
        <p15:guide id="3" pos="260">
          <p15:clr>
            <a:srgbClr val="F26B43"/>
          </p15:clr>
        </p15:guide>
        <p15:guide id="4" pos="7420">
          <p15:clr>
            <a:srgbClr val="F26B43"/>
          </p15:clr>
        </p15:guide>
        <p15:guide id="5" orient="horz" pos="323">
          <p15:clr>
            <a:srgbClr val="F26B43"/>
          </p15:clr>
        </p15:guide>
        <p15:guide id="6" orient="horz" pos="958">
          <p15:clr>
            <a:srgbClr val="F26B43"/>
          </p15:clr>
        </p15:guide>
        <p15:guide id="7" orient="horz" pos="3989">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0879" y="410669"/>
            <a:ext cx="11368018" cy="776038"/>
          </a:xfrm>
          <a:prstGeom prst="rect">
            <a:avLst/>
          </a:prstGeom>
        </p:spPr>
        <p:txBody>
          <a:bodyPr vert="horz" lIns="0" tIns="0" rIns="0" bIns="0" rtlCol="0" anchor="t" anchorCtr="0">
            <a:noAutofit/>
          </a:bodyPr>
          <a:lstStyle/>
          <a:p>
            <a:r>
              <a:rPr lang="en-US" noProof="0"/>
              <a:t>Click to edit Master title style</a:t>
            </a:r>
          </a:p>
        </p:txBody>
      </p:sp>
      <p:sp>
        <p:nvSpPr>
          <p:cNvPr id="3" name="Text Placeholder 2"/>
          <p:cNvSpPr>
            <a:spLocks noGrp="1"/>
          </p:cNvSpPr>
          <p:nvPr>
            <p:ph type="body" idx="1"/>
          </p:nvPr>
        </p:nvSpPr>
        <p:spPr>
          <a:xfrm>
            <a:off x="410879" y="1521182"/>
            <a:ext cx="11368018" cy="4494734"/>
          </a:xfrm>
          <a:prstGeom prst="rect">
            <a:avLst/>
          </a:prstGeom>
        </p:spPr>
        <p:txBody>
          <a:bodyPr vert="horz" lIns="0" tIns="0" rIns="0" bIns="0" rtlCol="0" anchor="t" anchorCtr="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Date Placeholder 3"/>
          <p:cNvSpPr>
            <a:spLocks noGrp="1"/>
          </p:cNvSpPr>
          <p:nvPr>
            <p:ph type="dt" sz="half" idx="2"/>
          </p:nvPr>
        </p:nvSpPr>
        <p:spPr>
          <a:xfrm>
            <a:off x="6096910" y="6332830"/>
            <a:ext cx="1194866" cy="273450"/>
          </a:xfrm>
          <a:prstGeom prst="rect">
            <a:avLst/>
          </a:prstGeom>
        </p:spPr>
        <p:txBody>
          <a:bodyPr vert="horz" lIns="0" tIns="0" rIns="0" bIns="0" rtlCol="0" anchor="t" anchorCtr="0">
            <a:noAutofit/>
          </a:bodyPr>
          <a:lstStyle>
            <a:lvl1pPr algn="l">
              <a:defRPr sz="1100">
                <a:solidFill>
                  <a:schemeClr val="accent5"/>
                </a:solidFill>
              </a:defRPr>
            </a:lvl1pPr>
          </a:lstStyle>
          <a:p>
            <a:endParaRPr lang="en-US" dirty="0"/>
          </a:p>
        </p:txBody>
      </p:sp>
      <p:sp>
        <p:nvSpPr>
          <p:cNvPr id="5" name="Footer Placeholder 4"/>
          <p:cNvSpPr>
            <a:spLocks noGrp="1"/>
          </p:cNvSpPr>
          <p:nvPr>
            <p:ph type="ftr" sz="quarter" idx="3"/>
          </p:nvPr>
        </p:nvSpPr>
        <p:spPr>
          <a:xfrm>
            <a:off x="920368" y="6332830"/>
            <a:ext cx="4784400" cy="273450"/>
          </a:xfrm>
          <a:prstGeom prst="rect">
            <a:avLst/>
          </a:prstGeom>
        </p:spPr>
        <p:txBody>
          <a:bodyPr vert="horz" lIns="0" tIns="0" rIns="0" bIns="0" rtlCol="0" anchor="t" anchorCtr="0">
            <a:noAutofit/>
          </a:bodyPr>
          <a:lstStyle>
            <a:lvl1pPr algn="l">
              <a:defRPr sz="1100">
                <a:solidFill>
                  <a:schemeClr val="accent5"/>
                </a:solidFill>
              </a:defRPr>
            </a:lvl1pPr>
          </a:lstStyle>
          <a:p>
            <a:r>
              <a:rPr lang="en-US" dirty="0"/>
              <a:t>Footer (Insert &gt; Header &amp; Footer to edit) - CONFIDENTIAL</a:t>
            </a:r>
          </a:p>
        </p:txBody>
      </p:sp>
      <p:sp>
        <p:nvSpPr>
          <p:cNvPr id="6" name="Slide Number Placeholder 5"/>
          <p:cNvSpPr>
            <a:spLocks noGrp="1"/>
          </p:cNvSpPr>
          <p:nvPr>
            <p:ph type="sldNum" sz="quarter" idx="4"/>
          </p:nvPr>
        </p:nvSpPr>
        <p:spPr>
          <a:xfrm>
            <a:off x="410882" y="6332830"/>
            <a:ext cx="507262" cy="273450"/>
          </a:xfrm>
          <a:prstGeom prst="rect">
            <a:avLst/>
          </a:prstGeom>
        </p:spPr>
        <p:txBody>
          <a:bodyPr vert="horz" lIns="0" tIns="0" rIns="0" bIns="0" rtlCol="0" anchor="t" anchorCtr="0">
            <a:noAutofit/>
          </a:bodyPr>
          <a:lstStyle>
            <a:lvl1pPr algn="l">
              <a:defRPr sz="1100">
                <a:solidFill>
                  <a:schemeClr val="accent5"/>
                </a:solidFill>
              </a:defRPr>
            </a:lvl1pPr>
          </a:lstStyle>
          <a:p>
            <a:fld id="{32B354EE-31EA-4FC2-9496-7B6202183237}" type="slidenum">
              <a:rPr lang="en-US" smtClean="0"/>
              <a:pPr/>
              <a:t>‹#›</a:t>
            </a:fld>
            <a:endParaRPr lang="en-US" dirty="0"/>
          </a:p>
        </p:txBody>
      </p:sp>
      <p:grpSp>
        <p:nvGrpSpPr>
          <p:cNvPr id="20" name="Group 4">
            <a:extLst>
              <a:ext uri="{FF2B5EF4-FFF2-40B4-BE49-F238E27FC236}">
                <a16:creationId xmlns:a16="http://schemas.microsoft.com/office/drawing/2014/main" id="{1904BA4D-1AFB-42A4-8284-784441CF6C68}"/>
              </a:ext>
            </a:extLst>
          </p:cNvPr>
          <p:cNvGrpSpPr>
            <a:grpSpLocks noChangeAspect="1"/>
          </p:cNvGrpSpPr>
          <p:nvPr userDrawn="1"/>
        </p:nvGrpSpPr>
        <p:grpSpPr bwMode="auto">
          <a:xfrm>
            <a:off x="11179123" y="6332830"/>
            <a:ext cx="607829" cy="148182"/>
            <a:chOff x="2071" y="1578"/>
            <a:chExt cx="2587" cy="631"/>
          </a:xfrm>
          <a:gradFill>
            <a:gsLst>
              <a:gs pos="50000">
                <a:srgbClr val="00E487"/>
              </a:gs>
              <a:gs pos="100000">
                <a:srgbClr val="1ECBD0"/>
              </a:gs>
            </a:gsLst>
            <a:lin ang="18900000" scaled="0"/>
          </a:gradFill>
        </p:grpSpPr>
        <p:sp>
          <p:nvSpPr>
            <p:cNvPr id="22" name="Freeform 5">
              <a:extLst>
                <a:ext uri="{FF2B5EF4-FFF2-40B4-BE49-F238E27FC236}">
                  <a16:creationId xmlns:a16="http://schemas.microsoft.com/office/drawing/2014/main" id="{DAE554E6-16CB-4176-987F-3AF6305F726B}"/>
                </a:ext>
              </a:extLst>
            </p:cNvPr>
            <p:cNvSpPr>
              <a:spLocks/>
            </p:cNvSpPr>
            <p:nvPr userDrawn="1"/>
          </p:nvSpPr>
          <p:spPr bwMode="auto">
            <a:xfrm>
              <a:off x="2765" y="1728"/>
              <a:ext cx="244" cy="318"/>
            </a:xfrm>
            <a:custGeom>
              <a:avLst/>
              <a:gdLst>
                <a:gd name="T0" fmla="*/ 12 w 129"/>
                <a:gd name="T1" fmla="*/ 0 h 168"/>
                <a:gd name="T2" fmla="*/ 8 w 129"/>
                <a:gd name="T3" fmla="*/ 4 h 168"/>
                <a:gd name="T4" fmla="*/ 8 w 129"/>
                <a:gd name="T5" fmla="*/ 25 h 168"/>
                <a:gd name="T6" fmla="*/ 12 w 129"/>
                <a:gd name="T7" fmla="*/ 29 h 168"/>
                <a:gd name="T8" fmla="*/ 48 w 129"/>
                <a:gd name="T9" fmla="*/ 29 h 168"/>
                <a:gd name="T10" fmla="*/ 48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2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2" y="0"/>
                  </a:moveTo>
                  <a:cubicBezTo>
                    <a:pt x="9" y="0"/>
                    <a:pt x="8" y="1"/>
                    <a:pt x="8" y="4"/>
                  </a:cubicBezTo>
                  <a:cubicBezTo>
                    <a:pt x="8" y="25"/>
                    <a:pt x="8" y="25"/>
                    <a:pt x="8" y="25"/>
                  </a:cubicBezTo>
                  <a:cubicBezTo>
                    <a:pt x="8" y="27"/>
                    <a:pt x="9" y="29"/>
                    <a:pt x="12" y="29"/>
                  </a:cubicBezTo>
                  <a:cubicBezTo>
                    <a:pt x="48" y="29"/>
                    <a:pt x="48" y="29"/>
                    <a:pt x="48" y="29"/>
                  </a:cubicBezTo>
                  <a:cubicBezTo>
                    <a:pt x="48" y="140"/>
                    <a:pt x="48" y="140"/>
                    <a:pt x="48"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8" y="140"/>
                    <a:pt x="125" y="140"/>
                  </a:cubicBezTo>
                  <a:cubicBezTo>
                    <a:pt x="76" y="140"/>
                    <a:pt x="76" y="140"/>
                    <a:pt x="76" y="140"/>
                  </a:cubicBezTo>
                  <a:cubicBezTo>
                    <a:pt x="76" y="4"/>
                    <a:pt x="76" y="4"/>
                    <a:pt x="76" y="4"/>
                  </a:cubicBezTo>
                  <a:cubicBezTo>
                    <a:pt x="76" y="1"/>
                    <a:pt x="75" y="0"/>
                    <a:pt x="72" y="0"/>
                  </a:cubicBez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dirty="0"/>
            </a:p>
          </p:txBody>
        </p:sp>
        <p:sp>
          <p:nvSpPr>
            <p:cNvPr id="23" name="Freeform 6">
              <a:extLst>
                <a:ext uri="{FF2B5EF4-FFF2-40B4-BE49-F238E27FC236}">
                  <a16:creationId xmlns:a16="http://schemas.microsoft.com/office/drawing/2014/main" id="{AEC65459-58EA-4F3D-8A43-721FE0A15E41}"/>
                </a:ext>
              </a:extLst>
            </p:cNvPr>
            <p:cNvSpPr>
              <a:spLocks/>
            </p:cNvSpPr>
            <p:nvPr userDrawn="1"/>
          </p:nvSpPr>
          <p:spPr bwMode="auto">
            <a:xfrm>
              <a:off x="3798" y="1728"/>
              <a:ext cx="244" cy="318"/>
            </a:xfrm>
            <a:custGeom>
              <a:avLst/>
              <a:gdLst>
                <a:gd name="T0" fmla="*/ 11 w 129"/>
                <a:gd name="T1" fmla="*/ 0 h 168"/>
                <a:gd name="T2" fmla="*/ 8 w 129"/>
                <a:gd name="T3" fmla="*/ 4 h 168"/>
                <a:gd name="T4" fmla="*/ 8 w 129"/>
                <a:gd name="T5" fmla="*/ 25 h 168"/>
                <a:gd name="T6" fmla="*/ 11 w 129"/>
                <a:gd name="T7" fmla="*/ 29 h 168"/>
                <a:gd name="T8" fmla="*/ 47 w 129"/>
                <a:gd name="T9" fmla="*/ 29 h 168"/>
                <a:gd name="T10" fmla="*/ 47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1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1" y="0"/>
                  </a:moveTo>
                  <a:cubicBezTo>
                    <a:pt x="9" y="0"/>
                    <a:pt x="8" y="1"/>
                    <a:pt x="8" y="4"/>
                  </a:cubicBezTo>
                  <a:cubicBezTo>
                    <a:pt x="8" y="25"/>
                    <a:pt x="8" y="25"/>
                    <a:pt x="8" y="25"/>
                  </a:cubicBezTo>
                  <a:cubicBezTo>
                    <a:pt x="8" y="27"/>
                    <a:pt x="9" y="29"/>
                    <a:pt x="11" y="29"/>
                  </a:cubicBezTo>
                  <a:cubicBezTo>
                    <a:pt x="47" y="29"/>
                    <a:pt x="47" y="29"/>
                    <a:pt x="47" y="29"/>
                  </a:cubicBezTo>
                  <a:cubicBezTo>
                    <a:pt x="47" y="140"/>
                    <a:pt x="47" y="140"/>
                    <a:pt x="47"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7" y="140"/>
                    <a:pt x="125" y="140"/>
                  </a:cubicBezTo>
                  <a:cubicBezTo>
                    <a:pt x="76" y="140"/>
                    <a:pt x="76" y="140"/>
                    <a:pt x="76" y="140"/>
                  </a:cubicBezTo>
                  <a:cubicBezTo>
                    <a:pt x="76" y="4"/>
                    <a:pt x="76" y="4"/>
                    <a:pt x="76" y="4"/>
                  </a:cubicBezTo>
                  <a:cubicBezTo>
                    <a:pt x="75" y="1"/>
                    <a:pt x="74" y="0"/>
                    <a:pt x="72" y="0"/>
                  </a:cubicBez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dirty="0"/>
            </a:p>
          </p:txBody>
        </p:sp>
        <p:sp>
          <p:nvSpPr>
            <p:cNvPr id="24" name="Freeform 7">
              <a:extLst>
                <a:ext uri="{FF2B5EF4-FFF2-40B4-BE49-F238E27FC236}">
                  <a16:creationId xmlns:a16="http://schemas.microsoft.com/office/drawing/2014/main" id="{7EF15D6C-5F12-4679-A3CE-298E60CFDA5F}"/>
                </a:ext>
              </a:extLst>
            </p:cNvPr>
            <p:cNvSpPr>
              <a:spLocks/>
            </p:cNvSpPr>
            <p:nvPr userDrawn="1"/>
          </p:nvSpPr>
          <p:spPr bwMode="auto">
            <a:xfrm>
              <a:off x="4361" y="1728"/>
              <a:ext cx="297" cy="464"/>
            </a:xfrm>
            <a:custGeom>
              <a:avLst/>
              <a:gdLst>
                <a:gd name="T0" fmla="*/ 132 w 157"/>
                <a:gd name="T1" fmla="*/ 0 h 245"/>
                <a:gd name="T2" fmla="*/ 127 w 157"/>
                <a:gd name="T3" fmla="*/ 3 h 245"/>
                <a:gd name="T4" fmla="*/ 127 w 157"/>
                <a:gd name="T5" fmla="*/ 3 h 245"/>
                <a:gd name="T6" fmla="*/ 79 w 157"/>
                <a:gd name="T7" fmla="*/ 128 h 245"/>
                <a:gd name="T8" fmla="*/ 30 w 157"/>
                <a:gd name="T9" fmla="*/ 4 h 245"/>
                <a:gd name="T10" fmla="*/ 25 w 157"/>
                <a:gd name="T11" fmla="*/ 0 h 245"/>
                <a:gd name="T12" fmla="*/ 4 w 157"/>
                <a:gd name="T13" fmla="*/ 0 h 245"/>
                <a:gd name="T14" fmla="*/ 0 w 157"/>
                <a:gd name="T15" fmla="*/ 3 h 245"/>
                <a:gd name="T16" fmla="*/ 1 w 157"/>
                <a:gd name="T17" fmla="*/ 6 h 245"/>
                <a:gd name="T18" fmla="*/ 1 w 157"/>
                <a:gd name="T19" fmla="*/ 6 h 245"/>
                <a:gd name="T20" fmla="*/ 1 w 157"/>
                <a:gd name="T21" fmla="*/ 6 h 245"/>
                <a:gd name="T22" fmla="*/ 64 w 157"/>
                <a:gd name="T23" fmla="*/ 168 h 245"/>
                <a:gd name="T24" fmla="*/ 59 w 157"/>
                <a:gd name="T25" fmla="*/ 182 h 245"/>
                <a:gd name="T26" fmla="*/ 48 w 157"/>
                <a:gd name="T27" fmla="*/ 205 h 245"/>
                <a:gd name="T28" fmla="*/ 38 w 157"/>
                <a:gd name="T29" fmla="*/ 215 h 245"/>
                <a:gd name="T30" fmla="*/ 30 w 157"/>
                <a:gd name="T31" fmla="*/ 217 h 245"/>
                <a:gd name="T32" fmla="*/ 26 w 157"/>
                <a:gd name="T33" fmla="*/ 216 h 245"/>
                <a:gd name="T34" fmla="*/ 14 w 157"/>
                <a:gd name="T35" fmla="*/ 213 h 245"/>
                <a:gd name="T36" fmla="*/ 7 w 157"/>
                <a:gd name="T37" fmla="*/ 210 h 245"/>
                <a:gd name="T38" fmla="*/ 3 w 157"/>
                <a:gd name="T39" fmla="*/ 215 h 245"/>
                <a:gd name="T40" fmla="*/ 3 w 157"/>
                <a:gd name="T41" fmla="*/ 233 h 245"/>
                <a:gd name="T42" fmla="*/ 3 w 157"/>
                <a:gd name="T43" fmla="*/ 233 h 245"/>
                <a:gd name="T44" fmla="*/ 7 w 157"/>
                <a:gd name="T45" fmla="*/ 240 h 245"/>
                <a:gd name="T46" fmla="*/ 32 w 157"/>
                <a:gd name="T47" fmla="*/ 245 h 245"/>
                <a:gd name="T48" fmla="*/ 54 w 157"/>
                <a:gd name="T49" fmla="*/ 238 h 245"/>
                <a:gd name="T50" fmla="*/ 73 w 157"/>
                <a:gd name="T51" fmla="*/ 220 h 245"/>
                <a:gd name="T52" fmla="*/ 79 w 157"/>
                <a:gd name="T53" fmla="*/ 208 h 245"/>
                <a:gd name="T54" fmla="*/ 156 w 157"/>
                <a:gd name="T55" fmla="*/ 6 h 245"/>
                <a:gd name="T56" fmla="*/ 157 w 157"/>
                <a:gd name="T57" fmla="*/ 3 h 245"/>
                <a:gd name="T58" fmla="*/ 153 w 157"/>
                <a:gd name="T59" fmla="*/ 0 h 245"/>
                <a:gd name="T60" fmla="*/ 132 w 157"/>
                <a:gd name="T6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7" h="245">
                  <a:moveTo>
                    <a:pt x="132" y="0"/>
                  </a:moveTo>
                  <a:cubicBezTo>
                    <a:pt x="129" y="0"/>
                    <a:pt x="128" y="1"/>
                    <a:pt x="127" y="3"/>
                  </a:cubicBezTo>
                  <a:cubicBezTo>
                    <a:pt x="127" y="3"/>
                    <a:pt x="127" y="3"/>
                    <a:pt x="127" y="3"/>
                  </a:cubicBezTo>
                  <a:cubicBezTo>
                    <a:pt x="79" y="128"/>
                    <a:pt x="79" y="128"/>
                    <a:pt x="79" y="128"/>
                  </a:cubicBezTo>
                  <a:cubicBezTo>
                    <a:pt x="30" y="4"/>
                    <a:pt x="30" y="4"/>
                    <a:pt x="30" y="4"/>
                  </a:cubicBezTo>
                  <a:cubicBezTo>
                    <a:pt x="29" y="1"/>
                    <a:pt x="28" y="0"/>
                    <a:pt x="25" y="0"/>
                  </a:cubicBezTo>
                  <a:cubicBezTo>
                    <a:pt x="4" y="0"/>
                    <a:pt x="4" y="0"/>
                    <a:pt x="4" y="0"/>
                  </a:cubicBezTo>
                  <a:cubicBezTo>
                    <a:pt x="2" y="0"/>
                    <a:pt x="0" y="1"/>
                    <a:pt x="0" y="3"/>
                  </a:cubicBezTo>
                  <a:cubicBezTo>
                    <a:pt x="0" y="4"/>
                    <a:pt x="1" y="5"/>
                    <a:pt x="1" y="6"/>
                  </a:cubicBezTo>
                  <a:cubicBezTo>
                    <a:pt x="1" y="6"/>
                    <a:pt x="1" y="6"/>
                    <a:pt x="1" y="6"/>
                  </a:cubicBezTo>
                  <a:cubicBezTo>
                    <a:pt x="1" y="6"/>
                    <a:pt x="1" y="6"/>
                    <a:pt x="1" y="6"/>
                  </a:cubicBezTo>
                  <a:cubicBezTo>
                    <a:pt x="64" y="168"/>
                    <a:pt x="64" y="168"/>
                    <a:pt x="64" y="168"/>
                  </a:cubicBezTo>
                  <a:cubicBezTo>
                    <a:pt x="59" y="182"/>
                    <a:pt x="59" y="182"/>
                    <a:pt x="59" y="182"/>
                  </a:cubicBezTo>
                  <a:cubicBezTo>
                    <a:pt x="57" y="187"/>
                    <a:pt x="53" y="199"/>
                    <a:pt x="48" y="205"/>
                  </a:cubicBezTo>
                  <a:cubicBezTo>
                    <a:pt x="44" y="211"/>
                    <a:pt x="42" y="213"/>
                    <a:pt x="38" y="215"/>
                  </a:cubicBezTo>
                  <a:cubicBezTo>
                    <a:pt x="35" y="216"/>
                    <a:pt x="33" y="217"/>
                    <a:pt x="30" y="217"/>
                  </a:cubicBezTo>
                  <a:cubicBezTo>
                    <a:pt x="28" y="217"/>
                    <a:pt x="27" y="217"/>
                    <a:pt x="26" y="216"/>
                  </a:cubicBezTo>
                  <a:cubicBezTo>
                    <a:pt x="22" y="216"/>
                    <a:pt x="18" y="214"/>
                    <a:pt x="14" y="213"/>
                  </a:cubicBezTo>
                  <a:cubicBezTo>
                    <a:pt x="11" y="212"/>
                    <a:pt x="9" y="210"/>
                    <a:pt x="7" y="210"/>
                  </a:cubicBezTo>
                  <a:cubicBezTo>
                    <a:pt x="5" y="210"/>
                    <a:pt x="3" y="212"/>
                    <a:pt x="3" y="215"/>
                  </a:cubicBezTo>
                  <a:cubicBezTo>
                    <a:pt x="3" y="233"/>
                    <a:pt x="3" y="233"/>
                    <a:pt x="3" y="233"/>
                  </a:cubicBezTo>
                  <a:cubicBezTo>
                    <a:pt x="3" y="233"/>
                    <a:pt x="3" y="233"/>
                    <a:pt x="3" y="233"/>
                  </a:cubicBezTo>
                  <a:cubicBezTo>
                    <a:pt x="3" y="236"/>
                    <a:pt x="4" y="238"/>
                    <a:pt x="7" y="240"/>
                  </a:cubicBezTo>
                  <a:cubicBezTo>
                    <a:pt x="15" y="243"/>
                    <a:pt x="21" y="245"/>
                    <a:pt x="32" y="245"/>
                  </a:cubicBezTo>
                  <a:cubicBezTo>
                    <a:pt x="41" y="244"/>
                    <a:pt x="47" y="242"/>
                    <a:pt x="54" y="238"/>
                  </a:cubicBezTo>
                  <a:cubicBezTo>
                    <a:pt x="61" y="233"/>
                    <a:pt x="67" y="227"/>
                    <a:pt x="73" y="220"/>
                  </a:cubicBezTo>
                  <a:cubicBezTo>
                    <a:pt x="75" y="216"/>
                    <a:pt x="77" y="212"/>
                    <a:pt x="79" y="208"/>
                  </a:cubicBezTo>
                  <a:cubicBezTo>
                    <a:pt x="83" y="200"/>
                    <a:pt x="144" y="40"/>
                    <a:pt x="156" y="6"/>
                  </a:cubicBezTo>
                  <a:cubicBezTo>
                    <a:pt x="157" y="5"/>
                    <a:pt x="157" y="4"/>
                    <a:pt x="157" y="3"/>
                  </a:cubicBezTo>
                  <a:cubicBezTo>
                    <a:pt x="157" y="1"/>
                    <a:pt x="155" y="0"/>
                    <a:pt x="153" y="0"/>
                  </a:cubicBezTo>
                  <a:lnTo>
                    <a:pt x="1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dirty="0"/>
            </a:p>
          </p:txBody>
        </p:sp>
        <p:sp>
          <p:nvSpPr>
            <p:cNvPr id="25" name="Freeform 8">
              <a:extLst>
                <a:ext uri="{FF2B5EF4-FFF2-40B4-BE49-F238E27FC236}">
                  <a16:creationId xmlns:a16="http://schemas.microsoft.com/office/drawing/2014/main" id="{7D6A478E-FCAF-4573-B967-7423B97A0230}"/>
                </a:ext>
              </a:extLst>
            </p:cNvPr>
            <p:cNvSpPr>
              <a:spLocks/>
            </p:cNvSpPr>
            <p:nvPr userDrawn="1"/>
          </p:nvSpPr>
          <p:spPr bwMode="auto">
            <a:xfrm>
              <a:off x="3457" y="1726"/>
              <a:ext cx="263" cy="322"/>
            </a:xfrm>
            <a:custGeom>
              <a:avLst/>
              <a:gdLst>
                <a:gd name="T0" fmla="*/ 28 w 139"/>
                <a:gd name="T1" fmla="*/ 21 h 170"/>
                <a:gd name="T2" fmla="*/ 28 w 139"/>
                <a:gd name="T3" fmla="*/ 6 h 170"/>
                <a:gd name="T4" fmla="*/ 25 w 139"/>
                <a:gd name="T5" fmla="*/ 3 h 170"/>
                <a:gd name="T6" fmla="*/ 4 w 139"/>
                <a:gd name="T7" fmla="*/ 3 h 170"/>
                <a:gd name="T8" fmla="*/ 0 w 139"/>
                <a:gd name="T9" fmla="*/ 6 h 170"/>
                <a:gd name="T10" fmla="*/ 0 w 139"/>
                <a:gd name="T11" fmla="*/ 167 h 170"/>
                <a:gd name="T12" fmla="*/ 4 w 139"/>
                <a:gd name="T13" fmla="*/ 170 h 170"/>
                <a:gd name="T14" fmla="*/ 25 w 139"/>
                <a:gd name="T15" fmla="*/ 170 h 170"/>
                <a:gd name="T16" fmla="*/ 28 w 139"/>
                <a:gd name="T17" fmla="*/ 167 h 170"/>
                <a:gd name="T18" fmla="*/ 28 w 139"/>
                <a:gd name="T19" fmla="*/ 68 h 170"/>
                <a:gd name="T20" fmla="*/ 70 w 139"/>
                <a:gd name="T21" fmla="*/ 28 h 170"/>
                <a:gd name="T22" fmla="*/ 111 w 139"/>
                <a:gd name="T23" fmla="*/ 68 h 170"/>
                <a:gd name="T24" fmla="*/ 111 w 139"/>
                <a:gd name="T25" fmla="*/ 167 h 170"/>
                <a:gd name="T26" fmla="*/ 111 w 139"/>
                <a:gd name="T27" fmla="*/ 167 h 170"/>
                <a:gd name="T28" fmla="*/ 114 w 139"/>
                <a:gd name="T29" fmla="*/ 170 h 170"/>
                <a:gd name="T30" fmla="*/ 136 w 139"/>
                <a:gd name="T31" fmla="*/ 170 h 170"/>
                <a:gd name="T32" fmla="*/ 139 w 139"/>
                <a:gd name="T33" fmla="*/ 167 h 170"/>
                <a:gd name="T34" fmla="*/ 139 w 139"/>
                <a:gd name="T35" fmla="*/ 68 h 170"/>
                <a:gd name="T36" fmla="*/ 139 w 139"/>
                <a:gd name="T37" fmla="*/ 68 h 170"/>
                <a:gd name="T38" fmla="*/ 139 w 139"/>
                <a:gd name="T39" fmla="*/ 68 h 170"/>
                <a:gd name="T40" fmla="*/ 120 w 139"/>
                <a:gd name="T41" fmla="*/ 20 h 170"/>
                <a:gd name="T42" fmla="*/ 70 w 139"/>
                <a:gd name="T43" fmla="*/ 0 h 170"/>
                <a:gd name="T44" fmla="*/ 28 w 139"/>
                <a:gd name="T45" fmla="*/ 2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170">
                  <a:moveTo>
                    <a:pt x="28" y="21"/>
                  </a:moveTo>
                  <a:cubicBezTo>
                    <a:pt x="28" y="6"/>
                    <a:pt x="28" y="6"/>
                    <a:pt x="28" y="6"/>
                  </a:cubicBezTo>
                  <a:cubicBezTo>
                    <a:pt x="28" y="4"/>
                    <a:pt x="27" y="3"/>
                    <a:pt x="25" y="3"/>
                  </a:cubicBezTo>
                  <a:cubicBezTo>
                    <a:pt x="4" y="3"/>
                    <a:pt x="4" y="3"/>
                    <a:pt x="4" y="3"/>
                  </a:cubicBezTo>
                  <a:cubicBezTo>
                    <a:pt x="1" y="3"/>
                    <a:pt x="0" y="4"/>
                    <a:pt x="0" y="6"/>
                  </a:cubicBezTo>
                  <a:cubicBezTo>
                    <a:pt x="0" y="167"/>
                    <a:pt x="0" y="167"/>
                    <a:pt x="0" y="167"/>
                  </a:cubicBezTo>
                  <a:cubicBezTo>
                    <a:pt x="0" y="169"/>
                    <a:pt x="1" y="170"/>
                    <a:pt x="4" y="170"/>
                  </a:cubicBezTo>
                  <a:cubicBezTo>
                    <a:pt x="25" y="170"/>
                    <a:pt x="25" y="170"/>
                    <a:pt x="25" y="170"/>
                  </a:cubicBezTo>
                  <a:cubicBezTo>
                    <a:pt x="27" y="170"/>
                    <a:pt x="28" y="169"/>
                    <a:pt x="28" y="167"/>
                  </a:cubicBezTo>
                  <a:cubicBezTo>
                    <a:pt x="28" y="68"/>
                    <a:pt x="28" y="68"/>
                    <a:pt x="28" y="68"/>
                  </a:cubicBezTo>
                  <a:cubicBezTo>
                    <a:pt x="28" y="49"/>
                    <a:pt x="42" y="28"/>
                    <a:pt x="70" y="28"/>
                  </a:cubicBezTo>
                  <a:cubicBezTo>
                    <a:pt x="97" y="28"/>
                    <a:pt x="111" y="49"/>
                    <a:pt x="111" y="68"/>
                  </a:cubicBezTo>
                  <a:cubicBezTo>
                    <a:pt x="111" y="167"/>
                    <a:pt x="111" y="167"/>
                    <a:pt x="111" y="167"/>
                  </a:cubicBezTo>
                  <a:cubicBezTo>
                    <a:pt x="111" y="167"/>
                    <a:pt x="111" y="167"/>
                    <a:pt x="111" y="167"/>
                  </a:cubicBezTo>
                  <a:cubicBezTo>
                    <a:pt x="111" y="169"/>
                    <a:pt x="112" y="170"/>
                    <a:pt x="114" y="170"/>
                  </a:cubicBezTo>
                  <a:cubicBezTo>
                    <a:pt x="136" y="170"/>
                    <a:pt x="136" y="170"/>
                    <a:pt x="136" y="170"/>
                  </a:cubicBezTo>
                  <a:cubicBezTo>
                    <a:pt x="138" y="170"/>
                    <a:pt x="139" y="169"/>
                    <a:pt x="139" y="167"/>
                  </a:cubicBezTo>
                  <a:cubicBezTo>
                    <a:pt x="139" y="68"/>
                    <a:pt x="139" y="68"/>
                    <a:pt x="139" y="68"/>
                  </a:cubicBezTo>
                  <a:cubicBezTo>
                    <a:pt x="139" y="68"/>
                    <a:pt x="139" y="68"/>
                    <a:pt x="139" y="68"/>
                  </a:cubicBezTo>
                  <a:cubicBezTo>
                    <a:pt x="139" y="68"/>
                    <a:pt x="139" y="68"/>
                    <a:pt x="139" y="68"/>
                  </a:cubicBezTo>
                  <a:cubicBezTo>
                    <a:pt x="139" y="51"/>
                    <a:pt x="133" y="35"/>
                    <a:pt x="120" y="20"/>
                  </a:cubicBezTo>
                  <a:cubicBezTo>
                    <a:pt x="109" y="7"/>
                    <a:pt x="88" y="0"/>
                    <a:pt x="70" y="0"/>
                  </a:cubicBezTo>
                  <a:cubicBezTo>
                    <a:pt x="41" y="0"/>
                    <a:pt x="28" y="21"/>
                    <a:pt x="28"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dirty="0"/>
            </a:p>
          </p:txBody>
        </p:sp>
        <p:sp>
          <p:nvSpPr>
            <p:cNvPr id="26" name="Freeform 9">
              <a:extLst>
                <a:ext uri="{FF2B5EF4-FFF2-40B4-BE49-F238E27FC236}">
                  <a16:creationId xmlns:a16="http://schemas.microsoft.com/office/drawing/2014/main" id="{C7B044FD-45A1-41D4-8002-87E2B59314CB}"/>
                </a:ext>
              </a:extLst>
            </p:cNvPr>
            <p:cNvSpPr>
              <a:spLocks/>
            </p:cNvSpPr>
            <p:nvPr userDrawn="1"/>
          </p:nvSpPr>
          <p:spPr bwMode="auto">
            <a:xfrm>
              <a:off x="2264" y="1724"/>
              <a:ext cx="246" cy="328"/>
            </a:xfrm>
            <a:custGeom>
              <a:avLst/>
              <a:gdLst>
                <a:gd name="T0" fmla="*/ 4 w 130"/>
                <a:gd name="T1" fmla="*/ 48 h 173"/>
                <a:gd name="T2" fmla="*/ 56 w 130"/>
                <a:gd name="T3" fmla="*/ 97 h 173"/>
                <a:gd name="T4" fmla="*/ 57 w 130"/>
                <a:gd name="T5" fmla="*/ 98 h 173"/>
                <a:gd name="T6" fmla="*/ 101 w 130"/>
                <a:gd name="T7" fmla="*/ 124 h 173"/>
                <a:gd name="T8" fmla="*/ 66 w 130"/>
                <a:gd name="T9" fmla="*/ 146 h 173"/>
                <a:gd name="T10" fmla="*/ 30 w 130"/>
                <a:gd name="T11" fmla="*/ 118 h 173"/>
                <a:gd name="T12" fmla="*/ 26 w 130"/>
                <a:gd name="T13" fmla="*/ 114 h 173"/>
                <a:gd name="T14" fmla="*/ 5 w 130"/>
                <a:gd name="T15" fmla="*/ 114 h 173"/>
                <a:gd name="T16" fmla="*/ 0 w 130"/>
                <a:gd name="T17" fmla="*/ 118 h 173"/>
                <a:gd name="T18" fmla="*/ 65 w 130"/>
                <a:gd name="T19" fmla="*/ 173 h 173"/>
                <a:gd name="T20" fmla="*/ 130 w 130"/>
                <a:gd name="T21" fmla="*/ 120 h 173"/>
                <a:gd name="T22" fmla="*/ 72 w 130"/>
                <a:gd name="T23" fmla="*/ 74 h 173"/>
                <a:gd name="T24" fmla="*/ 32 w 130"/>
                <a:gd name="T25" fmla="*/ 48 h 173"/>
                <a:gd name="T26" fmla="*/ 63 w 130"/>
                <a:gd name="T27" fmla="*/ 27 h 173"/>
                <a:gd name="T28" fmla="*/ 97 w 130"/>
                <a:gd name="T29" fmla="*/ 49 h 173"/>
                <a:gd name="T30" fmla="*/ 102 w 130"/>
                <a:gd name="T31" fmla="*/ 53 h 173"/>
                <a:gd name="T32" fmla="*/ 120 w 130"/>
                <a:gd name="T33" fmla="*/ 53 h 173"/>
                <a:gd name="T34" fmla="*/ 125 w 130"/>
                <a:gd name="T35" fmla="*/ 48 h 173"/>
                <a:gd name="T36" fmla="*/ 63 w 130"/>
                <a:gd name="T37" fmla="*/ 0 h 173"/>
                <a:gd name="T38" fmla="*/ 4 w 130"/>
                <a:gd name="T39" fmla="*/ 4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173">
                  <a:moveTo>
                    <a:pt x="4" y="48"/>
                  </a:moveTo>
                  <a:cubicBezTo>
                    <a:pt x="4" y="77"/>
                    <a:pt x="19" y="91"/>
                    <a:pt x="56" y="97"/>
                  </a:cubicBezTo>
                  <a:cubicBezTo>
                    <a:pt x="57" y="98"/>
                    <a:pt x="57" y="98"/>
                    <a:pt x="57" y="98"/>
                  </a:cubicBezTo>
                  <a:cubicBezTo>
                    <a:pt x="83" y="102"/>
                    <a:pt x="101" y="105"/>
                    <a:pt x="101" y="124"/>
                  </a:cubicBezTo>
                  <a:cubicBezTo>
                    <a:pt x="101" y="139"/>
                    <a:pt x="83" y="146"/>
                    <a:pt x="66" y="146"/>
                  </a:cubicBezTo>
                  <a:cubicBezTo>
                    <a:pt x="46" y="146"/>
                    <a:pt x="33" y="136"/>
                    <a:pt x="30" y="118"/>
                  </a:cubicBezTo>
                  <a:cubicBezTo>
                    <a:pt x="30" y="116"/>
                    <a:pt x="29" y="114"/>
                    <a:pt x="26" y="114"/>
                  </a:cubicBezTo>
                  <a:cubicBezTo>
                    <a:pt x="5" y="114"/>
                    <a:pt x="5" y="114"/>
                    <a:pt x="5" y="114"/>
                  </a:cubicBezTo>
                  <a:cubicBezTo>
                    <a:pt x="2" y="114"/>
                    <a:pt x="0" y="116"/>
                    <a:pt x="0" y="118"/>
                  </a:cubicBezTo>
                  <a:cubicBezTo>
                    <a:pt x="0" y="150"/>
                    <a:pt x="27" y="173"/>
                    <a:pt x="65" y="173"/>
                  </a:cubicBezTo>
                  <a:cubicBezTo>
                    <a:pt x="104" y="173"/>
                    <a:pt x="130" y="151"/>
                    <a:pt x="130" y="120"/>
                  </a:cubicBezTo>
                  <a:cubicBezTo>
                    <a:pt x="130" y="86"/>
                    <a:pt x="100" y="79"/>
                    <a:pt x="72" y="74"/>
                  </a:cubicBezTo>
                  <a:cubicBezTo>
                    <a:pt x="37" y="68"/>
                    <a:pt x="32" y="58"/>
                    <a:pt x="32" y="48"/>
                  </a:cubicBezTo>
                  <a:cubicBezTo>
                    <a:pt x="32" y="32"/>
                    <a:pt x="49" y="27"/>
                    <a:pt x="63" y="27"/>
                  </a:cubicBezTo>
                  <a:cubicBezTo>
                    <a:pt x="82" y="27"/>
                    <a:pt x="94" y="34"/>
                    <a:pt x="97" y="49"/>
                  </a:cubicBezTo>
                  <a:cubicBezTo>
                    <a:pt x="98" y="51"/>
                    <a:pt x="98" y="53"/>
                    <a:pt x="102" y="53"/>
                  </a:cubicBezTo>
                  <a:cubicBezTo>
                    <a:pt x="120" y="53"/>
                    <a:pt x="120" y="53"/>
                    <a:pt x="120" y="53"/>
                  </a:cubicBezTo>
                  <a:cubicBezTo>
                    <a:pt x="123" y="53"/>
                    <a:pt x="125" y="51"/>
                    <a:pt x="125" y="48"/>
                  </a:cubicBezTo>
                  <a:cubicBezTo>
                    <a:pt x="125" y="19"/>
                    <a:pt x="100" y="0"/>
                    <a:pt x="63" y="0"/>
                  </a:cubicBezTo>
                  <a:cubicBezTo>
                    <a:pt x="22" y="0"/>
                    <a:pt x="4" y="25"/>
                    <a:pt x="4" y="4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dirty="0"/>
            </a:p>
          </p:txBody>
        </p:sp>
        <p:sp>
          <p:nvSpPr>
            <p:cNvPr id="27" name="Freeform 10">
              <a:extLst>
                <a:ext uri="{FF2B5EF4-FFF2-40B4-BE49-F238E27FC236}">
                  <a16:creationId xmlns:a16="http://schemas.microsoft.com/office/drawing/2014/main" id="{B96B058D-5136-4262-807A-F14DDE4ECC00}"/>
                </a:ext>
              </a:extLst>
            </p:cNvPr>
            <p:cNvSpPr>
              <a:spLocks/>
            </p:cNvSpPr>
            <p:nvPr userDrawn="1"/>
          </p:nvSpPr>
          <p:spPr bwMode="auto">
            <a:xfrm>
              <a:off x="3062" y="1722"/>
              <a:ext cx="312" cy="474"/>
            </a:xfrm>
            <a:custGeom>
              <a:avLst/>
              <a:gdLst>
                <a:gd name="T0" fmla="*/ 67 w 165"/>
                <a:gd name="T1" fmla="*/ 0 h 250"/>
                <a:gd name="T2" fmla="*/ 0 w 165"/>
                <a:gd name="T3" fmla="*/ 86 h 250"/>
                <a:gd name="T4" fmla="*/ 82 w 165"/>
                <a:gd name="T5" fmla="*/ 174 h 250"/>
                <a:gd name="T6" fmla="*/ 137 w 165"/>
                <a:gd name="T7" fmla="*/ 152 h 250"/>
                <a:gd name="T8" fmla="*/ 137 w 165"/>
                <a:gd name="T9" fmla="*/ 173 h 250"/>
                <a:gd name="T10" fmla="*/ 89 w 165"/>
                <a:gd name="T11" fmla="*/ 222 h 250"/>
                <a:gd name="T12" fmla="*/ 48 w 165"/>
                <a:gd name="T13" fmla="*/ 194 h 250"/>
                <a:gd name="T14" fmla="*/ 43 w 165"/>
                <a:gd name="T15" fmla="*/ 190 h 250"/>
                <a:gd name="T16" fmla="*/ 24 w 165"/>
                <a:gd name="T17" fmla="*/ 190 h 250"/>
                <a:gd name="T18" fmla="*/ 19 w 165"/>
                <a:gd name="T19" fmla="*/ 195 h 250"/>
                <a:gd name="T20" fmla="*/ 89 w 165"/>
                <a:gd name="T21" fmla="*/ 250 h 250"/>
                <a:gd name="T22" fmla="*/ 165 w 165"/>
                <a:gd name="T23" fmla="*/ 174 h 250"/>
                <a:gd name="T24" fmla="*/ 165 w 165"/>
                <a:gd name="T25" fmla="*/ 7 h 250"/>
                <a:gd name="T26" fmla="*/ 162 w 165"/>
                <a:gd name="T27" fmla="*/ 4 h 250"/>
                <a:gd name="T28" fmla="*/ 140 w 165"/>
                <a:gd name="T29" fmla="*/ 4 h 250"/>
                <a:gd name="T30" fmla="*/ 137 w 165"/>
                <a:gd name="T31" fmla="*/ 7 h 250"/>
                <a:gd name="T32" fmla="*/ 137 w 165"/>
                <a:gd name="T33" fmla="*/ 21 h 250"/>
                <a:gd name="T34" fmla="*/ 99 w 165"/>
                <a:gd name="T35" fmla="*/ 0 h 250"/>
                <a:gd name="T36" fmla="*/ 96 w 165"/>
                <a:gd name="T37" fmla="*/ 3 h 250"/>
                <a:gd name="T38" fmla="*/ 96 w 165"/>
                <a:gd name="T39" fmla="*/ 28 h 250"/>
                <a:gd name="T40" fmla="*/ 97 w 165"/>
                <a:gd name="T41" fmla="*/ 31 h 250"/>
                <a:gd name="T42" fmla="*/ 138 w 165"/>
                <a:gd name="T43" fmla="*/ 87 h 250"/>
                <a:gd name="T44" fmla="*/ 83 w 165"/>
                <a:gd name="T45" fmla="*/ 146 h 250"/>
                <a:gd name="T46" fmla="*/ 29 w 165"/>
                <a:gd name="T47" fmla="*/ 87 h 250"/>
                <a:gd name="T48" fmla="*/ 68 w 165"/>
                <a:gd name="T49" fmla="*/ 31 h 250"/>
                <a:gd name="T50" fmla="*/ 70 w 165"/>
                <a:gd name="T51" fmla="*/ 29 h 250"/>
                <a:gd name="T52" fmla="*/ 70 w 165"/>
                <a:gd name="T53" fmla="*/ 3 h 250"/>
                <a:gd name="T54" fmla="*/ 67 w 165"/>
                <a:gd name="T55" fmla="*/ 0 h 250"/>
                <a:gd name="T56" fmla="*/ 67 w 165"/>
                <a:gd name="T57"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5" h="250">
                  <a:moveTo>
                    <a:pt x="67" y="0"/>
                  </a:moveTo>
                  <a:cubicBezTo>
                    <a:pt x="29" y="8"/>
                    <a:pt x="0" y="44"/>
                    <a:pt x="0" y="86"/>
                  </a:cubicBezTo>
                  <a:cubicBezTo>
                    <a:pt x="0" y="135"/>
                    <a:pt x="37" y="174"/>
                    <a:pt x="82" y="174"/>
                  </a:cubicBezTo>
                  <a:cubicBezTo>
                    <a:pt x="103" y="174"/>
                    <a:pt x="122" y="166"/>
                    <a:pt x="137" y="152"/>
                  </a:cubicBezTo>
                  <a:cubicBezTo>
                    <a:pt x="137" y="173"/>
                    <a:pt x="137" y="173"/>
                    <a:pt x="137" y="173"/>
                  </a:cubicBezTo>
                  <a:cubicBezTo>
                    <a:pt x="137" y="205"/>
                    <a:pt x="120" y="222"/>
                    <a:pt x="89" y="222"/>
                  </a:cubicBezTo>
                  <a:cubicBezTo>
                    <a:pt x="66" y="222"/>
                    <a:pt x="52" y="213"/>
                    <a:pt x="48" y="194"/>
                  </a:cubicBezTo>
                  <a:cubicBezTo>
                    <a:pt x="47" y="192"/>
                    <a:pt x="46" y="190"/>
                    <a:pt x="43" y="190"/>
                  </a:cubicBezTo>
                  <a:cubicBezTo>
                    <a:pt x="24" y="190"/>
                    <a:pt x="24" y="190"/>
                    <a:pt x="24" y="190"/>
                  </a:cubicBezTo>
                  <a:cubicBezTo>
                    <a:pt x="21" y="190"/>
                    <a:pt x="19" y="192"/>
                    <a:pt x="19" y="195"/>
                  </a:cubicBezTo>
                  <a:cubicBezTo>
                    <a:pt x="22" y="228"/>
                    <a:pt x="51" y="250"/>
                    <a:pt x="89" y="250"/>
                  </a:cubicBezTo>
                  <a:cubicBezTo>
                    <a:pt x="135" y="250"/>
                    <a:pt x="165" y="219"/>
                    <a:pt x="165" y="174"/>
                  </a:cubicBezTo>
                  <a:cubicBezTo>
                    <a:pt x="165" y="7"/>
                    <a:pt x="165" y="7"/>
                    <a:pt x="165" y="7"/>
                  </a:cubicBezTo>
                  <a:cubicBezTo>
                    <a:pt x="165" y="5"/>
                    <a:pt x="164" y="4"/>
                    <a:pt x="162" y="4"/>
                  </a:cubicBezTo>
                  <a:cubicBezTo>
                    <a:pt x="140" y="4"/>
                    <a:pt x="140" y="4"/>
                    <a:pt x="140" y="4"/>
                  </a:cubicBezTo>
                  <a:cubicBezTo>
                    <a:pt x="138" y="4"/>
                    <a:pt x="137" y="5"/>
                    <a:pt x="137" y="7"/>
                  </a:cubicBezTo>
                  <a:cubicBezTo>
                    <a:pt x="137" y="21"/>
                    <a:pt x="137" y="21"/>
                    <a:pt x="137" y="21"/>
                  </a:cubicBezTo>
                  <a:cubicBezTo>
                    <a:pt x="126" y="11"/>
                    <a:pt x="113" y="4"/>
                    <a:pt x="99" y="0"/>
                  </a:cubicBezTo>
                  <a:cubicBezTo>
                    <a:pt x="97" y="0"/>
                    <a:pt x="96" y="1"/>
                    <a:pt x="96" y="3"/>
                  </a:cubicBezTo>
                  <a:cubicBezTo>
                    <a:pt x="96" y="28"/>
                    <a:pt x="96" y="28"/>
                    <a:pt x="96" y="28"/>
                  </a:cubicBezTo>
                  <a:cubicBezTo>
                    <a:pt x="96" y="29"/>
                    <a:pt x="96" y="30"/>
                    <a:pt x="97" y="31"/>
                  </a:cubicBezTo>
                  <a:cubicBezTo>
                    <a:pt x="121" y="37"/>
                    <a:pt x="138" y="60"/>
                    <a:pt x="138" y="87"/>
                  </a:cubicBezTo>
                  <a:cubicBezTo>
                    <a:pt x="138" y="119"/>
                    <a:pt x="114" y="146"/>
                    <a:pt x="83" y="146"/>
                  </a:cubicBezTo>
                  <a:cubicBezTo>
                    <a:pt x="53" y="146"/>
                    <a:pt x="29" y="119"/>
                    <a:pt x="29" y="87"/>
                  </a:cubicBezTo>
                  <a:cubicBezTo>
                    <a:pt x="29" y="61"/>
                    <a:pt x="45" y="38"/>
                    <a:pt x="68" y="31"/>
                  </a:cubicBezTo>
                  <a:cubicBezTo>
                    <a:pt x="69" y="31"/>
                    <a:pt x="70" y="30"/>
                    <a:pt x="70" y="29"/>
                  </a:cubicBezTo>
                  <a:cubicBezTo>
                    <a:pt x="70" y="3"/>
                    <a:pt x="70" y="3"/>
                    <a:pt x="70" y="3"/>
                  </a:cubicBezTo>
                  <a:cubicBezTo>
                    <a:pt x="70" y="1"/>
                    <a:pt x="69" y="0"/>
                    <a:pt x="67" y="0"/>
                  </a:cubicBezTo>
                  <a:cubicBezTo>
                    <a:pt x="67" y="0"/>
                    <a:pt x="67" y="0"/>
                    <a:pt x="6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dirty="0"/>
            </a:p>
          </p:txBody>
        </p:sp>
        <p:sp>
          <p:nvSpPr>
            <p:cNvPr id="28" name="Oval 11">
              <a:extLst>
                <a:ext uri="{FF2B5EF4-FFF2-40B4-BE49-F238E27FC236}">
                  <a16:creationId xmlns:a16="http://schemas.microsoft.com/office/drawing/2014/main" id="{67E362B8-97A1-4111-B148-BAE052A1BFA3}"/>
                </a:ext>
              </a:extLst>
            </p:cNvPr>
            <p:cNvSpPr>
              <a:spLocks noChangeArrowheads="1"/>
            </p:cNvSpPr>
            <p:nvPr userDrawn="1"/>
          </p:nvSpPr>
          <p:spPr bwMode="auto">
            <a:xfrm>
              <a:off x="284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dirty="0"/>
            </a:p>
          </p:txBody>
        </p:sp>
        <p:sp>
          <p:nvSpPr>
            <p:cNvPr id="29" name="Oval 12">
              <a:extLst>
                <a:ext uri="{FF2B5EF4-FFF2-40B4-BE49-F238E27FC236}">
                  <a16:creationId xmlns:a16="http://schemas.microsoft.com/office/drawing/2014/main" id="{4301693B-28CB-4C5D-8F2B-69A579B76B99}"/>
                </a:ext>
              </a:extLst>
            </p:cNvPr>
            <p:cNvSpPr>
              <a:spLocks noChangeArrowheads="1"/>
            </p:cNvSpPr>
            <p:nvPr userDrawn="1"/>
          </p:nvSpPr>
          <p:spPr bwMode="auto">
            <a:xfrm>
              <a:off x="387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dirty="0"/>
            </a:p>
          </p:txBody>
        </p:sp>
        <p:sp>
          <p:nvSpPr>
            <p:cNvPr id="30" name="Freeform 13">
              <a:extLst>
                <a:ext uri="{FF2B5EF4-FFF2-40B4-BE49-F238E27FC236}">
                  <a16:creationId xmlns:a16="http://schemas.microsoft.com/office/drawing/2014/main" id="{52D918BE-ADC1-4568-88E2-AF8C3F391F00}"/>
                </a:ext>
              </a:extLst>
            </p:cNvPr>
            <p:cNvSpPr>
              <a:spLocks/>
            </p:cNvSpPr>
            <p:nvPr userDrawn="1"/>
          </p:nvSpPr>
          <p:spPr bwMode="auto">
            <a:xfrm>
              <a:off x="4062" y="1584"/>
              <a:ext cx="242" cy="462"/>
            </a:xfrm>
            <a:custGeom>
              <a:avLst/>
              <a:gdLst>
                <a:gd name="T0" fmla="*/ 39 w 128"/>
                <a:gd name="T1" fmla="*/ 55 h 244"/>
                <a:gd name="T2" fmla="*/ 39 w 128"/>
                <a:gd name="T3" fmla="*/ 76 h 244"/>
                <a:gd name="T4" fmla="*/ 4 w 128"/>
                <a:gd name="T5" fmla="*/ 76 h 244"/>
                <a:gd name="T6" fmla="*/ 0 w 128"/>
                <a:gd name="T7" fmla="*/ 81 h 244"/>
                <a:gd name="T8" fmla="*/ 0 w 128"/>
                <a:gd name="T9" fmla="*/ 99 h 244"/>
                <a:gd name="T10" fmla="*/ 4 w 128"/>
                <a:gd name="T11" fmla="*/ 103 h 244"/>
                <a:gd name="T12" fmla="*/ 39 w 128"/>
                <a:gd name="T13" fmla="*/ 103 h 244"/>
                <a:gd name="T14" fmla="*/ 39 w 128"/>
                <a:gd name="T15" fmla="*/ 239 h 244"/>
                <a:gd name="T16" fmla="*/ 44 w 128"/>
                <a:gd name="T17" fmla="*/ 244 h 244"/>
                <a:gd name="T18" fmla="*/ 62 w 128"/>
                <a:gd name="T19" fmla="*/ 244 h 244"/>
                <a:gd name="T20" fmla="*/ 67 w 128"/>
                <a:gd name="T21" fmla="*/ 239 h 244"/>
                <a:gd name="T22" fmla="*/ 67 w 128"/>
                <a:gd name="T23" fmla="*/ 103 h 244"/>
                <a:gd name="T24" fmla="*/ 120 w 128"/>
                <a:gd name="T25" fmla="*/ 103 h 244"/>
                <a:gd name="T26" fmla="*/ 125 w 128"/>
                <a:gd name="T27" fmla="*/ 99 h 244"/>
                <a:gd name="T28" fmla="*/ 125 w 128"/>
                <a:gd name="T29" fmla="*/ 81 h 244"/>
                <a:gd name="T30" fmla="*/ 120 w 128"/>
                <a:gd name="T31" fmla="*/ 76 h 244"/>
                <a:gd name="T32" fmla="*/ 67 w 128"/>
                <a:gd name="T33" fmla="*/ 76 h 244"/>
                <a:gd name="T34" fmla="*/ 67 w 128"/>
                <a:gd name="T35" fmla="*/ 55 h 244"/>
                <a:gd name="T36" fmla="*/ 91 w 128"/>
                <a:gd name="T37" fmla="*/ 27 h 244"/>
                <a:gd name="T38" fmla="*/ 122 w 128"/>
                <a:gd name="T39" fmla="*/ 37 h 244"/>
                <a:gd name="T40" fmla="*/ 125 w 128"/>
                <a:gd name="T41" fmla="*/ 38 h 244"/>
                <a:gd name="T42" fmla="*/ 128 w 128"/>
                <a:gd name="T43" fmla="*/ 33 h 244"/>
                <a:gd name="T44" fmla="*/ 128 w 128"/>
                <a:gd name="T45" fmla="*/ 16 h 244"/>
                <a:gd name="T46" fmla="*/ 125 w 128"/>
                <a:gd name="T47" fmla="*/ 9 h 244"/>
                <a:gd name="T48" fmla="*/ 89 w 128"/>
                <a:gd name="T49" fmla="*/ 0 h 244"/>
                <a:gd name="T50" fmla="*/ 39 w 128"/>
                <a:gd name="T51" fmla="*/ 5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244">
                  <a:moveTo>
                    <a:pt x="39" y="55"/>
                  </a:moveTo>
                  <a:cubicBezTo>
                    <a:pt x="39" y="76"/>
                    <a:pt x="39" y="76"/>
                    <a:pt x="39" y="76"/>
                  </a:cubicBezTo>
                  <a:cubicBezTo>
                    <a:pt x="4" y="76"/>
                    <a:pt x="4" y="76"/>
                    <a:pt x="4" y="76"/>
                  </a:cubicBezTo>
                  <a:cubicBezTo>
                    <a:pt x="1" y="76"/>
                    <a:pt x="0" y="78"/>
                    <a:pt x="0" y="81"/>
                  </a:cubicBezTo>
                  <a:cubicBezTo>
                    <a:pt x="0" y="99"/>
                    <a:pt x="0" y="99"/>
                    <a:pt x="0" y="99"/>
                  </a:cubicBezTo>
                  <a:cubicBezTo>
                    <a:pt x="0" y="102"/>
                    <a:pt x="1" y="103"/>
                    <a:pt x="4" y="103"/>
                  </a:cubicBezTo>
                  <a:cubicBezTo>
                    <a:pt x="39" y="103"/>
                    <a:pt x="39" y="103"/>
                    <a:pt x="39" y="103"/>
                  </a:cubicBezTo>
                  <a:cubicBezTo>
                    <a:pt x="39" y="239"/>
                    <a:pt x="39" y="239"/>
                    <a:pt x="39" y="239"/>
                  </a:cubicBezTo>
                  <a:cubicBezTo>
                    <a:pt x="39" y="242"/>
                    <a:pt x="41" y="244"/>
                    <a:pt x="44" y="244"/>
                  </a:cubicBezTo>
                  <a:cubicBezTo>
                    <a:pt x="62" y="244"/>
                    <a:pt x="62" y="244"/>
                    <a:pt x="62" y="244"/>
                  </a:cubicBezTo>
                  <a:cubicBezTo>
                    <a:pt x="65" y="244"/>
                    <a:pt x="67" y="242"/>
                    <a:pt x="67" y="239"/>
                  </a:cubicBezTo>
                  <a:cubicBezTo>
                    <a:pt x="67" y="103"/>
                    <a:pt x="67" y="103"/>
                    <a:pt x="67" y="103"/>
                  </a:cubicBezTo>
                  <a:cubicBezTo>
                    <a:pt x="120" y="103"/>
                    <a:pt x="120" y="103"/>
                    <a:pt x="120" y="103"/>
                  </a:cubicBezTo>
                  <a:cubicBezTo>
                    <a:pt x="123" y="103"/>
                    <a:pt x="125" y="102"/>
                    <a:pt x="125" y="99"/>
                  </a:cubicBezTo>
                  <a:cubicBezTo>
                    <a:pt x="125" y="81"/>
                    <a:pt x="125" y="81"/>
                    <a:pt x="125" y="81"/>
                  </a:cubicBezTo>
                  <a:cubicBezTo>
                    <a:pt x="125" y="78"/>
                    <a:pt x="123" y="76"/>
                    <a:pt x="120" y="76"/>
                  </a:cubicBezTo>
                  <a:cubicBezTo>
                    <a:pt x="67" y="76"/>
                    <a:pt x="67" y="76"/>
                    <a:pt x="67" y="76"/>
                  </a:cubicBezTo>
                  <a:cubicBezTo>
                    <a:pt x="67" y="55"/>
                    <a:pt x="67" y="55"/>
                    <a:pt x="67" y="55"/>
                  </a:cubicBezTo>
                  <a:cubicBezTo>
                    <a:pt x="67" y="38"/>
                    <a:pt x="76" y="27"/>
                    <a:pt x="91" y="27"/>
                  </a:cubicBezTo>
                  <a:cubicBezTo>
                    <a:pt x="102" y="27"/>
                    <a:pt x="110" y="30"/>
                    <a:pt x="122" y="37"/>
                  </a:cubicBezTo>
                  <a:cubicBezTo>
                    <a:pt x="123" y="38"/>
                    <a:pt x="124" y="38"/>
                    <a:pt x="125" y="38"/>
                  </a:cubicBezTo>
                  <a:cubicBezTo>
                    <a:pt x="127" y="38"/>
                    <a:pt x="128" y="36"/>
                    <a:pt x="128" y="33"/>
                  </a:cubicBezTo>
                  <a:cubicBezTo>
                    <a:pt x="128" y="16"/>
                    <a:pt x="128" y="16"/>
                    <a:pt x="128" y="16"/>
                  </a:cubicBezTo>
                  <a:cubicBezTo>
                    <a:pt x="128" y="13"/>
                    <a:pt x="128" y="11"/>
                    <a:pt x="125" y="9"/>
                  </a:cubicBezTo>
                  <a:cubicBezTo>
                    <a:pt x="114" y="3"/>
                    <a:pt x="103" y="0"/>
                    <a:pt x="89" y="0"/>
                  </a:cubicBezTo>
                  <a:cubicBezTo>
                    <a:pt x="54" y="0"/>
                    <a:pt x="39" y="29"/>
                    <a:pt x="39"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dirty="0"/>
            </a:p>
          </p:txBody>
        </p:sp>
        <p:sp>
          <p:nvSpPr>
            <p:cNvPr id="31" name="Freeform 14">
              <a:extLst>
                <a:ext uri="{FF2B5EF4-FFF2-40B4-BE49-F238E27FC236}">
                  <a16:creationId xmlns:a16="http://schemas.microsoft.com/office/drawing/2014/main" id="{C865BE1B-431D-42EE-838F-6181568C2DEC}"/>
                </a:ext>
              </a:extLst>
            </p:cNvPr>
            <p:cNvSpPr>
              <a:spLocks/>
            </p:cNvSpPr>
            <p:nvPr userDrawn="1"/>
          </p:nvSpPr>
          <p:spPr bwMode="auto">
            <a:xfrm>
              <a:off x="2071" y="1578"/>
              <a:ext cx="632" cy="631"/>
            </a:xfrm>
            <a:custGeom>
              <a:avLst/>
              <a:gdLst>
                <a:gd name="T0" fmla="*/ 181 w 334"/>
                <a:gd name="T1" fmla="*/ 1 h 333"/>
                <a:gd name="T2" fmla="*/ 180 w 334"/>
                <a:gd name="T3" fmla="*/ 4 h 333"/>
                <a:gd name="T4" fmla="*/ 180 w 334"/>
                <a:gd name="T5" fmla="*/ 26 h 333"/>
                <a:gd name="T6" fmla="*/ 180 w 334"/>
                <a:gd name="T7" fmla="*/ 26 h 333"/>
                <a:gd name="T8" fmla="*/ 182 w 334"/>
                <a:gd name="T9" fmla="*/ 28 h 333"/>
                <a:gd name="T10" fmla="*/ 306 w 334"/>
                <a:gd name="T11" fmla="*/ 166 h 333"/>
                <a:gd name="T12" fmla="*/ 167 w 334"/>
                <a:gd name="T13" fmla="*/ 305 h 333"/>
                <a:gd name="T14" fmla="*/ 28 w 334"/>
                <a:gd name="T15" fmla="*/ 166 h 333"/>
                <a:gd name="T16" fmla="*/ 152 w 334"/>
                <a:gd name="T17" fmla="*/ 28 h 333"/>
                <a:gd name="T18" fmla="*/ 154 w 334"/>
                <a:gd name="T19" fmla="*/ 26 h 333"/>
                <a:gd name="T20" fmla="*/ 154 w 334"/>
                <a:gd name="T21" fmla="*/ 26 h 333"/>
                <a:gd name="T22" fmla="*/ 154 w 334"/>
                <a:gd name="T23" fmla="*/ 4 h 333"/>
                <a:gd name="T24" fmla="*/ 153 w 334"/>
                <a:gd name="T25" fmla="*/ 1 h 333"/>
                <a:gd name="T26" fmla="*/ 150 w 334"/>
                <a:gd name="T27" fmla="*/ 0 h 333"/>
                <a:gd name="T28" fmla="*/ 149 w 334"/>
                <a:gd name="T29" fmla="*/ 0 h 333"/>
                <a:gd name="T30" fmla="*/ 149 w 334"/>
                <a:gd name="T31" fmla="*/ 0 h 333"/>
                <a:gd name="T32" fmla="*/ 0 w 334"/>
                <a:gd name="T33" fmla="*/ 166 h 333"/>
                <a:gd name="T34" fmla="*/ 167 w 334"/>
                <a:gd name="T35" fmla="*/ 333 h 333"/>
                <a:gd name="T36" fmla="*/ 334 w 334"/>
                <a:gd name="T37" fmla="*/ 166 h 333"/>
                <a:gd name="T38" fmla="*/ 185 w 334"/>
                <a:gd name="T39" fmla="*/ 0 h 333"/>
                <a:gd name="T40" fmla="*/ 185 w 334"/>
                <a:gd name="T41" fmla="*/ 0 h 333"/>
                <a:gd name="T42" fmla="*/ 184 w 334"/>
                <a:gd name="T43" fmla="*/ 0 h 333"/>
                <a:gd name="T44" fmla="*/ 181 w 334"/>
                <a:gd name="T45" fmla="*/ 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4" h="333">
                  <a:moveTo>
                    <a:pt x="181" y="1"/>
                  </a:moveTo>
                  <a:cubicBezTo>
                    <a:pt x="180" y="2"/>
                    <a:pt x="180" y="3"/>
                    <a:pt x="180" y="4"/>
                  </a:cubicBezTo>
                  <a:cubicBezTo>
                    <a:pt x="180" y="26"/>
                    <a:pt x="180" y="26"/>
                    <a:pt x="180" y="26"/>
                  </a:cubicBezTo>
                  <a:cubicBezTo>
                    <a:pt x="180" y="26"/>
                    <a:pt x="180" y="26"/>
                    <a:pt x="180" y="26"/>
                  </a:cubicBezTo>
                  <a:cubicBezTo>
                    <a:pt x="180" y="27"/>
                    <a:pt x="181" y="28"/>
                    <a:pt x="182" y="28"/>
                  </a:cubicBezTo>
                  <a:cubicBezTo>
                    <a:pt x="251" y="35"/>
                    <a:pt x="306" y="94"/>
                    <a:pt x="306" y="166"/>
                  </a:cubicBezTo>
                  <a:cubicBezTo>
                    <a:pt x="306" y="243"/>
                    <a:pt x="244" y="305"/>
                    <a:pt x="167" y="305"/>
                  </a:cubicBezTo>
                  <a:cubicBezTo>
                    <a:pt x="90" y="305"/>
                    <a:pt x="28" y="243"/>
                    <a:pt x="28" y="166"/>
                  </a:cubicBezTo>
                  <a:cubicBezTo>
                    <a:pt x="28" y="94"/>
                    <a:pt x="82" y="35"/>
                    <a:pt x="152" y="28"/>
                  </a:cubicBezTo>
                  <a:cubicBezTo>
                    <a:pt x="153" y="28"/>
                    <a:pt x="154" y="27"/>
                    <a:pt x="154" y="26"/>
                  </a:cubicBezTo>
                  <a:cubicBezTo>
                    <a:pt x="154" y="26"/>
                    <a:pt x="154" y="26"/>
                    <a:pt x="154" y="26"/>
                  </a:cubicBezTo>
                  <a:cubicBezTo>
                    <a:pt x="154" y="4"/>
                    <a:pt x="154" y="4"/>
                    <a:pt x="154" y="4"/>
                  </a:cubicBezTo>
                  <a:cubicBezTo>
                    <a:pt x="154" y="3"/>
                    <a:pt x="154" y="2"/>
                    <a:pt x="153" y="1"/>
                  </a:cubicBezTo>
                  <a:cubicBezTo>
                    <a:pt x="152" y="0"/>
                    <a:pt x="151" y="0"/>
                    <a:pt x="150" y="0"/>
                  </a:cubicBezTo>
                  <a:cubicBezTo>
                    <a:pt x="149" y="0"/>
                    <a:pt x="149" y="0"/>
                    <a:pt x="149" y="0"/>
                  </a:cubicBezTo>
                  <a:cubicBezTo>
                    <a:pt x="149" y="0"/>
                    <a:pt x="149" y="0"/>
                    <a:pt x="149" y="0"/>
                  </a:cubicBezTo>
                  <a:cubicBezTo>
                    <a:pt x="65" y="9"/>
                    <a:pt x="0" y="80"/>
                    <a:pt x="0" y="166"/>
                  </a:cubicBezTo>
                  <a:cubicBezTo>
                    <a:pt x="0" y="258"/>
                    <a:pt x="75" y="333"/>
                    <a:pt x="167" y="333"/>
                  </a:cubicBezTo>
                  <a:cubicBezTo>
                    <a:pt x="259" y="333"/>
                    <a:pt x="334" y="258"/>
                    <a:pt x="334" y="166"/>
                  </a:cubicBezTo>
                  <a:cubicBezTo>
                    <a:pt x="334" y="80"/>
                    <a:pt x="269" y="9"/>
                    <a:pt x="185" y="0"/>
                  </a:cubicBezTo>
                  <a:cubicBezTo>
                    <a:pt x="185" y="0"/>
                    <a:pt x="185" y="0"/>
                    <a:pt x="185" y="0"/>
                  </a:cubicBezTo>
                  <a:cubicBezTo>
                    <a:pt x="185" y="0"/>
                    <a:pt x="184" y="0"/>
                    <a:pt x="184" y="0"/>
                  </a:cubicBezTo>
                  <a:cubicBezTo>
                    <a:pt x="183" y="0"/>
                    <a:pt x="182" y="0"/>
                    <a:pt x="18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dirty="0"/>
            </a:p>
          </p:txBody>
        </p:sp>
      </p:grpSp>
      <p:sp>
        <p:nvSpPr>
          <p:cNvPr id="8" name="TextBox 7">
            <a:extLst>
              <a:ext uri="{FF2B5EF4-FFF2-40B4-BE49-F238E27FC236}">
                <a16:creationId xmlns:a16="http://schemas.microsoft.com/office/drawing/2014/main" id="{50B095A4-42EE-20ED-7CD4-E8E3471489A2}"/>
              </a:ext>
            </a:extLst>
          </p:cNvPr>
          <p:cNvSpPr txBox="1"/>
          <p:nvPr userDrawn="1">
            <p:extLst>
              <p:ext uri="{1162E1C5-73C7-4A58-AE30-91384D911F3F}">
                <p184:classification xmlns:p184="http://schemas.microsoft.com/office/powerpoint/2018/4/main" val="hdr"/>
              </p:ext>
            </p:extLst>
          </p:nvPr>
        </p:nvSpPr>
        <p:spPr>
          <a:xfrm>
            <a:off x="0" y="0"/>
            <a:ext cx="509588" cy="152400"/>
          </a:xfrm>
          <a:prstGeom prst="rect">
            <a:avLst/>
          </a:prstGeom>
        </p:spPr>
        <p:txBody>
          <a:bodyPr horzOverflow="overflow" lIns="0" tIns="0" rIns="0" bIns="0">
            <a:spAutoFit/>
          </a:bodyPr>
          <a:lstStyle/>
          <a:p>
            <a:pPr algn="l"/>
            <a:r>
              <a:rPr lang="en-BE" sz="1000" dirty="0">
                <a:solidFill>
                  <a:srgbClr val="000000"/>
                </a:solidFill>
                <a:latin typeface="Calibri" panose="020F0502020204030204" pitchFamily="34" charset="0"/>
                <a:cs typeface="Calibri" panose="020F0502020204030204" pitchFamily="34" charset="0"/>
              </a:rPr>
              <a:t>Classified</a:t>
            </a:r>
          </a:p>
        </p:txBody>
      </p:sp>
    </p:spTree>
    <p:extLst>
      <p:ext uri="{BB962C8B-B14F-4D97-AF65-F5344CB8AC3E}">
        <p14:creationId xmlns:p14="http://schemas.microsoft.com/office/powerpoint/2010/main" val="3157762860"/>
      </p:ext>
    </p:extLst>
  </p:cSld>
  <p:clrMap bg1="lt1" tx1="dk1" bg2="lt2" tx2="dk2" accent1="accent1" accent2="accent2" accent3="accent3" accent4="accent4" accent5="accent5" accent6="accent6" hlink="hlink" folHlink="folHlink"/>
  <p:sldLayoutIdLst>
    <p:sldLayoutId id="2147483956" r:id="rId1"/>
    <p:sldLayoutId id="2147483957" r:id="rId2"/>
    <p:sldLayoutId id="2147483958" r:id="rId3"/>
    <p:sldLayoutId id="2147483959" r:id="rId4"/>
    <p:sldLayoutId id="2147483960" r:id="rId5"/>
    <p:sldLayoutId id="2147483961" r:id="rId6"/>
    <p:sldLayoutId id="2147483962" r:id="rId7"/>
    <p:sldLayoutId id="2147483963" r:id="rId8"/>
    <p:sldLayoutId id="2147483964" r:id="rId9"/>
    <p:sldLayoutId id="2147483965" r:id="rId10"/>
    <p:sldLayoutId id="2147483966" r:id="rId11"/>
    <p:sldLayoutId id="2147483967" r:id="rId12"/>
    <p:sldLayoutId id="2147483968" r:id="rId13"/>
    <p:sldLayoutId id="2147483969" r:id="rId14"/>
    <p:sldLayoutId id="2147483970" r:id="rId15"/>
    <p:sldLayoutId id="2147483971" r:id="rId16"/>
    <p:sldLayoutId id="2147483972" r:id="rId17"/>
    <p:sldLayoutId id="2147483973" r:id="rId18"/>
    <p:sldLayoutId id="2147483974" r:id="rId19"/>
    <p:sldLayoutId id="2147483975" r:id="rId20"/>
    <p:sldLayoutId id="2147483976" r:id="rId21"/>
    <p:sldLayoutId id="2147483977" r:id="rId22"/>
    <p:sldLayoutId id="2147483978" r:id="rId23"/>
  </p:sldLayoutIdLst>
  <p:transition>
    <p:fade/>
  </p:transition>
  <p:hf hdr="0" dt="0"/>
  <p:txStyles>
    <p:titleStyle>
      <a:lvl1pPr algn="l" defTabSz="1042512" rtl="0" eaLnBrk="1" latinLnBrk="0" hangingPunct="1">
        <a:lnSpc>
          <a:spcPct val="90000"/>
        </a:lnSpc>
        <a:spcBef>
          <a:spcPct val="0"/>
        </a:spcBef>
        <a:buNone/>
        <a:defRPr sz="2400" b="0" kern="1200">
          <a:solidFill>
            <a:schemeClr val="tx2"/>
          </a:solidFill>
          <a:latin typeface="+mj-lt"/>
          <a:ea typeface="+mj-ea"/>
          <a:cs typeface="+mj-cs"/>
        </a:defRPr>
      </a:lvl1pPr>
    </p:titleStyle>
    <p:bodyStyle>
      <a:lvl1pPr marL="0" indent="0" algn="l" defTabSz="1042512" rtl="0" eaLnBrk="1" latinLnBrk="0" hangingPunct="1">
        <a:lnSpc>
          <a:spcPct val="90000"/>
        </a:lnSpc>
        <a:spcBef>
          <a:spcPts val="0"/>
        </a:spcBef>
        <a:spcAft>
          <a:spcPts val="1027"/>
        </a:spcAft>
        <a:buFont typeface="Arial" panose="020B0604020202020204" pitchFamily="34" charset="0"/>
        <a:buNone/>
        <a:defRPr sz="1597" kern="1200">
          <a:solidFill>
            <a:schemeClr val="tx2"/>
          </a:solidFill>
          <a:latin typeface="+mn-lt"/>
          <a:ea typeface="+mn-ea"/>
          <a:cs typeface="+mn-cs"/>
        </a:defRPr>
      </a:lvl1pPr>
      <a:lvl2pPr marL="0" indent="0" algn="l" defTabSz="1042512" rtl="0" eaLnBrk="1" latinLnBrk="0" hangingPunct="1">
        <a:lnSpc>
          <a:spcPct val="90000"/>
        </a:lnSpc>
        <a:spcBef>
          <a:spcPts val="0"/>
        </a:spcBef>
        <a:spcAft>
          <a:spcPts val="1027"/>
        </a:spcAft>
        <a:buFont typeface="Arial" panose="020B0604020202020204" pitchFamily="34" charset="0"/>
        <a:buNone/>
        <a:defRPr sz="1597" b="0" kern="1200">
          <a:solidFill>
            <a:schemeClr val="tx2"/>
          </a:solidFill>
          <a:latin typeface="Signify Relative Bold" panose="02000806030000020004" pitchFamily="50" charset="0"/>
          <a:ea typeface="+mn-ea"/>
          <a:cs typeface="+mn-cs"/>
        </a:defRPr>
      </a:lvl2pPr>
      <a:lvl3pPr marL="0" indent="0" algn="l" defTabSz="1042512" rtl="0" eaLnBrk="1" latinLnBrk="0" hangingPunct="1">
        <a:lnSpc>
          <a:spcPct val="90000"/>
        </a:lnSpc>
        <a:spcBef>
          <a:spcPts val="0"/>
        </a:spcBef>
        <a:spcAft>
          <a:spcPts val="1027"/>
        </a:spcAft>
        <a:buFont typeface="Arial" panose="020B0604020202020204" pitchFamily="34" charset="0"/>
        <a:buNone/>
        <a:defRPr sz="1597" kern="1200">
          <a:solidFill>
            <a:schemeClr val="accent5"/>
          </a:solidFill>
          <a:latin typeface="+mn-lt"/>
          <a:ea typeface="+mn-ea"/>
          <a:cs typeface="+mn-cs"/>
        </a:defRPr>
      </a:lvl3pPr>
      <a:lvl4pPr marL="290427" indent="-290427" algn="l" defTabSz="1042512" rtl="0" eaLnBrk="1" latinLnBrk="0" hangingPunct="1">
        <a:lnSpc>
          <a:spcPct val="90000"/>
        </a:lnSpc>
        <a:spcBef>
          <a:spcPts val="0"/>
        </a:spcBef>
        <a:spcAft>
          <a:spcPts val="684"/>
        </a:spcAft>
        <a:buClr>
          <a:schemeClr val="accent5"/>
        </a:buClr>
        <a:buFont typeface="Arial" panose="020B0604020202020204" pitchFamily="34" charset="0"/>
        <a:buChar char="•"/>
        <a:defRPr sz="1400" kern="1200">
          <a:solidFill>
            <a:schemeClr val="tx2"/>
          </a:solidFill>
          <a:latin typeface="+mn-lt"/>
          <a:ea typeface="+mn-ea"/>
          <a:cs typeface="+mn-cs"/>
        </a:defRPr>
      </a:lvl4pPr>
      <a:lvl5pPr marL="580854" indent="-290427" algn="l" defTabSz="1042512" rtl="0" eaLnBrk="1" latinLnBrk="0" hangingPunct="1">
        <a:lnSpc>
          <a:spcPct val="90000"/>
        </a:lnSpc>
        <a:spcBef>
          <a:spcPts val="0"/>
        </a:spcBef>
        <a:spcAft>
          <a:spcPts val="684"/>
        </a:spcAft>
        <a:buClr>
          <a:schemeClr val="accent5"/>
        </a:buClr>
        <a:buFont typeface="Arial" panose="020B0604020202020204" pitchFamily="34" charset="0"/>
        <a:buChar char="•"/>
        <a:defRPr sz="1400" kern="1200">
          <a:solidFill>
            <a:schemeClr val="tx2"/>
          </a:solidFill>
          <a:latin typeface="+mn-lt"/>
          <a:ea typeface="+mn-ea"/>
          <a:cs typeface="+mn-cs"/>
        </a:defRPr>
      </a:lvl5pPr>
      <a:lvl6pPr marL="871281" indent="-290427" algn="l" defTabSz="1042512" rtl="0" eaLnBrk="1" latinLnBrk="0" hangingPunct="1">
        <a:lnSpc>
          <a:spcPct val="90000"/>
        </a:lnSpc>
        <a:spcBef>
          <a:spcPts val="0"/>
        </a:spcBef>
        <a:spcAft>
          <a:spcPts val="684"/>
        </a:spcAft>
        <a:buClr>
          <a:schemeClr val="accent5"/>
        </a:buClr>
        <a:buFont typeface="Arial" panose="020B0604020202020204" pitchFamily="34" charset="0"/>
        <a:buChar char="•"/>
        <a:defRPr sz="1400" kern="1200">
          <a:solidFill>
            <a:schemeClr val="tx2"/>
          </a:solidFill>
          <a:latin typeface="+mn-lt"/>
          <a:ea typeface="+mn-ea"/>
          <a:cs typeface="+mn-cs"/>
        </a:defRPr>
      </a:lvl6pPr>
      <a:lvl7pPr marL="1161708" indent="-290427" algn="l" defTabSz="1042512" rtl="0" eaLnBrk="1" latinLnBrk="0" hangingPunct="1">
        <a:lnSpc>
          <a:spcPct val="90000"/>
        </a:lnSpc>
        <a:spcBef>
          <a:spcPts val="0"/>
        </a:spcBef>
        <a:spcAft>
          <a:spcPts val="684"/>
        </a:spcAft>
        <a:buClr>
          <a:schemeClr val="accent5"/>
        </a:buClr>
        <a:buFont typeface="Arial" panose="020B0604020202020204" pitchFamily="34" charset="0"/>
        <a:buChar char="•"/>
        <a:defRPr sz="1400" kern="1200">
          <a:solidFill>
            <a:schemeClr val="tx2"/>
          </a:solidFill>
          <a:latin typeface="+mn-lt"/>
          <a:ea typeface="+mn-ea"/>
          <a:cs typeface="+mn-cs"/>
        </a:defRPr>
      </a:lvl7pPr>
      <a:lvl8pPr marL="1452133" indent="-290427" algn="l" defTabSz="1042512" rtl="0" eaLnBrk="1" latinLnBrk="0" hangingPunct="1">
        <a:lnSpc>
          <a:spcPct val="90000"/>
        </a:lnSpc>
        <a:spcBef>
          <a:spcPts val="0"/>
        </a:spcBef>
        <a:spcAft>
          <a:spcPts val="684"/>
        </a:spcAft>
        <a:buClr>
          <a:schemeClr val="accent5"/>
        </a:buClr>
        <a:buFont typeface="Arial" panose="020B0604020202020204" pitchFamily="34" charset="0"/>
        <a:buChar char="•"/>
        <a:defRPr sz="1400" kern="1200">
          <a:solidFill>
            <a:schemeClr val="tx2"/>
          </a:solidFill>
          <a:latin typeface="+mn-lt"/>
          <a:ea typeface="+mn-ea"/>
          <a:cs typeface="+mn-cs"/>
        </a:defRPr>
      </a:lvl8pPr>
      <a:lvl9pPr marL="1742562" indent="-290427" algn="l" defTabSz="1042512" rtl="0" eaLnBrk="1" latinLnBrk="0" hangingPunct="1">
        <a:lnSpc>
          <a:spcPct val="90000"/>
        </a:lnSpc>
        <a:spcBef>
          <a:spcPts val="0"/>
        </a:spcBef>
        <a:spcAft>
          <a:spcPts val="684"/>
        </a:spcAft>
        <a:buClr>
          <a:schemeClr val="accent5"/>
        </a:buClr>
        <a:buFont typeface="Arial" panose="020B0604020202020204" pitchFamily="34" charset="0"/>
        <a:buChar char="•"/>
        <a:defRPr sz="1400" kern="1200">
          <a:solidFill>
            <a:schemeClr val="tx2"/>
          </a:solidFill>
          <a:latin typeface="+mn-lt"/>
          <a:ea typeface="+mn-ea"/>
          <a:cs typeface="+mn-cs"/>
        </a:defRPr>
      </a:lvl9pPr>
    </p:bodyStyle>
    <p:otherStyle>
      <a:defPPr>
        <a:defRPr lang="en-US"/>
      </a:defPPr>
      <a:lvl1pPr marL="0" algn="l" defTabSz="1042512" rtl="0" eaLnBrk="1" latinLnBrk="0" hangingPunct="1">
        <a:defRPr sz="2052" kern="1200">
          <a:solidFill>
            <a:schemeClr val="tx1"/>
          </a:solidFill>
          <a:latin typeface="+mn-lt"/>
          <a:ea typeface="+mn-ea"/>
          <a:cs typeface="+mn-cs"/>
        </a:defRPr>
      </a:lvl1pPr>
      <a:lvl2pPr marL="521258" algn="l" defTabSz="1042512" rtl="0" eaLnBrk="1" latinLnBrk="0" hangingPunct="1">
        <a:defRPr sz="2052" kern="1200">
          <a:solidFill>
            <a:schemeClr val="tx1"/>
          </a:solidFill>
          <a:latin typeface="+mn-lt"/>
          <a:ea typeface="+mn-ea"/>
          <a:cs typeface="+mn-cs"/>
        </a:defRPr>
      </a:lvl2pPr>
      <a:lvl3pPr marL="1042512" algn="l" defTabSz="1042512" rtl="0" eaLnBrk="1" latinLnBrk="0" hangingPunct="1">
        <a:defRPr sz="2052" kern="1200">
          <a:solidFill>
            <a:schemeClr val="tx1"/>
          </a:solidFill>
          <a:latin typeface="+mn-lt"/>
          <a:ea typeface="+mn-ea"/>
          <a:cs typeface="+mn-cs"/>
        </a:defRPr>
      </a:lvl3pPr>
      <a:lvl4pPr marL="1563773" algn="l" defTabSz="1042512" rtl="0" eaLnBrk="1" latinLnBrk="0" hangingPunct="1">
        <a:defRPr sz="2052" kern="1200">
          <a:solidFill>
            <a:schemeClr val="tx1"/>
          </a:solidFill>
          <a:latin typeface="+mn-lt"/>
          <a:ea typeface="+mn-ea"/>
          <a:cs typeface="+mn-cs"/>
        </a:defRPr>
      </a:lvl4pPr>
      <a:lvl5pPr marL="2085031" algn="l" defTabSz="1042512" rtl="0" eaLnBrk="1" latinLnBrk="0" hangingPunct="1">
        <a:defRPr sz="2052" kern="1200">
          <a:solidFill>
            <a:schemeClr val="tx1"/>
          </a:solidFill>
          <a:latin typeface="+mn-lt"/>
          <a:ea typeface="+mn-ea"/>
          <a:cs typeface="+mn-cs"/>
        </a:defRPr>
      </a:lvl5pPr>
      <a:lvl6pPr marL="2606285" algn="l" defTabSz="1042512" rtl="0" eaLnBrk="1" latinLnBrk="0" hangingPunct="1">
        <a:defRPr sz="2052" kern="1200">
          <a:solidFill>
            <a:schemeClr val="tx1"/>
          </a:solidFill>
          <a:latin typeface="+mn-lt"/>
          <a:ea typeface="+mn-ea"/>
          <a:cs typeface="+mn-cs"/>
        </a:defRPr>
      </a:lvl6pPr>
      <a:lvl7pPr marL="3127543" algn="l" defTabSz="1042512" rtl="0" eaLnBrk="1" latinLnBrk="0" hangingPunct="1">
        <a:defRPr sz="2052" kern="1200">
          <a:solidFill>
            <a:schemeClr val="tx1"/>
          </a:solidFill>
          <a:latin typeface="+mn-lt"/>
          <a:ea typeface="+mn-ea"/>
          <a:cs typeface="+mn-cs"/>
        </a:defRPr>
      </a:lvl7pPr>
      <a:lvl8pPr marL="3648803" algn="l" defTabSz="1042512" rtl="0" eaLnBrk="1" latinLnBrk="0" hangingPunct="1">
        <a:defRPr sz="2052" kern="1200">
          <a:solidFill>
            <a:schemeClr val="tx1"/>
          </a:solidFill>
          <a:latin typeface="+mn-lt"/>
          <a:ea typeface="+mn-ea"/>
          <a:cs typeface="+mn-cs"/>
        </a:defRPr>
      </a:lvl8pPr>
      <a:lvl9pPr marL="4170060" algn="l" defTabSz="1042512" rtl="0" eaLnBrk="1" latinLnBrk="0" hangingPunct="1">
        <a:defRPr sz="205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1">
          <p15:clr>
            <a:srgbClr val="F26B43"/>
          </p15:clr>
        </p15:guide>
        <p15:guide id="2" pos="3840">
          <p15:clr>
            <a:srgbClr val="F26B43"/>
          </p15:clr>
        </p15:guide>
        <p15:guide id="3" pos="260">
          <p15:clr>
            <a:srgbClr val="F26B43"/>
          </p15:clr>
        </p15:guide>
        <p15:guide id="4" pos="7420">
          <p15:clr>
            <a:srgbClr val="F26B43"/>
          </p15:clr>
        </p15:guide>
        <p15:guide id="5" orient="horz" pos="259">
          <p15:clr>
            <a:srgbClr val="F26B43"/>
          </p15:clr>
        </p15:guide>
        <p15:guide id="6" orient="horz" pos="958">
          <p15:clr>
            <a:srgbClr val="F26B43"/>
          </p15:clr>
        </p15:guide>
        <p15:guide id="7" orient="horz" pos="3989">
          <p15:clr>
            <a:srgbClr val="F26B43"/>
          </p15:clr>
        </p15:guide>
        <p15:guide id="8" orient="horz" pos="3790">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429A769-2EFD-4253-85BF-4340281BD225}"/>
              </a:ext>
            </a:extLst>
          </p:cNvPr>
          <p:cNvGraphicFramePr>
            <a:graphicFrameLocks noChangeAspect="1"/>
          </p:cNvGraphicFramePr>
          <p:nvPr userDrawn="1">
            <p:custDataLst>
              <p:tags r:id="rId24"/>
            </p:custDataLst>
            <p:extLst>
              <p:ext uri="{D42A27DB-BD31-4B8C-83A1-F6EECF244321}">
                <p14:modId xmlns:p14="http://schemas.microsoft.com/office/powerpoint/2010/main" val="37174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96" imgH="396" progId="TCLayout.ActiveDocument.1">
                  <p:embed/>
                </p:oleObj>
              </mc:Choice>
              <mc:Fallback>
                <p:oleObj name="think-cell Slide" r:id="rId26" imgW="396" imgH="396" progId="TCLayout.ActiveDocument.1">
                  <p:embed/>
                  <p:pic>
                    <p:nvPicPr>
                      <p:cNvPr id="8" name="Object 7" hidden="1">
                        <a:extLst>
                          <a:ext uri="{FF2B5EF4-FFF2-40B4-BE49-F238E27FC236}">
                            <a16:creationId xmlns:a16="http://schemas.microsoft.com/office/drawing/2014/main" id="{C429A769-2EFD-4253-85BF-4340281BD225}"/>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A2FDD2C-29ED-4DDE-A21C-40FC2751D6DC}"/>
              </a:ext>
            </a:extLst>
          </p:cNvPr>
          <p:cNvSpPr/>
          <p:nvPr userDrawn="1">
            <p:custDataLst>
              <p:tags r:id="rId25"/>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lnSpc>
                <a:spcPct val="90000"/>
              </a:lnSpc>
              <a:spcAft>
                <a:spcPts val="900"/>
              </a:spcAft>
            </a:pPr>
            <a:endParaRPr lang="en-US" sz="2400" b="0" i="0" baseline="0" dirty="0" err="1">
              <a:solidFill>
                <a:schemeClr val="bg1"/>
              </a:solidFill>
              <a:latin typeface="Signify Raisonne DemiBold"/>
              <a:ea typeface="+mj-ea"/>
              <a:cs typeface="+mj-cs"/>
              <a:sym typeface="Signify Raisonne DemiBold"/>
            </a:endParaRPr>
          </a:p>
        </p:txBody>
      </p:sp>
      <p:sp>
        <p:nvSpPr>
          <p:cNvPr id="2" name="Title Placeholder 1"/>
          <p:cNvSpPr>
            <a:spLocks noGrp="1"/>
          </p:cNvSpPr>
          <p:nvPr>
            <p:ph type="title"/>
          </p:nvPr>
        </p:nvSpPr>
        <p:spPr>
          <a:xfrm>
            <a:off x="410879" y="410669"/>
            <a:ext cx="11368018" cy="776038"/>
          </a:xfrm>
          <a:prstGeom prst="rect">
            <a:avLst/>
          </a:prstGeom>
        </p:spPr>
        <p:txBody>
          <a:bodyPr vert="horz" lIns="0" tIns="0" rIns="0" bIns="0" rtlCol="0" anchor="t" anchorCtr="0">
            <a:noAutofit/>
          </a:bodyPr>
          <a:lstStyle/>
          <a:p>
            <a:r>
              <a:rPr lang="en-US" noProof="0"/>
              <a:t>Click to edit Master title style</a:t>
            </a:r>
          </a:p>
        </p:txBody>
      </p:sp>
      <p:sp>
        <p:nvSpPr>
          <p:cNvPr id="3" name="Text Placeholder 2"/>
          <p:cNvSpPr>
            <a:spLocks noGrp="1"/>
          </p:cNvSpPr>
          <p:nvPr>
            <p:ph type="body" idx="1"/>
          </p:nvPr>
        </p:nvSpPr>
        <p:spPr>
          <a:xfrm>
            <a:off x="410879" y="1521182"/>
            <a:ext cx="11368018" cy="4494734"/>
          </a:xfrm>
          <a:prstGeom prst="rect">
            <a:avLst/>
          </a:prstGeom>
        </p:spPr>
        <p:txBody>
          <a:bodyPr vert="horz" lIns="0" tIns="0" rIns="0" bIns="0" rtlCol="0" anchor="t" anchorCtr="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Date Placeholder 3"/>
          <p:cNvSpPr>
            <a:spLocks noGrp="1"/>
          </p:cNvSpPr>
          <p:nvPr>
            <p:ph type="dt" sz="half" idx="2"/>
          </p:nvPr>
        </p:nvSpPr>
        <p:spPr>
          <a:xfrm>
            <a:off x="6096910" y="6332830"/>
            <a:ext cx="1194866" cy="273450"/>
          </a:xfrm>
          <a:prstGeom prst="rect">
            <a:avLst/>
          </a:prstGeom>
        </p:spPr>
        <p:txBody>
          <a:bodyPr vert="horz" lIns="0" tIns="0" rIns="0" bIns="0" rtlCol="0" anchor="t" anchorCtr="0">
            <a:noAutofit/>
          </a:bodyPr>
          <a:lstStyle>
            <a:lvl1pPr algn="l">
              <a:defRPr sz="1100">
                <a:solidFill>
                  <a:schemeClr val="accent5"/>
                </a:solidFill>
              </a:defRPr>
            </a:lvl1pPr>
          </a:lstStyle>
          <a:p>
            <a:endParaRPr lang="en-US"/>
          </a:p>
        </p:txBody>
      </p:sp>
      <p:sp>
        <p:nvSpPr>
          <p:cNvPr id="5" name="Footer Placeholder 4"/>
          <p:cNvSpPr>
            <a:spLocks noGrp="1"/>
          </p:cNvSpPr>
          <p:nvPr>
            <p:ph type="ftr" sz="quarter" idx="3"/>
          </p:nvPr>
        </p:nvSpPr>
        <p:spPr>
          <a:xfrm>
            <a:off x="920368" y="6332830"/>
            <a:ext cx="4784400" cy="273450"/>
          </a:xfrm>
          <a:prstGeom prst="rect">
            <a:avLst/>
          </a:prstGeom>
        </p:spPr>
        <p:txBody>
          <a:bodyPr vert="horz" lIns="0" tIns="0" rIns="0" bIns="0" rtlCol="0" anchor="t" anchorCtr="0">
            <a:noAutofit/>
          </a:bodyPr>
          <a:lstStyle>
            <a:lvl1pPr algn="l">
              <a:defRPr sz="1100">
                <a:solidFill>
                  <a:schemeClr val="accent5"/>
                </a:solidFill>
              </a:defRPr>
            </a:lvl1pPr>
          </a:lstStyle>
          <a:p>
            <a:r>
              <a:rPr lang="en-US"/>
              <a:t>Document Name</a:t>
            </a:r>
          </a:p>
        </p:txBody>
      </p:sp>
      <p:sp>
        <p:nvSpPr>
          <p:cNvPr id="6" name="Slide Number Placeholder 5"/>
          <p:cNvSpPr>
            <a:spLocks noGrp="1"/>
          </p:cNvSpPr>
          <p:nvPr>
            <p:ph type="sldNum" sz="quarter" idx="4"/>
          </p:nvPr>
        </p:nvSpPr>
        <p:spPr>
          <a:xfrm>
            <a:off x="410882" y="6332830"/>
            <a:ext cx="507262" cy="273450"/>
          </a:xfrm>
          <a:prstGeom prst="rect">
            <a:avLst/>
          </a:prstGeom>
        </p:spPr>
        <p:txBody>
          <a:bodyPr vert="horz" lIns="0" tIns="0" rIns="0" bIns="0" rtlCol="0" anchor="t" anchorCtr="0">
            <a:noAutofit/>
          </a:bodyPr>
          <a:lstStyle>
            <a:lvl1pPr algn="l">
              <a:defRPr sz="1100">
                <a:solidFill>
                  <a:schemeClr val="accent5"/>
                </a:solidFill>
              </a:defRPr>
            </a:lvl1pPr>
          </a:lstStyle>
          <a:p>
            <a:fld id="{32B354EE-31EA-4FC2-9496-7B6202183237}" type="slidenum">
              <a:rPr lang="en-US" smtClean="0"/>
              <a:pPr/>
              <a:t>‹#›</a:t>
            </a:fld>
            <a:endParaRPr lang="en-US"/>
          </a:p>
        </p:txBody>
      </p:sp>
      <p:grpSp>
        <p:nvGrpSpPr>
          <p:cNvPr id="20" name="Group 4">
            <a:extLst>
              <a:ext uri="{FF2B5EF4-FFF2-40B4-BE49-F238E27FC236}">
                <a16:creationId xmlns:a16="http://schemas.microsoft.com/office/drawing/2014/main" id="{1904BA4D-1AFB-42A4-8284-784441CF6C68}"/>
              </a:ext>
            </a:extLst>
          </p:cNvPr>
          <p:cNvGrpSpPr>
            <a:grpSpLocks noChangeAspect="1"/>
          </p:cNvGrpSpPr>
          <p:nvPr userDrawn="1"/>
        </p:nvGrpSpPr>
        <p:grpSpPr bwMode="auto">
          <a:xfrm>
            <a:off x="11179123" y="6332830"/>
            <a:ext cx="607829" cy="148182"/>
            <a:chOff x="2071" y="1578"/>
            <a:chExt cx="2587" cy="631"/>
          </a:xfrm>
          <a:gradFill>
            <a:gsLst>
              <a:gs pos="50000">
                <a:srgbClr val="00E487"/>
              </a:gs>
              <a:gs pos="100000">
                <a:srgbClr val="1ECBD0"/>
              </a:gs>
            </a:gsLst>
            <a:lin ang="18900000" scaled="0"/>
          </a:gradFill>
        </p:grpSpPr>
        <p:sp>
          <p:nvSpPr>
            <p:cNvPr id="22" name="Freeform 5">
              <a:extLst>
                <a:ext uri="{FF2B5EF4-FFF2-40B4-BE49-F238E27FC236}">
                  <a16:creationId xmlns:a16="http://schemas.microsoft.com/office/drawing/2014/main" id="{DAE554E6-16CB-4176-987F-3AF6305F726B}"/>
                </a:ext>
              </a:extLst>
            </p:cNvPr>
            <p:cNvSpPr>
              <a:spLocks/>
            </p:cNvSpPr>
            <p:nvPr userDrawn="1"/>
          </p:nvSpPr>
          <p:spPr bwMode="auto">
            <a:xfrm>
              <a:off x="2765" y="1728"/>
              <a:ext cx="244" cy="318"/>
            </a:xfrm>
            <a:custGeom>
              <a:avLst/>
              <a:gdLst>
                <a:gd name="T0" fmla="*/ 12 w 129"/>
                <a:gd name="T1" fmla="*/ 0 h 168"/>
                <a:gd name="T2" fmla="*/ 8 w 129"/>
                <a:gd name="T3" fmla="*/ 4 h 168"/>
                <a:gd name="T4" fmla="*/ 8 w 129"/>
                <a:gd name="T5" fmla="*/ 25 h 168"/>
                <a:gd name="T6" fmla="*/ 12 w 129"/>
                <a:gd name="T7" fmla="*/ 29 h 168"/>
                <a:gd name="T8" fmla="*/ 48 w 129"/>
                <a:gd name="T9" fmla="*/ 29 h 168"/>
                <a:gd name="T10" fmla="*/ 48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2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2" y="0"/>
                  </a:moveTo>
                  <a:cubicBezTo>
                    <a:pt x="9" y="0"/>
                    <a:pt x="8" y="1"/>
                    <a:pt x="8" y="4"/>
                  </a:cubicBezTo>
                  <a:cubicBezTo>
                    <a:pt x="8" y="25"/>
                    <a:pt x="8" y="25"/>
                    <a:pt x="8" y="25"/>
                  </a:cubicBezTo>
                  <a:cubicBezTo>
                    <a:pt x="8" y="27"/>
                    <a:pt x="9" y="29"/>
                    <a:pt x="12" y="29"/>
                  </a:cubicBezTo>
                  <a:cubicBezTo>
                    <a:pt x="48" y="29"/>
                    <a:pt x="48" y="29"/>
                    <a:pt x="48" y="29"/>
                  </a:cubicBezTo>
                  <a:cubicBezTo>
                    <a:pt x="48" y="140"/>
                    <a:pt x="48" y="140"/>
                    <a:pt x="48"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8" y="140"/>
                    <a:pt x="125" y="140"/>
                  </a:cubicBezTo>
                  <a:cubicBezTo>
                    <a:pt x="76" y="140"/>
                    <a:pt x="76" y="140"/>
                    <a:pt x="76" y="140"/>
                  </a:cubicBezTo>
                  <a:cubicBezTo>
                    <a:pt x="76" y="4"/>
                    <a:pt x="76" y="4"/>
                    <a:pt x="76" y="4"/>
                  </a:cubicBezTo>
                  <a:cubicBezTo>
                    <a:pt x="76" y="1"/>
                    <a:pt x="75" y="0"/>
                    <a:pt x="72" y="0"/>
                  </a:cubicBez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a:p>
          </p:txBody>
        </p:sp>
        <p:sp>
          <p:nvSpPr>
            <p:cNvPr id="23" name="Freeform 6">
              <a:extLst>
                <a:ext uri="{FF2B5EF4-FFF2-40B4-BE49-F238E27FC236}">
                  <a16:creationId xmlns:a16="http://schemas.microsoft.com/office/drawing/2014/main" id="{AEC65459-58EA-4F3D-8A43-721FE0A15E41}"/>
                </a:ext>
              </a:extLst>
            </p:cNvPr>
            <p:cNvSpPr>
              <a:spLocks/>
            </p:cNvSpPr>
            <p:nvPr userDrawn="1"/>
          </p:nvSpPr>
          <p:spPr bwMode="auto">
            <a:xfrm>
              <a:off x="3798" y="1728"/>
              <a:ext cx="244" cy="318"/>
            </a:xfrm>
            <a:custGeom>
              <a:avLst/>
              <a:gdLst>
                <a:gd name="T0" fmla="*/ 11 w 129"/>
                <a:gd name="T1" fmla="*/ 0 h 168"/>
                <a:gd name="T2" fmla="*/ 8 w 129"/>
                <a:gd name="T3" fmla="*/ 4 h 168"/>
                <a:gd name="T4" fmla="*/ 8 w 129"/>
                <a:gd name="T5" fmla="*/ 25 h 168"/>
                <a:gd name="T6" fmla="*/ 11 w 129"/>
                <a:gd name="T7" fmla="*/ 29 h 168"/>
                <a:gd name="T8" fmla="*/ 47 w 129"/>
                <a:gd name="T9" fmla="*/ 29 h 168"/>
                <a:gd name="T10" fmla="*/ 47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1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1" y="0"/>
                  </a:moveTo>
                  <a:cubicBezTo>
                    <a:pt x="9" y="0"/>
                    <a:pt x="8" y="1"/>
                    <a:pt x="8" y="4"/>
                  </a:cubicBezTo>
                  <a:cubicBezTo>
                    <a:pt x="8" y="25"/>
                    <a:pt x="8" y="25"/>
                    <a:pt x="8" y="25"/>
                  </a:cubicBezTo>
                  <a:cubicBezTo>
                    <a:pt x="8" y="27"/>
                    <a:pt x="9" y="29"/>
                    <a:pt x="11" y="29"/>
                  </a:cubicBezTo>
                  <a:cubicBezTo>
                    <a:pt x="47" y="29"/>
                    <a:pt x="47" y="29"/>
                    <a:pt x="47" y="29"/>
                  </a:cubicBezTo>
                  <a:cubicBezTo>
                    <a:pt x="47" y="140"/>
                    <a:pt x="47" y="140"/>
                    <a:pt x="47"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7" y="140"/>
                    <a:pt x="125" y="140"/>
                  </a:cubicBezTo>
                  <a:cubicBezTo>
                    <a:pt x="76" y="140"/>
                    <a:pt x="76" y="140"/>
                    <a:pt x="76" y="140"/>
                  </a:cubicBezTo>
                  <a:cubicBezTo>
                    <a:pt x="76" y="4"/>
                    <a:pt x="76" y="4"/>
                    <a:pt x="76" y="4"/>
                  </a:cubicBezTo>
                  <a:cubicBezTo>
                    <a:pt x="75" y="1"/>
                    <a:pt x="74" y="0"/>
                    <a:pt x="72" y="0"/>
                  </a:cubicBez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a:p>
          </p:txBody>
        </p:sp>
        <p:sp>
          <p:nvSpPr>
            <p:cNvPr id="24" name="Freeform 7">
              <a:extLst>
                <a:ext uri="{FF2B5EF4-FFF2-40B4-BE49-F238E27FC236}">
                  <a16:creationId xmlns:a16="http://schemas.microsoft.com/office/drawing/2014/main" id="{7EF15D6C-5F12-4679-A3CE-298E60CFDA5F}"/>
                </a:ext>
              </a:extLst>
            </p:cNvPr>
            <p:cNvSpPr>
              <a:spLocks/>
            </p:cNvSpPr>
            <p:nvPr userDrawn="1"/>
          </p:nvSpPr>
          <p:spPr bwMode="auto">
            <a:xfrm>
              <a:off x="4361" y="1728"/>
              <a:ext cx="297" cy="464"/>
            </a:xfrm>
            <a:custGeom>
              <a:avLst/>
              <a:gdLst>
                <a:gd name="T0" fmla="*/ 132 w 157"/>
                <a:gd name="T1" fmla="*/ 0 h 245"/>
                <a:gd name="T2" fmla="*/ 127 w 157"/>
                <a:gd name="T3" fmla="*/ 3 h 245"/>
                <a:gd name="T4" fmla="*/ 127 w 157"/>
                <a:gd name="T5" fmla="*/ 3 h 245"/>
                <a:gd name="T6" fmla="*/ 79 w 157"/>
                <a:gd name="T7" fmla="*/ 128 h 245"/>
                <a:gd name="T8" fmla="*/ 30 w 157"/>
                <a:gd name="T9" fmla="*/ 4 h 245"/>
                <a:gd name="T10" fmla="*/ 25 w 157"/>
                <a:gd name="T11" fmla="*/ 0 h 245"/>
                <a:gd name="T12" fmla="*/ 4 w 157"/>
                <a:gd name="T13" fmla="*/ 0 h 245"/>
                <a:gd name="T14" fmla="*/ 0 w 157"/>
                <a:gd name="T15" fmla="*/ 3 h 245"/>
                <a:gd name="T16" fmla="*/ 1 w 157"/>
                <a:gd name="T17" fmla="*/ 6 h 245"/>
                <a:gd name="T18" fmla="*/ 1 w 157"/>
                <a:gd name="T19" fmla="*/ 6 h 245"/>
                <a:gd name="T20" fmla="*/ 1 w 157"/>
                <a:gd name="T21" fmla="*/ 6 h 245"/>
                <a:gd name="T22" fmla="*/ 64 w 157"/>
                <a:gd name="T23" fmla="*/ 168 h 245"/>
                <a:gd name="T24" fmla="*/ 59 w 157"/>
                <a:gd name="T25" fmla="*/ 182 h 245"/>
                <a:gd name="T26" fmla="*/ 48 w 157"/>
                <a:gd name="T27" fmla="*/ 205 h 245"/>
                <a:gd name="T28" fmla="*/ 38 w 157"/>
                <a:gd name="T29" fmla="*/ 215 h 245"/>
                <a:gd name="T30" fmla="*/ 30 w 157"/>
                <a:gd name="T31" fmla="*/ 217 h 245"/>
                <a:gd name="T32" fmla="*/ 26 w 157"/>
                <a:gd name="T33" fmla="*/ 216 h 245"/>
                <a:gd name="T34" fmla="*/ 14 w 157"/>
                <a:gd name="T35" fmla="*/ 213 h 245"/>
                <a:gd name="T36" fmla="*/ 7 w 157"/>
                <a:gd name="T37" fmla="*/ 210 h 245"/>
                <a:gd name="T38" fmla="*/ 3 w 157"/>
                <a:gd name="T39" fmla="*/ 215 h 245"/>
                <a:gd name="T40" fmla="*/ 3 w 157"/>
                <a:gd name="T41" fmla="*/ 233 h 245"/>
                <a:gd name="T42" fmla="*/ 3 w 157"/>
                <a:gd name="T43" fmla="*/ 233 h 245"/>
                <a:gd name="T44" fmla="*/ 7 w 157"/>
                <a:gd name="T45" fmla="*/ 240 h 245"/>
                <a:gd name="T46" fmla="*/ 32 w 157"/>
                <a:gd name="T47" fmla="*/ 245 h 245"/>
                <a:gd name="T48" fmla="*/ 54 w 157"/>
                <a:gd name="T49" fmla="*/ 238 h 245"/>
                <a:gd name="T50" fmla="*/ 73 w 157"/>
                <a:gd name="T51" fmla="*/ 220 h 245"/>
                <a:gd name="T52" fmla="*/ 79 w 157"/>
                <a:gd name="T53" fmla="*/ 208 h 245"/>
                <a:gd name="T54" fmla="*/ 156 w 157"/>
                <a:gd name="T55" fmla="*/ 6 h 245"/>
                <a:gd name="T56" fmla="*/ 157 w 157"/>
                <a:gd name="T57" fmla="*/ 3 h 245"/>
                <a:gd name="T58" fmla="*/ 153 w 157"/>
                <a:gd name="T59" fmla="*/ 0 h 245"/>
                <a:gd name="T60" fmla="*/ 132 w 157"/>
                <a:gd name="T6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7" h="245">
                  <a:moveTo>
                    <a:pt x="132" y="0"/>
                  </a:moveTo>
                  <a:cubicBezTo>
                    <a:pt x="129" y="0"/>
                    <a:pt x="128" y="1"/>
                    <a:pt x="127" y="3"/>
                  </a:cubicBezTo>
                  <a:cubicBezTo>
                    <a:pt x="127" y="3"/>
                    <a:pt x="127" y="3"/>
                    <a:pt x="127" y="3"/>
                  </a:cubicBezTo>
                  <a:cubicBezTo>
                    <a:pt x="79" y="128"/>
                    <a:pt x="79" y="128"/>
                    <a:pt x="79" y="128"/>
                  </a:cubicBezTo>
                  <a:cubicBezTo>
                    <a:pt x="30" y="4"/>
                    <a:pt x="30" y="4"/>
                    <a:pt x="30" y="4"/>
                  </a:cubicBezTo>
                  <a:cubicBezTo>
                    <a:pt x="29" y="1"/>
                    <a:pt x="28" y="0"/>
                    <a:pt x="25" y="0"/>
                  </a:cubicBezTo>
                  <a:cubicBezTo>
                    <a:pt x="4" y="0"/>
                    <a:pt x="4" y="0"/>
                    <a:pt x="4" y="0"/>
                  </a:cubicBezTo>
                  <a:cubicBezTo>
                    <a:pt x="2" y="0"/>
                    <a:pt x="0" y="1"/>
                    <a:pt x="0" y="3"/>
                  </a:cubicBezTo>
                  <a:cubicBezTo>
                    <a:pt x="0" y="4"/>
                    <a:pt x="1" y="5"/>
                    <a:pt x="1" y="6"/>
                  </a:cubicBezTo>
                  <a:cubicBezTo>
                    <a:pt x="1" y="6"/>
                    <a:pt x="1" y="6"/>
                    <a:pt x="1" y="6"/>
                  </a:cubicBezTo>
                  <a:cubicBezTo>
                    <a:pt x="1" y="6"/>
                    <a:pt x="1" y="6"/>
                    <a:pt x="1" y="6"/>
                  </a:cubicBezTo>
                  <a:cubicBezTo>
                    <a:pt x="64" y="168"/>
                    <a:pt x="64" y="168"/>
                    <a:pt x="64" y="168"/>
                  </a:cubicBezTo>
                  <a:cubicBezTo>
                    <a:pt x="59" y="182"/>
                    <a:pt x="59" y="182"/>
                    <a:pt x="59" y="182"/>
                  </a:cubicBezTo>
                  <a:cubicBezTo>
                    <a:pt x="57" y="187"/>
                    <a:pt x="53" y="199"/>
                    <a:pt x="48" y="205"/>
                  </a:cubicBezTo>
                  <a:cubicBezTo>
                    <a:pt x="44" y="211"/>
                    <a:pt x="42" y="213"/>
                    <a:pt x="38" y="215"/>
                  </a:cubicBezTo>
                  <a:cubicBezTo>
                    <a:pt x="35" y="216"/>
                    <a:pt x="33" y="217"/>
                    <a:pt x="30" y="217"/>
                  </a:cubicBezTo>
                  <a:cubicBezTo>
                    <a:pt x="28" y="217"/>
                    <a:pt x="27" y="217"/>
                    <a:pt x="26" y="216"/>
                  </a:cubicBezTo>
                  <a:cubicBezTo>
                    <a:pt x="22" y="216"/>
                    <a:pt x="18" y="214"/>
                    <a:pt x="14" y="213"/>
                  </a:cubicBezTo>
                  <a:cubicBezTo>
                    <a:pt x="11" y="212"/>
                    <a:pt x="9" y="210"/>
                    <a:pt x="7" y="210"/>
                  </a:cubicBezTo>
                  <a:cubicBezTo>
                    <a:pt x="5" y="210"/>
                    <a:pt x="3" y="212"/>
                    <a:pt x="3" y="215"/>
                  </a:cubicBezTo>
                  <a:cubicBezTo>
                    <a:pt x="3" y="233"/>
                    <a:pt x="3" y="233"/>
                    <a:pt x="3" y="233"/>
                  </a:cubicBezTo>
                  <a:cubicBezTo>
                    <a:pt x="3" y="233"/>
                    <a:pt x="3" y="233"/>
                    <a:pt x="3" y="233"/>
                  </a:cubicBezTo>
                  <a:cubicBezTo>
                    <a:pt x="3" y="236"/>
                    <a:pt x="4" y="238"/>
                    <a:pt x="7" y="240"/>
                  </a:cubicBezTo>
                  <a:cubicBezTo>
                    <a:pt x="15" y="243"/>
                    <a:pt x="21" y="245"/>
                    <a:pt x="32" y="245"/>
                  </a:cubicBezTo>
                  <a:cubicBezTo>
                    <a:pt x="41" y="244"/>
                    <a:pt x="47" y="242"/>
                    <a:pt x="54" y="238"/>
                  </a:cubicBezTo>
                  <a:cubicBezTo>
                    <a:pt x="61" y="233"/>
                    <a:pt x="67" y="227"/>
                    <a:pt x="73" y="220"/>
                  </a:cubicBezTo>
                  <a:cubicBezTo>
                    <a:pt x="75" y="216"/>
                    <a:pt x="77" y="212"/>
                    <a:pt x="79" y="208"/>
                  </a:cubicBezTo>
                  <a:cubicBezTo>
                    <a:pt x="83" y="200"/>
                    <a:pt x="144" y="40"/>
                    <a:pt x="156" y="6"/>
                  </a:cubicBezTo>
                  <a:cubicBezTo>
                    <a:pt x="157" y="5"/>
                    <a:pt x="157" y="4"/>
                    <a:pt x="157" y="3"/>
                  </a:cubicBezTo>
                  <a:cubicBezTo>
                    <a:pt x="157" y="1"/>
                    <a:pt x="155" y="0"/>
                    <a:pt x="153" y="0"/>
                  </a:cubicBezTo>
                  <a:lnTo>
                    <a:pt x="1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a:p>
          </p:txBody>
        </p:sp>
        <p:sp>
          <p:nvSpPr>
            <p:cNvPr id="25" name="Freeform 8">
              <a:extLst>
                <a:ext uri="{FF2B5EF4-FFF2-40B4-BE49-F238E27FC236}">
                  <a16:creationId xmlns:a16="http://schemas.microsoft.com/office/drawing/2014/main" id="{7D6A478E-FCAF-4573-B967-7423B97A0230}"/>
                </a:ext>
              </a:extLst>
            </p:cNvPr>
            <p:cNvSpPr>
              <a:spLocks/>
            </p:cNvSpPr>
            <p:nvPr userDrawn="1"/>
          </p:nvSpPr>
          <p:spPr bwMode="auto">
            <a:xfrm>
              <a:off x="3457" y="1726"/>
              <a:ext cx="263" cy="322"/>
            </a:xfrm>
            <a:custGeom>
              <a:avLst/>
              <a:gdLst>
                <a:gd name="T0" fmla="*/ 28 w 139"/>
                <a:gd name="T1" fmla="*/ 21 h 170"/>
                <a:gd name="T2" fmla="*/ 28 w 139"/>
                <a:gd name="T3" fmla="*/ 6 h 170"/>
                <a:gd name="T4" fmla="*/ 25 w 139"/>
                <a:gd name="T5" fmla="*/ 3 h 170"/>
                <a:gd name="T6" fmla="*/ 4 w 139"/>
                <a:gd name="T7" fmla="*/ 3 h 170"/>
                <a:gd name="T8" fmla="*/ 0 w 139"/>
                <a:gd name="T9" fmla="*/ 6 h 170"/>
                <a:gd name="T10" fmla="*/ 0 w 139"/>
                <a:gd name="T11" fmla="*/ 167 h 170"/>
                <a:gd name="T12" fmla="*/ 4 w 139"/>
                <a:gd name="T13" fmla="*/ 170 h 170"/>
                <a:gd name="T14" fmla="*/ 25 w 139"/>
                <a:gd name="T15" fmla="*/ 170 h 170"/>
                <a:gd name="T16" fmla="*/ 28 w 139"/>
                <a:gd name="T17" fmla="*/ 167 h 170"/>
                <a:gd name="T18" fmla="*/ 28 w 139"/>
                <a:gd name="T19" fmla="*/ 68 h 170"/>
                <a:gd name="T20" fmla="*/ 70 w 139"/>
                <a:gd name="T21" fmla="*/ 28 h 170"/>
                <a:gd name="T22" fmla="*/ 111 w 139"/>
                <a:gd name="T23" fmla="*/ 68 h 170"/>
                <a:gd name="T24" fmla="*/ 111 w 139"/>
                <a:gd name="T25" fmla="*/ 167 h 170"/>
                <a:gd name="T26" fmla="*/ 111 w 139"/>
                <a:gd name="T27" fmla="*/ 167 h 170"/>
                <a:gd name="T28" fmla="*/ 114 w 139"/>
                <a:gd name="T29" fmla="*/ 170 h 170"/>
                <a:gd name="T30" fmla="*/ 136 w 139"/>
                <a:gd name="T31" fmla="*/ 170 h 170"/>
                <a:gd name="T32" fmla="*/ 139 w 139"/>
                <a:gd name="T33" fmla="*/ 167 h 170"/>
                <a:gd name="T34" fmla="*/ 139 w 139"/>
                <a:gd name="T35" fmla="*/ 68 h 170"/>
                <a:gd name="T36" fmla="*/ 139 w 139"/>
                <a:gd name="T37" fmla="*/ 68 h 170"/>
                <a:gd name="T38" fmla="*/ 139 w 139"/>
                <a:gd name="T39" fmla="*/ 68 h 170"/>
                <a:gd name="T40" fmla="*/ 120 w 139"/>
                <a:gd name="T41" fmla="*/ 20 h 170"/>
                <a:gd name="T42" fmla="*/ 70 w 139"/>
                <a:gd name="T43" fmla="*/ 0 h 170"/>
                <a:gd name="T44" fmla="*/ 28 w 139"/>
                <a:gd name="T45" fmla="*/ 2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170">
                  <a:moveTo>
                    <a:pt x="28" y="21"/>
                  </a:moveTo>
                  <a:cubicBezTo>
                    <a:pt x="28" y="6"/>
                    <a:pt x="28" y="6"/>
                    <a:pt x="28" y="6"/>
                  </a:cubicBezTo>
                  <a:cubicBezTo>
                    <a:pt x="28" y="4"/>
                    <a:pt x="27" y="3"/>
                    <a:pt x="25" y="3"/>
                  </a:cubicBezTo>
                  <a:cubicBezTo>
                    <a:pt x="4" y="3"/>
                    <a:pt x="4" y="3"/>
                    <a:pt x="4" y="3"/>
                  </a:cubicBezTo>
                  <a:cubicBezTo>
                    <a:pt x="1" y="3"/>
                    <a:pt x="0" y="4"/>
                    <a:pt x="0" y="6"/>
                  </a:cubicBezTo>
                  <a:cubicBezTo>
                    <a:pt x="0" y="167"/>
                    <a:pt x="0" y="167"/>
                    <a:pt x="0" y="167"/>
                  </a:cubicBezTo>
                  <a:cubicBezTo>
                    <a:pt x="0" y="169"/>
                    <a:pt x="1" y="170"/>
                    <a:pt x="4" y="170"/>
                  </a:cubicBezTo>
                  <a:cubicBezTo>
                    <a:pt x="25" y="170"/>
                    <a:pt x="25" y="170"/>
                    <a:pt x="25" y="170"/>
                  </a:cubicBezTo>
                  <a:cubicBezTo>
                    <a:pt x="27" y="170"/>
                    <a:pt x="28" y="169"/>
                    <a:pt x="28" y="167"/>
                  </a:cubicBezTo>
                  <a:cubicBezTo>
                    <a:pt x="28" y="68"/>
                    <a:pt x="28" y="68"/>
                    <a:pt x="28" y="68"/>
                  </a:cubicBezTo>
                  <a:cubicBezTo>
                    <a:pt x="28" y="49"/>
                    <a:pt x="42" y="28"/>
                    <a:pt x="70" y="28"/>
                  </a:cubicBezTo>
                  <a:cubicBezTo>
                    <a:pt x="97" y="28"/>
                    <a:pt x="111" y="49"/>
                    <a:pt x="111" y="68"/>
                  </a:cubicBezTo>
                  <a:cubicBezTo>
                    <a:pt x="111" y="167"/>
                    <a:pt x="111" y="167"/>
                    <a:pt x="111" y="167"/>
                  </a:cubicBezTo>
                  <a:cubicBezTo>
                    <a:pt x="111" y="167"/>
                    <a:pt x="111" y="167"/>
                    <a:pt x="111" y="167"/>
                  </a:cubicBezTo>
                  <a:cubicBezTo>
                    <a:pt x="111" y="169"/>
                    <a:pt x="112" y="170"/>
                    <a:pt x="114" y="170"/>
                  </a:cubicBezTo>
                  <a:cubicBezTo>
                    <a:pt x="136" y="170"/>
                    <a:pt x="136" y="170"/>
                    <a:pt x="136" y="170"/>
                  </a:cubicBezTo>
                  <a:cubicBezTo>
                    <a:pt x="138" y="170"/>
                    <a:pt x="139" y="169"/>
                    <a:pt x="139" y="167"/>
                  </a:cubicBezTo>
                  <a:cubicBezTo>
                    <a:pt x="139" y="68"/>
                    <a:pt x="139" y="68"/>
                    <a:pt x="139" y="68"/>
                  </a:cubicBezTo>
                  <a:cubicBezTo>
                    <a:pt x="139" y="68"/>
                    <a:pt x="139" y="68"/>
                    <a:pt x="139" y="68"/>
                  </a:cubicBezTo>
                  <a:cubicBezTo>
                    <a:pt x="139" y="68"/>
                    <a:pt x="139" y="68"/>
                    <a:pt x="139" y="68"/>
                  </a:cubicBezTo>
                  <a:cubicBezTo>
                    <a:pt x="139" y="51"/>
                    <a:pt x="133" y="35"/>
                    <a:pt x="120" y="20"/>
                  </a:cubicBezTo>
                  <a:cubicBezTo>
                    <a:pt x="109" y="7"/>
                    <a:pt x="88" y="0"/>
                    <a:pt x="70" y="0"/>
                  </a:cubicBezTo>
                  <a:cubicBezTo>
                    <a:pt x="41" y="0"/>
                    <a:pt x="28" y="21"/>
                    <a:pt x="28"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a:p>
          </p:txBody>
        </p:sp>
        <p:sp>
          <p:nvSpPr>
            <p:cNvPr id="26" name="Freeform 9">
              <a:extLst>
                <a:ext uri="{FF2B5EF4-FFF2-40B4-BE49-F238E27FC236}">
                  <a16:creationId xmlns:a16="http://schemas.microsoft.com/office/drawing/2014/main" id="{C7B044FD-45A1-41D4-8002-87E2B59314CB}"/>
                </a:ext>
              </a:extLst>
            </p:cNvPr>
            <p:cNvSpPr>
              <a:spLocks/>
            </p:cNvSpPr>
            <p:nvPr userDrawn="1"/>
          </p:nvSpPr>
          <p:spPr bwMode="auto">
            <a:xfrm>
              <a:off x="2264" y="1724"/>
              <a:ext cx="246" cy="328"/>
            </a:xfrm>
            <a:custGeom>
              <a:avLst/>
              <a:gdLst>
                <a:gd name="T0" fmla="*/ 4 w 130"/>
                <a:gd name="T1" fmla="*/ 48 h 173"/>
                <a:gd name="T2" fmla="*/ 56 w 130"/>
                <a:gd name="T3" fmla="*/ 97 h 173"/>
                <a:gd name="T4" fmla="*/ 57 w 130"/>
                <a:gd name="T5" fmla="*/ 98 h 173"/>
                <a:gd name="T6" fmla="*/ 101 w 130"/>
                <a:gd name="T7" fmla="*/ 124 h 173"/>
                <a:gd name="T8" fmla="*/ 66 w 130"/>
                <a:gd name="T9" fmla="*/ 146 h 173"/>
                <a:gd name="T10" fmla="*/ 30 w 130"/>
                <a:gd name="T11" fmla="*/ 118 h 173"/>
                <a:gd name="T12" fmla="*/ 26 w 130"/>
                <a:gd name="T13" fmla="*/ 114 h 173"/>
                <a:gd name="T14" fmla="*/ 5 w 130"/>
                <a:gd name="T15" fmla="*/ 114 h 173"/>
                <a:gd name="T16" fmla="*/ 0 w 130"/>
                <a:gd name="T17" fmla="*/ 118 h 173"/>
                <a:gd name="T18" fmla="*/ 65 w 130"/>
                <a:gd name="T19" fmla="*/ 173 h 173"/>
                <a:gd name="T20" fmla="*/ 130 w 130"/>
                <a:gd name="T21" fmla="*/ 120 h 173"/>
                <a:gd name="T22" fmla="*/ 72 w 130"/>
                <a:gd name="T23" fmla="*/ 74 h 173"/>
                <a:gd name="T24" fmla="*/ 32 w 130"/>
                <a:gd name="T25" fmla="*/ 48 h 173"/>
                <a:gd name="T26" fmla="*/ 63 w 130"/>
                <a:gd name="T27" fmla="*/ 27 h 173"/>
                <a:gd name="T28" fmla="*/ 97 w 130"/>
                <a:gd name="T29" fmla="*/ 49 h 173"/>
                <a:gd name="T30" fmla="*/ 102 w 130"/>
                <a:gd name="T31" fmla="*/ 53 h 173"/>
                <a:gd name="T32" fmla="*/ 120 w 130"/>
                <a:gd name="T33" fmla="*/ 53 h 173"/>
                <a:gd name="T34" fmla="*/ 125 w 130"/>
                <a:gd name="T35" fmla="*/ 48 h 173"/>
                <a:gd name="T36" fmla="*/ 63 w 130"/>
                <a:gd name="T37" fmla="*/ 0 h 173"/>
                <a:gd name="T38" fmla="*/ 4 w 130"/>
                <a:gd name="T39" fmla="*/ 4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173">
                  <a:moveTo>
                    <a:pt x="4" y="48"/>
                  </a:moveTo>
                  <a:cubicBezTo>
                    <a:pt x="4" y="77"/>
                    <a:pt x="19" y="91"/>
                    <a:pt x="56" y="97"/>
                  </a:cubicBezTo>
                  <a:cubicBezTo>
                    <a:pt x="57" y="98"/>
                    <a:pt x="57" y="98"/>
                    <a:pt x="57" y="98"/>
                  </a:cubicBezTo>
                  <a:cubicBezTo>
                    <a:pt x="83" y="102"/>
                    <a:pt x="101" y="105"/>
                    <a:pt x="101" y="124"/>
                  </a:cubicBezTo>
                  <a:cubicBezTo>
                    <a:pt x="101" y="139"/>
                    <a:pt x="83" y="146"/>
                    <a:pt x="66" y="146"/>
                  </a:cubicBezTo>
                  <a:cubicBezTo>
                    <a:pt x="46" y="146"/>
                    <a:pt x="33" y="136"/>
                    <a:pt x="30" y="118"/>
                  </a:cubicBezTo>
                  <a:cubicBezTo>
                    <a:pt x="30" y="116"/>
                    <a:pt x="29" y="114"/>
                    <a:pt x="26" y="114"/>
                  </a:cubicBezTo>
                  <a:cubicBezTo>
                    <a:pt x="5" y="114"/>
                    <a:pt x="5" y="114"/>
                    <a:pt x="5" y="114"/>
                  </a:cubicBezTo>
                  <a:cubicBezTo>
                    <a:pt x="2" y="114"/>
                    <a:pt x="0" y="116"/>
                    <a:pt x="0" y="118"/>
                  </a:cubicBezTo>
                  <a:cubicBezTo>
                    <a:pt x="0" y="150"/>
                    <a:pt x="27" y="173"/>
                    <a:pt x="65" y="173"/>
                  </a:cubicBezTo>
                  <a:cubicBezTo>
                    <a:pt x="104" y="173"/>
                    <a:pt x="130" y="151"/>
                    <a:pt x="130" y="120"/>
                  </a:cubicBezTo>
                  <a:cubicBezTo>
                    <a:pt x="130" y="86"/>
                    <a:pt x="100" y="79"/>
                    <a:pt x="72" y="74"/>
                  </a:cubicBezTo>
                  <a:cubicBezTo>
                    <a:pt x="37" y="68"/>
                    <a:pt x="32" y="58"/>
                    <a:pt x="32" y="48"/>
                  </a:cubicBezTo>
                  <a:cubicBezTo>
                    <a:pt x="32" y="32"/>
                    <a:pt x="49" y="27"/>
                    <a:pt x="63" y="27"/>
                  </a:cubicBezTo>
                  <a:cubicBezTo>
                    <a:pt x="82" y="27"/>
                    <a:pt x="94" y="34"/>
                    <a:pt x="97" y="49"/>
                  </a:cubicBezTo>
                  <a:cubicBezTo>
                    <a:pt x="98" y="51"/>
                    <a:pt x="98" y="53"/>
                    <a:pt x="102" y="53"/>
                  </a:cubicBezTo>
                  <a:cubicBezTo>
                    <a:pt x="120" y="53"/>
                    <a:pt x="120" y="53"/>
                    <a:pt x="120" y="53"/>
                  </a:cubicBezTo>
                  <a:cubicBezTo>
                    <a:pt x="123" y="53"/>
                    <a:pt x="125" y="51"/>
                    <a:pt x="125" y="48"/>
                  </a:cubicBezTo>
                  <a:cubicBezTo>
                    <a:pt x="125" y="19"/>
                    <a:pt x="100" y="0"/>
                    <a:pt x="63" y="0"/>
                  </a:cubicBezTo>
                  <a:cubicBezTo>
                    <a:pt x="22" y="0"/>
                    <a:pt x="4" y="25"/>
                    <a:pt x="4" y="4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a:p>
          </p:txBody>
        </p:sp>
        <p:sp>
          <p:nvSpPr>
            <p:cNvPr id="27" name="Freeform 10">
              <a:extLst>
                <a:ext uri="{FF2B5EF4-FFF2-40B4-BE49-F238E27FC236}">
                  <a16:creationId xmlns:a16="http://schemas.microsoft.com/office/drawing/2014/main" id="{B96B058D-5136-4262-807A-F14DDE4ECC00}"/>
                </a:ext>
              </a:extLst>
            </p:cNvPr>
            <p:cNvSpPr>
              <a:spLocks/>
            </p:cNvSpPr>
            <p:nvPr userDrawn="1"/>
          </p:nvSpPr>
          <p:spPr bwMode="auto">
            <a:xfrm>
              <a:off x="3062" y="1722"/>
              <a:ext cx="312" cy="474"/>
            </a:xfrm>
            <a:custGeom>
              <a:avLst/>
              <a:gdLst>
                <a:gd name="T0" fmla="*/ 67 w 165"/>
                <a:gd name="T1" fmla="*/ 0 h 250"/>
                <a:gd name="T2" fmla="*/ 0 w 165"/>
                <a:gd name="T3" fmla="*/ 86 h 250"/>
                <a:gd name="T4" fmla="*/ 82 w 165"/>
                <a:gd name="T5" fmla="*/ 174 h 250"/>
                <a:gd name="T6" fmla="*/ 137 w 165"/>
                <a:gd name="T7" fmla="*/ 152 h 250"/>
                <a:gd name="T8" fmla="*/ 137 w 165"/>
                <a:gd name="T9" fmla="*/ 173 h 250"/>
                <a:gd name="T10" fmla="*/ 89 w 165"/>
                <a:gd name="T11" fmla="*/ 222 h 250"/>
                <a:gd name="T12" fmla="*/ 48 w 165"/>
                <a:gd name="T13" fmla="*/ 194 h 250"/>
                <a:gd name="T14" fmla="*/ 43 w 165"/>
                <a:gd name="T15" fmla="*/ 190 h 250"/>
                <a:gd name="T16" fmla="*/ 24 w 165"/>
                <a:gd name="T17" fmla="*/ 190 h 250"/>
                <a:gd name="T18" fmla="*/ 19 w 165"/>
                <a:gd name="T19" fmla="*/ 195 h 250"/>
                <a:gd name="T20" fmla="*/ 89 w 165"/>
                <a:gd name="T21" fmla="*/ 250 h 250"/>
                <a:gd name="T22" fmla="*/ 165 w 165"/>
                <a:gd name="T23" fmla="*/ 174 h 250"/>
                <a:gd name="T24" fmla="*/ 165 w 165"/>
                <a:gd name="T25" fmla="*/ 7 h 250"/>
                <a:gd name="T26" fmla="*/ 162 w 165"/>
                <a:gd name="T27" fmla="*/ 4 h 250"/>
                <a:gd name="T28" fmla="*/ 140 w 165"/>
                <a:gd name="T29" fmla="*/ 4 h 250"/>
                <a:gd name="T30" fmla="*/ 137 w 165"/>
                <a:gd name="T31" fmla="*/ 7 h 250"/>
                <a:gd name="T32" fmla="*/ 137 w 165"/>
                <a:gd name="T33" fmla="*/ 21 h 250"/>
                <a:gd name="T34" fmla="*/ 99 w 165"/>
                <a:gd name="T35" fmla="*/ 0 h 250"/>
                <a:gd name="T36" fmla="*/ 96 w 165"/>
                <a:gd name="T37" fmla="*/ 3 h 250"/>
                <a:gd name="T38" fmla="*/ 96 w 165"/>
                <a:gd name="T39" fmla="*/ 28 h 250"/>
                <a:gd name="T40" fmla="*/ 97 w 165"/>
                <a:gd name="T41" fmla="*/ 31 h 250"/>
                <a:gd name="T42" fmla="*/ 138 w 165"/>
                <a:gd name="T43" fmla="*/ 87 h 250"/>
                <a:gd name="T44" fmla="*/ 83 w 165"/>
                <a:gd name="T45" fmla="*/ 146 h 250"/>
                <a:gd name="T46" fmla="*/ 29 w 165"/>
                <a:gd name="T47" fmla="*/ 87 h 250"/>
                <a:gd name="T48" fmla="*/ 68 w 165"/>
                <a:gd name="T49" fmla="*/ 31 h 250"/>
                <a:gd name="T50" fmla="*/ 70 w 165"/>
                <a:gd name="T51" fmla="*/ 29 h 250"/>
                <a:gd name="T52" fmla="*/ 70 w 165"/>
                <a:gd name="T53" fmla="*/ 3 h 250"/>
                <a:gd name="T54" fmla="*/ 67 w 165"/>
                <a:gd name="T55" fmla="*/ 0 h 250"/>
                <a:gd name="T56" fmla="*/ 67 w 165"/>
                <a:gd name="T57"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5" h="250">
                  <a:moveTo>
                    <a:pt x="67" y="0"/>
                  </a:moveTo>
                  <a:cubicBezTo>
                    <a:pt x="29" y="8"/>
                    <a:pt x="0" y="44"/>
                    <a:pt x="0" y="86"/>
                  </a:cubicBezTo>
                  <a:cubicBezTo>
                    <a:pt x="0" y="135"/>
                    <a:pt x="37" y="174"/>
                    <a:pt x="82" y="174"/>
                  </a:cubicBezTo>
                  <a:cubicBezTo>
                    <a:pt x="103" y="174"/>
                    <a:pt x="122" y="166"/>
                    <a:pt x="137" y="152"/>
                  </a:cubicBezTo>
                  <a:cubicBezTo>
                    <a:pt x="137" y="173"/>
                    <a:pt x="137" y="173"/>
                    <a:pt x="137" y="173"/>
                  </a:cubicBezTo>
                  <a:cubicBezTo>
                    <a:pt x="137" y="205"/>
                    <a:pt x="120" y="222"/>
                    <a:pt x="89" y="222"/>
                  </a:cubicBezTo>
                  <a:cubicBezTo>
                    <a:pt x="66" y="222"/>
                    <a:pt x="52" y="213"/>
                    <a:pt x="48" y="194"/>
                  </a:cubicBezTo>
                  <a:cubicBezTo>
                    <a:pt x="47" y="192"/>
                    <a:pt x="46" y="190"/>
                    <a:pt x="43" y="190"/>
                  </a:cubicBezTo>
                  <a:cubicBezTo>
                    <a:pt x="24" y="190"/>
                    <a:pt x="24" y="190"/>
                    <a:pt x="24" y="190"/>
                  </a:cubicBezTo>
                  <a:cubicBezTo>
                    <a:pt x="21" y="190"/>
                    <a:pt x="19" y="192"/>
                    <a:pt x="19" y="195"/>
                  </a:cubicBezTo>
                  <a:cubicBezTo>
                    <a:pt x="22" y="228"/>
                    <a:pt x="51" y="250"/>
                    <a:pt x="89" y="250"/>
                  </a:cubicBezTo>
                  <a:cubicBezTo>
                    <a:pt x="135" y="250"/>
                    <a:pt x="165" y="219"/>
                    <a:pt x="165" y="174"/>
                  </a:cubicBezTo>
                  <a:cubicBezTo>
                    <a:pt x="165" y="7"/>
                    <a:pt x="165" y="7"/>
                    <a:pt x="165" y="7"/>
                  </a:cubicBezTo>
                  <a:cubicBezTo>
                    <a:pt x="165" y="5"/>
                    <a:pt x="164" y="4"/>
                    <a:pt x="162" y="4"/>
                  </a:cubicBezTo>
                  <a:cubicBezTo>
                    <a:pt x="140" y="4"/>
                    <a:pt x="140" y="4"/>
                    <a:pt x="140" y="4"/>
                  </a:cubicBezTo>
                  <a:cubicBezTo>
                    <a:pt x="138" y="4"/>
                    <a:pt x="137" y="5"/>
                    <a:pt x="137" y="7"/>
                  </a:cubicBezTo>
                  <a:cubicBezTo>
                    <a:pt x="137" y="21"/>
                    <a:pt x="137" y="21"/>
                    <a:pt x="137" y="21"/>
                  </a:cubicBezTo>
                  <a:cubicBezTo>
                    <a:pt x="126" y="11"/>
                    <a:pt x="113" y="4"/>
                    <a:pt x="99" y="0"/>
                  </a:cubicBezTo>
                  <a:cubicBezTo>
                    <a:pt x="97" y="0"/>
                    <a:pt x="96" y="1"/>
                    <a:pt x="96" y="3"/>
                  </a:cubicBezTo>
                  <a:cubicBezTo>
                    <a:pt x="96" y="28"/>
                    <a:pt x="96" y="28"/>
                    <a:pt x="96" y="28"/>
                  </a:cubicBezTo>
                  <a:cubicBezTo>
                    <a:pt x="96" y="29"/>
                    <a:pt x="96" y="30"/>
                    <a:pt x="97" y="31"/>
                  </a:cubicBezTo>
                  <a:cubicBezTo>
                    <a:pt x="121" y="37"/>
                    <a:pt x="138" y="60"/>
                    <a:pt x="138" y="87"/>
                  </a:cubicBezTo>
                  <a:cubicBezTo>
                    <a:pt x="138" y="119"/>
                    <a:pt x="114" y="146"/>
                    <a:pt x="83" y="146"/>
                  </a:cubicBezTo>
                  <a:cubicBezTo>
                    <a:pt x="53" y="146"/>
                    <a:pt x="29" y="119"/>
                    <a:pt x="29" y="87"/>
                  </a:cubicBezTo>
                  <a:cubicBezTo>
                    <a:pt x="29" y="61"/>
                    <a:pt x="45" y="38"/>
                    <a:pt x="68" y="31"/>
                  </a:cubicBezTo>
                  <a:cubicBezTo>
                    <a:pt x="69" y="31"/>
                    <a:pt x="70" y="30"/>
                    <a:pt x="70" y="29"/>
                  </a:cubicBezTo>
                  <a:cubicBezTo>
                    <a:pt x="70" y="3"/>
                    <a:pt x="70" y="3"/>
                    <a:pt x="70" y="3"/>
                  </a:cubicBezTo>
                  <a:cubicBezTo>
                    <a:pt x="70" y="1"/>
                    <a:pt x="69" y="0"/>
                    <a:pt x="67" y="0"/>
                  </a:cubicBezTo>
                  <a:cubicBezTo>
                    <a:pt x="67" y="0"/>
                    <a:pt x="67" y="0"/>
                    <a:pt x="6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a:p>
          </p:txBody>
        </p:sp>
        <p:sp>
          <p:nvSpPr>
            <p:cNvPr id="28" name="Oval 11">
              <a:extLst>
                <a:ext uri="{FF2B5EF4-FFF2-40B4-BE49-F238E27FC236}">
                  <a16:creationId xmlns:a16="http://schemas.microsoft.com/office/drawing/2014/main" id="{67E362B8-97A1-4111-B148-BAE052A1BFA3}"/>
                </a:ext>
              </a:extLst>
            </p:cNvPr>
            <p:cNvSpPr>
              <a:spLocks noChangeArrowheads="1"/>
            </p:cNvSpPr>
            <p:nvPr userDrawn="1"/>
          </p:nvSpPr>
          <p:spPr bwMode="auto">
            <a:xfrm>
              <a:off x="284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a:p>
          </p:txBody>
        </p:sp>
        <p:sp>
          <p:nvSpPr>
            <p:cNvPr id="29" name="Oval 12">
              <a:extLst>
                <a:ext uri="{FF2B5EF4-FFF2-40B4-BE49-F238E27FC236}">
                  <a16:creationId xmlns:a16="http://schemas.microsoft.com/office/drawing/2014/main" id="{4301693B-28CB-4C5D-8F2B-69A579B76B99}"/>
                </a:ext>
              </a:extLst>
            </p:cNvPr>
            <p:cNvSpPr>
              <a:spLocks noChangeArrowheads="1"/>
            </p:cNvSpPr>
            <p:nvPr userDrawn="1"/>
          </p:nvSpPr>
          <p:spPr bwMode="auto">
            <a:xfrm>
              <a:off x="387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a:p>
          </p:txBody>
        </p:sp>
        <p:sp>
          <p:nvSpPr>
            <p:cNvPr id="30" name="Freeform 13">
              <a:extLst>
                <a:ext uri="{FF2B5EF4-FFF2-40B4-BE49-F238E27FC236}">
                  <a16:creationId xmlns:a16="http://schemas.microsoft.com/office/drawing/2014/main" id="{52D918BE-ADC1-4568-88E2-AF8C3F391F00}"/>
                </a:ext>
              </a:extLst>
            </p:cNvPr>
            <p:cNvSpPr>
              <a:spLocks/>
            </p:cNvSpPr>
            <p:nvPr userDrawn="1"/>
          </p:nvSpPr>
          <p:spPr bwMode="auto">
            <a:xfrm>
              <a:off x="4062" y="1584"/>
              <a:ext cx="242" cy="462"/>
            </a:xfrm>
            <a:custGeom>
              <a:avLst/>
              <a:gdLst>
                <a:gd name="T0" fmla="*/ 39 w 128"/>
                <a:gd name="T1" fmla="*/ 55 h 244"/>
                <a:gd name="T2" fmla="*/ 39 w 128"/>
                <a:gd name="T3" fmla="*/ 76 h 244"/>
                <a:gd name="T4" fmla="*/ 4 w 128"/>
                <a:gd name="T5" fmla="*/ 76 h 244"/>
                <a:gd name="T6" fmla="*/ 0 w 128"/>
                <a:gd name="T7" fmla="*/ 81 h 244"/>
                <a:gd name="T8" fmla="*/ 0 w 128"/>
                <a:gd name="T9" fmla="*/ 99 h 244"/>
                <a:gd name="T10" fmla="*/ 4 w 128"/>
                <a:gd name="T11" fmla="*/ 103 h 244"/>
                <a:gd name="T12" fmla="*/ 39 w 128"/>
                <a:gd name="T13" fmla="*/ 103 h 244"/>
                <a:gd name="T14" fmla="*/ 39 w 128"/>
                <a:gd name="T15" fmla="*/ 239 h 244"/>
                <a:gd name="T16" fmla="*/ 44 w 128"/>
                <a:gd name="T17" fmla="*/ 244 h 244"/>
                <a:gd name="T18" fmla="*/ 62 w 128"/>
                <a:gd name="T19" fmla="*/ 244 h 244"/>
                <a:gd name="T20" fmla="*/ 67 w 128"/>
                <a:gd name="T21" fmla="*/ 239 h 244"/>
                <a:gd name="T22" fmla="*/ 67 w 128"/>
                <a:gd name="T23" fmla="*/ 103 h 244"/>
                <a:gd name="T24" fmla="*/ 120 w 128"/>
                <a:gd name="T25" fmla="*/ 103 h 244"/>
                <a:gd name="T26" fmla="*/ 125 w 128"/>
                <a:gd name="T27" fmla="*/ 99 h 244"/>
                <a:gd name="T28" fmla="*/ 125 w 128"/>
                <a:gd name="T29" fmla="*/ 81 h 244"/>
                <a:gd name="T30" fmla="*/ 120 w 128"/>
                <a:gd name="T31" fmla="*/ 76 h 244"/>
                <a:gd name="T32" fmla="*/ 67 w 128"/>
                <a:gd name="T33" fmla="*/ 76 h 244"/>
                <a:gd name="T34" fmla="*/ 67 w 128"/>
                <a:gd name="T35" fmla="*/ 55 h 244"/>
                <a:gd name="T36" fmla="*/ 91 w 128"/>
                <a:gd name="T37" fmla="*/ 27 h 244"/>
                <a:gd name="T38" fmla="*/ 122 w 128"/>
                <a:gd name="T39" fmla="*/ 37 h 244"/>
                <a:gd name="T40" fmla="*/ 125 w 128"/>
                <a:gd name="T41" fmla="*/ 38 h 244"/>
                <a:gd name="T42" fmla="*/ 128 w 128"/>
                <a:gd name="T43" fmla="*/ 33 h 244"/>
                <a:gd name="T44" fmla="*/ 128 w 128"/>
                <a:gd name="T45" fmla="*/ 16 h 244"/>
                <a:gd name="T46" fmla="*/ 125 w 128"/>
                <a:gd name="T47" fmla="*/ 9 h 244"/>
                <a:gd name="T48" fmla="*/ 89 w 128"/>
                <a:gd name="T49" fmla="*/ 0 h 244"/>
                <a:gd name="T50" fmla="*/ 39 w 128"/>
                <a:gd name="T51" fmla="*/ 5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244">
                  <a:moveTo>
                    <a:pt x="39" y="55"/>
                  </a:moveTo>
                  <a:cubicBezTo>
                    <a:pt x="39" y="76"/>
                    <a:pt x="39" y="76"/>
                    <a:pt x="39" y="76"/>
                  </a:cubicBezTo>
                  <a:cubicBezTo>
                    <a:pt x="4" y="76"/>
                    <a:pt x="4" y="76"/>
                    <a:pt x="4" y="76"/>
                  </a:cubicBezTo>
                  <a:cubicBezTo>
                    <a:pt x="1" y="76"/>
                    <a:pt x="0" y="78"/>
                    <a:pt x="0" y="81"/>
                  </a:cubicBezTo>
                  <a:cubicBezTo>
                    <a:pt x="0" y="99"/>
                    <a:pt x="0" y="99"/>
                    <a:pt x="0" y="99"/>
                  </a:cubicBezTo>
                  <a:cubicBezTo>
                    <a:pt x="0" y="102"/>
                    <a:pt x="1" y="103"/>
                    <a:pt x="4" y="103"/>
                  </a:cubicBezTo>
                  <a:cubicBezTo>
                    <a:pt x="39" y="103"/>
                    <a:pt x="39" y="103"/>
                    <a:pt x="39" y="103"/>
                  </a:cubicBezTo>
                  <a:cubicBezTo>
                    <a:pt x="39" y="239"/>
                    <a:pt x="39" y="239"/>
                    <a:pt x="39" y="239"/>
                  </a:cubicBezTo>
                  <a:cubicBezTo>
                    <a:pt x="39" y="242"/>
                    <a:pt x="41" y="244"/>
                    <a:pt x="44" y="244"/>
                  </a:cubicBezTo>
                  <a:cubicBezTo>
                    <a:pt x="62" y="244"/>
                    <a:pt x="62" y="244"/>
                    <a:pt x="62" y="244"/>
                  </a:cubicBezTo>
                  <a:cubicBezTo>
                    <a:pt x="65" y="244"/>
                    <a:pt x="67" y="242"/>
                    <a:pt x="67" y="239"/>
                  </a:cubicBezTo>
                  <a:cubicBezTo>
                    <a:pt x="67" y="103"/>
                    <a:pt x="67" y="103"/>
                    <a:pt x="67" y="103"/>
                  </a:cubicBezTo>
                  <a:cubicBezTo>
                    <a:pt x="120" y="103"/>
                    <a:pt x="120" y="103"/>
                    <a:pt x="120" y="103"/>
                  </a:cubicBezTo>
                  <a:cubicBezTo>
                    <a:pt x="123" y="103"/>
                    <a:pt x="125" y="102"/>
                    <a:pt x="125" y="99"/>
                  </a:cubicBezTo>
                  <a:cubicBezTo>
                    <a:pt x="125" y="81"/>
                    <a:pt x="125" y="81"/>
                    <a:pt x="125" y="81"/>
                  </a:cubicBezTo>
                  <a:cubicBezTo>
                    <a:pt x="125" y="78"/>
                    <a:pt x="123" y="76"/>
                    <a:pt x="120" y="76"/>
                  </a:cubicBezTo>
                  <a:cubicBezTo>
                    <a:pt x="67" y="76"/>
                    <a:pt x="67" y="76"/>
                    <a:pt x="67" y="76"/>
                  </a:cubicBezTo>
                  <a:cubicBezTo>
                    <a:pt x="67" y="55"/>
                    <a:pt x="67" y="55"/>
                    <a:pt x="67" y="55"/>
                  </a:cubicBezTo>
                  <a:cubicBezTo>
                    <a:pt x="67" y="38"/>
                    <a:pt x="76" y="27"/>
                    <a:pt x="91" y="27"/>
                  </a:cubicBezTo>
                  <a:cubicBezTo>
                    <a:pt x="102" y="27"/>
                    <a:pt x="110" y="30"/>
                    <a:pt x="122" y="37"/>
                  </a:cubicBezTo>
                  <a:cubicBezTo>
                    <a:pt x="123" y="38"/>
                    <a:pt x="124" y="38"/>
                    <a:pt x="125" y="38"/>
                  </a:cubicBezTo>
                  <a:cubicBezTo>
                    <a:pt x="127" y="38"/>
                    <a:pt x="128" y="36"/>
                    <a:pt x="128" y="33"/>
                  </a:cubicBezTo>
                  <a:cubicBezTo>
                    <a:pt x="128" y="16"/>
                    <a:pt x="128" y="16"/>
                    <a:pt x="128" y="16"/>
                  </a:cubicBezTo>
                  <a:cubicBezTo>
                    <a:pt x="128" y="13"/>
                    <a:pt x="128" y="11"/>
                    <a:pt x="125" y="9"/>
                  </a:cubicBezTo>
                  <a:cubicBezTo>
                    <a:pt x="114" y="3"/>
                    <a:pt x="103" y="0"/>
                    <a:pt x="89" y="0"/>
                  </a:cubicBezTo>
                  <a:cubicBezTo>
                    <a:pt x="54" y="0"/>
                    <a:pt x="39" y="29"/>
                    <a:pt x="39"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a:p>
          </p:txBody>
        </p:sp>
        <p:sp>
          <p:nvSpPr>
            <p:cNvPr id="31" name="Freeform 14">
              <a:extLst>
                <a:ext uri="{FF2B5EF4-FFF2-40B4-BE49-F238E27FC236}">
                  <a16:creationId xmlns:a16="http://schemas.microsoft.com/office/drawing/2014/main" id="{C865BE1B-431D-42EE-838F-6181568C2DEC}"/>
                </a:ext>
              </a:extLst>
            </p:cNvPr>
            <p:cNvSpPr>
              <a:spLocks/>
            </p:cNvSpPr>
            <p:nvPr userDrawn="1"/>
          </p:nvSpPr>
          <p:spPr bwMode="auto">
            <a:xfrm>
              <a:off x="2071" y="1578"/>
              <a:ext cx="632" cy="631"/>
            </a:xfrm>
            <a:custGeom>
              <a:avLst/>
              <a:gdLst>
                <a:gd name="T0" fmla="*/ 181 w 334"/>
                <a:gd name="T1" fmla="*/ 1 h 333"/>
                <a:gd name="T2" fmla="*/ 180 w 334"/>
                <a:gd name="T3" fmla="*/ 4 h 333"/>
                <a:gd name="T4" fmla="*/ 180 w 334"/>
                <a:gd name="T5" fmla="*/ 26 h 333"/>
                <a:gd name="T6" fmla="*/ 180 w 334"/>
                <a:gd name="T7" fmla="*/ 26 h 333"/>
                <a:gd name="T8" fmla="*/ 182 w 334"/>
                <a:gd name="T9" fmla="*/ 28 h 333"/>
                <a:gd name="T10" fmla="*/ 306 w 334"/>
                <a:gd name="T11" fmla="*/ 166 h 333"/>
                <a:gd name="T12" fmla="*/ 167 w 334"/>
                <a:gd name="T13" fmla="*/ 305 h 333"/>
                <a:gd name="T14" fmla="*/ 28 w 334"/>
                <a:gd name="T15" fmla="*/ 166 h 333"/>
                <a:gd name="T16" fmla="*/ 152 w 334"/>
                <a:gd name="T17" fmla="*/ 28 h 333"/>
                <a:gd name="T18" fmla="*/ 154 w 334"/>
                <a:gd name="T19" fmla="*/ 26 h 333"/>
                <a:gd name="T20" fmla="*/ 154 w 334"/>
                <a:gd name="T21" fmla="*/ 26 h 333"/>
                <a:gd name="T22" fmla="*/ 154 w 334"/>
                <a:gd name="T23" fmla="*/ 4 h 333"/>
                <a:gd name="T24" fmla="*/ 153 w 334"/>
                <a:gd name="T25" fmla="*/ 1 h 333"/>
                <a:gd name="T26" fmla="*/ 150 w 334"/>
                <a:gd name="T27" fmla="*/ 0 h 333"/>
                <a:gd name="T28" fmla="*/ 149 w 334"/>
                <a:gd name="T29" fmla="*/ 0 h 333"/>
                <a:gd name="T30" fmla="*/ 149 w 334"/>
                <a:gd name="T31" fmla="*/ 0 h 333"/>
                <a:gd name="T32" fmla="*/ 0 w 334"/>
                <a:gd name="T33" fmla="*/ 166 h 333"/>
                <a:gd name="T34" fmla="*/ 167 w 334"/>
                <a:gd name="T35" fmla="*/ 333 h 333"/>
                <a:gd name="T36" fmla="*/ 334 w 334"/>
                <a:gd name="T37" fmla="*/ 166 h 333"/>
                <a:gd name="T38" fmla="*/ 185 w 334"/>
                <a:gd name="T39" fmla="*/ 0 h 333"/>
                <a:gd name="T40" fmla="*/ 185 w 334"/>
                <a:gd name="T41" fmla="*/ 0 h 333"/>
                <a:gd name="T42" fmla="*/ 184 w 334"/>
                <a:gd name="T43" fmla="*/ 0 h 333"/>
                <a:gd name="T44" fmla="*/ 181 w 334"/>
                <a:gd name="T45" fmla="*/ 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4" h="333">
                  <a:moveTo>
                    <a:pt x="181" y="1"/>
                  </a:moveTo>
                  <a:cubicBezTo>
                    <a:pt x="180" y="2"/>
                    <a:pt x="180" y="3"/>
                    <a:pt x="180" y="4"/>
                  </a:cubicBezTo>
                  <a:cubicBezTo>
                    <a:pt x="180" y="26"/>
                    <a:pt x="180" y="26"/>
                    <a:pt x="180" y="26"/>
                  </a:cubicBezTo>
                  <a:cubicBezTo>
                    <a:pt x="180" y="26"/>
                    <a:pt x="180" y="26"/>
                    <a:pt x="180" y="26"/>
                  </a:cubicBezTo>
                  <a:cubicBezTo>
                    <a:pt x="180" y="27"/>
                    <a:pt x="181" y="28"/>
                    <a:pt x="182" y="28"/>
                  </a:cubicBezTo>
                  <a:cubicBezTo>
                    <a:pt x="251" y="35"/>
                    <a:pt x="306" y="94"/>
                    <a:pt x="306" y="166"/>
                  </a:cubicBezTo>
                  <a:cubicBezTo>
                    <a:pt x="306" y="243"/>
                    <a:pt x="244" y="305"/>
                    <a:pt x="167" y="305"/>
                  </a:cubicBezTo>
                  <a:cubicBezTo>
                    <a:pt x="90" y="305"/>
                    <a:pt x="28" y="243"/>
                    <a:pt x="28" y="166"/>
                  </a:cubicBezTo>
                  <a:cubicBezTo>
                    <a:pt x="28" y="94"/>
                    <a:pt x="82" y="35"/>
                    <a:pt x="152" y="28"/>
                  </a:cubicBezTo>
                  <a:cubicBezTo>
                    <a:pt x="153" y="28"/>
                    <a:pt x="154" y="27"/>
                    <a:pt x="154" y="26"/>
                  </a:cubicBezTo>
                  <a:cubicBezTo>
                    <a:pt x="154" y="26"/>
                    <a:pt x="154" y="26"/>
                    <a:pt x="154" y="26"/>
                  </a:cubicBezTo>
                  <a:cubicBezTo>
                    <a:pt x="154" y="4"/>
                    <a:pt x="154" y="4"/>
                    <a:pt x="154" y="4"/>
                  </a:cubicBezTo>
                  <a:cubicBezTo>
                    <a:pt x="154" y="3"/>
                    <a:pt x="154" y="2"/>
                    <a:pt x="153" y="1"/>
                  </a:cubicBezTo>
                  <a:cubicBezTo>
                    <a:pt x="152" y="0"/>
                    <a:pt x="151" y="0"/>
                    <a:pt x="150" y="0"/>
                  </a:cubicBezTo>
                  <a:cubicBezTo>
                    <a:pt x="149" y="0"/>
                    <a:pt x="149" y="0"/>
                    <a:pt x="149" y="0"/>
                  </a:cubicBezTo>
                  <a:cubicBezTo>
                    <a:pt x="149" y="0"/>
                    <a:pt x="149" y="0"/>
                    <a:pt x="149" y="0"/>
                  </a:cubicBezTo>
                  <a:cubicBezTo>
                    <a:pt x="65" y="9"/>
                    <a:pt x="0" y="80"/>
                    <a:pt x="0" y="166"/>
                  </a:cubicBezTo>
                  <a:cubicBezTo>
                    <a:pt x="0" y="258"/>
                    <a:pt x="75" y="333"/>
                    <a:pt x="167" y="333"/>
                  </a:cubicBezTo>
                  <a:cubicBezTo>
                    <a:pt x="259" y="333"/>
                    <a:pt x="334" y="258"/>
                    <a:pt x="334" y="166"/>
                  </a:cubicBezTo>
                  <a:cubicBezTo>
                    <a:pt x="334" y="80"/>
                    <a:pt x="269" y="9"/>
                    <a:pt x="185" y="0"/>
                  </a:cubicBezTo>
                  <a:cubicBezTo>
                    <a:pt x="185" y="0"/>
                    <a:pt x="185" y="0"/>
                    <a:pt x="185" y="0"/>
                  </a:cubicBezTo>
                  <a:cubicBezTo>
                    <a:pt x="185" y="0"/>
                    <a:pt x="184" y="0"/>
                    <a:pt x="184" y="0"/>
                  </a:cubicBezTo>
                  <a:cubicBezTo>
                    <a:pt x="183" y="0"/>
                    <a:pt x="182" y="0"/>
                    <a:pt x="18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a:p>
          </p:txBody>
        </p:sp>
      </p:grpSp>
      <p:sp>
        <p:nvSpPr>
          <p:cNvPr id="9" name="MSIPCMContentMarking" descr="{&quot;HashCode&quot;:1442100953,&quot;Placement&quot;:&quot;Header&quot;,&quot;Top&quot;:0.0,&quot;Left&quot;:0.0,&quot;SlideWidth&quot;:960,&quot;SlideHeight&quot;:540}">
            <a:extLst>
              <a:ext uri="{FF2B5EF4-FFF2-40B4-BE49-F238E27FC236}">
                <a16:creationId xmlns:a16="http://schemas.microsoft.com/office/drawing/2014/main" id="{076B1D0D-9968-471D-86B0-9EC14E7EA269}"/>
              </a:ext>
            </a:extLst>
          </p:cNvPr>
          <p:cNvSpPr txBox="1"/>
          <p:nvPr userDrawn="1"/>
        </p:nvSpPr>
        <p:spPr>
          <a:xfrm>
            <a:off x="0" y="0"/>
            <a:ext cx="759286" cy="262344"/>
          </a:xfrm>
          <a:prstGeom prst="rect">
            <a:avLst/>
          </a:prstGeom>
          <a:noFill/>
        </p:spPr>
        <p:txBody>
          <a:bodyPr vert="horz" wrap="square" lIns="0" tIns="0" rIns="0" bIns="0" rtlCol="0" anchor="ctr" anchorCtr="1">
            <a:noAutofit/>
          </a:bodyPr>
          <a:lstStyle/>
          <a:p>
            <a:pPr algn="l">
              <a:lnSpc>
                <a:spcPct val="90000"/>
              </a:lnSpc>
              <a:spcBef>
                <a:spcPts val="0"/>
              </a:spcBef>
              <a:spcAft>
                <a:spcPts val="0"/>
              </a:spcAft>
            </a:pPr>
            <a:r>
              <a:rPr lang="en-US" sz="1000">
                <a:solidFill>
                  <a:srgbClr val="000000"/>
                </a:solidFill>
                <a:latin typeface="Calibri" panose="020F0502020204030204" pitchFamily="34" charset="0"/>
              </a:rPr>
              <a:t>Classified</a:t>
            </a:r>
            <a:endParaRPr lang="en-BE" sz="1000" dirty="0" err="1">
              <a:solidFill>
                <a:srgbClr val="000000"/>
              </a:solidFill>
              <a:latin typeface="Calibri" panose="020F0502020204030204" pitchFamily="34" charset="0"/>
            </a:endParaRPr>
          </a:p>
        </p:txBody>
      </p:sp>
    </p:spTree>
    <p:extLst>
      <p:ext uri="{BB962C8B-B14F-4D97-AF65-F5344CB8AC3E}">
        <p14:creationId xmlns:p14="http://schemas.microsoft.com/office/powerpoint/2010/main" val="4159513731"/>
      </p:ext>
    </p:extLst>
  </p:cSld>
  <p:clrMap bg1="lt1" tx1="dk1" bg2="lt2" tx2="dk2" accent1="accent1" accent2="accent2" accent3="accent3" accent4="accent4" accent5="accent5" accent6="accent6" hlink="hlink" folHlink="folHlink"/>
  <p:sldLayoutIdLst>
    <p:sldLayoutId id="2147483980" r:id="rId1"/>
    <p:sldLayoutId id="2147483981" r:id="rId2"/>
    <p:sldLayoutId id="2147483982" r:id="rId3"/>
    <p:sldLayoutId id="2147483983" r:id="rId4"/>
    <p:sldLayoutId id="2147483984" r:id="rId5"/>
    <p:sldLayoutId id="2147483985" r:id="rId6"/>
    <p:sldLayoutId id="2147483986" r:id="rId7"/>
    <p:sldLayoutId id="2147483987" r:id="rId8"/>
    <p:sldLayoutId id="2147483988" r:id="rId9"/>
    <p:sldLayoutId id="2147483989" r:id="rId10"/>
    <p:sldLayoutId id="2147483990" r:id="rId11"/>
    <p:sldLayoutId id="2147483991" r:id="rId12"/>
    <p:sldLayoutId id="2147483992" r:id="rId13"/>
    <p:sldLayoutId id="2147483993" r:id="rId14"/>
    <p:sldLayoutId id="2147483994" r:id="rId15"/>
    <p:sldLayoutId id="2147483995" r:id="rId16"/>
    <p:sldLayoutId id="2147483996" r:id="rId17"/>
    <p:sldLayoutId id="2147483997" r:id="rId18"/>
    <p:sldLayoutId id="2147483998" r:id="rId19"/>
    <p:sldLayoutId id="2147483999" r:id="rId20"/>
    <p:sldLayoutId id="2147484000" r:id="rId21"/>
    <p:sldLayoutId id="2147484001" r:id="rId22"/>
  </p:sldLayoutIdLst>
  <p:transition>
    <p:fade/>
  </p:transition>
  <p:hf hdr="0" dt="0"/>
  <p:txStyles>
    <p:titleStyle>
      <a:lvl1pPr algn="l" defTabSz="1042512" rtl="0" eaLnBrk="1" latinLnBrk="0" hangingPunct="1">
        <a:lnSpc>
          <a:spcPct val="90000"/>
        </a:lnSpc>
        <a:spcBef>
          <a:spcPct val="0"/>
        </a:spcBef>
        <a:buNone/>
        <a:defRPr sz="2400" b="0" kern="1200">
          <a:solidFill>
            <a:schemeClr val="tx2"/>
          </a:solidFill>
          <a:latin typeface="+mj-lt"/>
          <a:ea typeface="+mj-ea"/>
          <a:cs typeface="+mj-cs"/>
        </a:defRPr>
      </a:lvl1pPr>
    </p:titleStyle>
    <p:bodyStyle>
      <a:lvl1pPr marL="0" indent="0" algn="l" defTabSz="1042512" rtl="0" eaLnBrk="1" latinLnBrk="0" hangingPunct="1">
        <a:lnSpc>
          <a:spcPct val="90000"/>
        </a:lnSpc>
        <a:spcBef>
          <a:spcPts val="0"/>
        </a:spcBef>
        <a:spcAft>
          <a:spcPts val="1027"/>
        </a:spcAft>
        <a:buFont typeface="Arial" panose="020B0604020202020204" pitchFamily="34" charset="0"/>
        <a:buNone/>
        <a:defRPr sz="1597" kern="1200">
          <a:solidFill>
            <a:schemeClr val="tx2"/>
          </a:solidFill>
          <a:latin typeface="+mn-lt"/>
          <a:ea typeface="+mn-ea"/>
          <a:cs typeface="+mn-cs"/>
        </a:defRPr>
      </a:lvl1pPr>
      <a:lvl2pPr marL="0" indent="0" algn="l" defTabSz="1042512" rtl="0" eaLnBrk="1" latinLnBrk="0" hangingPunct="1">
        <a:lnSpc>
          <a:spcPct val="90000"/>
        </a:lnSpc>
        <a:spcBef>
          <a:spcPts val="0"/>
        </a:spcBef>
        <a:spcAft>
          <a:spcPts val="1027"/>
        </a:spcAft>
        <a:buFont typeface="Arial" panose="020B0604020202020204" pitchFamily="34" charset="0"/>
        <a:buNone/>
        <a:defRPr sz="1597" b="0" kern="1200">
          <a:solidFill>
            <a:schemeClr val="tx2"/>
          </a:solidFill>
          <a:latin typeface="Signify Relative Bold" panose="02000806030000020004" pitchFamily="50" charset="0"/>
          <a:ea typeface="+mn-ea"/>
          <a:cs typeface="+mn-cs"/>
        </a:defRPr>
      </a:lvl2pPr>
      <a:lvl3pPr marL="0" indent="0" algn="l" defTabSz="1042512" rtl="0" eaLnBrk="1" latinLnBrk="0" hangingPunct="1">
        <a:lnSpc>
          <a:spcPct val="90000"/>
        </a:lnSpc>
        <a:spcBef>
          <a:spcPts val="0"/>
        </a:spcBef>
        <a:spcAft>
          <a:spcPts val="1027"/>
        </a:spcAft>
        <a:buFont typeface="Arial" panose="020B0604020202020204" pitchFamily="34" charset="0"/>
        <a:buNone/>
        <a:defRPr sz="1597" kern="1200">
          <a:solidFill>
            <a:schemeClr val="accent5"/>
          </a:solidFill>
          <a:latin typeface="+mn-lt"/>
          <a:ea typeface="+mn-ea"/>
          <a:cs typeface="+mn-cs"/>
        </a:defRPr>
      </a:lvl3pPr>
      <a:lvl4pPr marL="290427" indent="-290427" algn="l" defTabSz="1042512" rtl="0" eaLnBrk="1" latinLnBrk="0" hangingPunct="1">
        <a:lnSpc>
          <a:spcPct val="90000"/>
        </a:lnSpc>
        <a:spcBef>
          <a:spcPts val="0"/>
        </a:spcBef>
        <a:spcAft>
          <a:spcPts val="684"/>
        </a:spcAft>
        <a:buClr>
          <a:schemeClr val="accent5"/>
        </a:buClr>
        <a:buFont typeface="Arial" panose="020B0604020202020204" pitchFamily="34" charset="0"/>
        <a:buChar char="•"/>
        <a:defRPr sz="1400" kern="1200">
          <a:solidFill>
            <a:schemeClr val="tx2"/>
          </a:solidFill>
          <a:latin typeface="+mn-lt"/>
          <a:ea typeface="+mn-ea"/>
          <a:cs typeface="+mn-cs"/>
        </a:defRPr>
      </a:lvl4pPr>
      <a:lvl5pPr marL="580854" indent="-290427" algn="l" defTabSz="1042512" rtl="0" eaLnBrk="1" latinLnBrk="0" hangingPunct="1">
        <a:lnSpc>
          <a:spcPct val="90000"/>
        </a:lnSpc>
        <a:spcBef>
          <a:spcPts val="0"/>
        </a:spcBef>
        <a:spcAft>
          <a:spcPts val="684"/>
        </a:spcAft>
        <a:buClr>
          <a:schemeClr val="accent5"/>
        </a:buClr>
        <a:buFont typeface="Arial" panose="020B0604020202020204" pitchFamily="34" charset="0"/>
        <a:buChar char="•"/>
        <a:defRPr sz="1400" kern="1200">
          <a:solidFill>
            <a:schemeClr val="tx2"/>
          </a:solidFill>
          <a:latin typeface="+mn-lt"/>
          <a:ea typeface="+mn-ea"/>
          <a:cs typeface="+mn-cs"/>
        </a:defRPr>
      </a:lvl5pPr>
      <a:lvl6pPr marL="871281" indent="-290427" algn="l" defTabSz="1042512" rtl="0" eaLnBrk="1" latinLnBrk="0" hangingPunct="1">
        <a:lnSpc>
          <a:spcPct val="90000"/>
        </a:lnSpc>
        <a:spcBef>
          <a:spcPts val="0"/>
        </a:spcBef>
        <a:spcAft>
          <a:spcPts val="684"/>
        </a:spcAft>
        <a:buClr>
          <a:schemeClr val="accent5"/>
        </a:buClr>
        <a:buFont typeface="Arial" panose="020B0604020202020204" pitchFamily="34" charset="0"/>
        <a:buChar char="•"/>
        <a:defRPr sz="1400" kern="1200">
          <a:solidFill>
            <a:schemeClr val="tx2"/>
          </a:solidFill>
          <a:latin typeface="+mn-lt"/>
          <a:ea typeface="+mn-ea"/>
          <a:cs typeface="+mn-cs"/>
        </a:defRPr>
      </a:lvl6pPr>
      <a:lvl7pPr marL="1161708" indent="-290427" algn="l" defTabSz="1042512" rtl="0" eaLnBrk="1" latinLnBrk="0" hangingPunct="1">
        <a:lnSpc>
          <a:spcPct val="90000"/>
        </a:lnSpc>
        <a:spcBef>
          <a:spcPts val="0"/>
        </a:spcBef>
        <a:spcAft>
          <a:spcPts val="684"/>
        </a:spcAft>
        <a:buClr>
          <a:schemeClr val="accent5"/>
        </a:buClr>
        <a:buFont typeface="Arial" panose="020B0604020202020204" pitchFamily="34" charset="0"/>
        <a:buChar char="•"/>
        <a:defRPr sz="1400" kern="1200">
          <a:solidFill>
            <a:schemeClr val="tx2"/>
          </a:solidFill>
          <a:latin typeface="+mn-lt"/>
          <a:ea typeface="+mn-ea"/>
          <a:cs typeface="+mn-cs"/>
        </a:defRPr>
      </a:lvl7pPr>
      <a:lvl8pPr marL="1452133" indent="-290427" algn="l" defTabSz="1042512" rtl="0" eaLnBrk="1" latinLnBrk="0" hangingPunct="1">
        <a:lnSpc>
          <a:spcPct val="90000"/>
        </a:lnSpc>
        <a:spcBef>
          <a:spcPts val="0"/>
        </a:spcBef>
        <a:spcAft>
          <a:spcPts val="684"/>
        </a:spcAft>
        <a:buClr>
          <a:schemeClr val="accent5"/>
        </a:buClr>
        <a:buFont typeface="Arial" panose="020B0604020202020204" pitchFamily="34" charset="0"/>
        <a:buChar char="•"/>
        <a:defRPr sz="1400" kern="1200">
          <a:solidFill>
            <a:schemeClr val="tx2"/>
          </a:solidFill>
          <a:latin typeface="+mn-lt"/>
          <a:ea typeface="+mn-ea"/>
          <a:cs typeface="+mn-cs"/>
        </a:defRPr>
      </a:lvl8pPr>
      <a:lvl9pPr marL="1742562" indent="-290427" algn="l" defTabSz="1042512" rtl="0" eaLnBrk="1" latinLnBrk="0" hangingPunct="1">
        <a:lnSpc>
          <a:spcPct val="90000"/>
        </a:lnSpc>
        <a:spcBef>
          <a:spcPts val="0"/>
        </a:spcBef>
        <a:spcAft>
          <a:spcPts val="684"/>
        </a:spcAft>
        <a:buClr>
          <a:schemeClr val="accent5"/>
        </a:buClr>
        <a:buFont typeface="Arial" panose="020B0604020202020204" pitchFamily="34" charset="0"/>
        <a:buChar char="•"/>
        <a:defRPr sz="1400" kern="1200">
          <a:solidFill>
            <a:schemeClr val="tx2"/>
          </a:solidFill>
          <a:latin typeface="+mn-lt"/>
          <a:ea typeface="+mn-ea"/>
          <a:cs typeface="+mn-cs"/>
        </a:defRPr>
      </a:lvl9pPr>
    </p:bodyStyle>
    <p:otherStyle>
      <a:defPPr>
        <a:defRPr lang="en-US"/>
      </a:defPPr>
      <a:lvl1pPr marL="0" algn="l" defTabSz="1042512" rtl="0" eaLnBrk="1" latinLnBrk="0" hangingPunct="1">
        <a:defRPr sz="2052" kern="1200">
          <a:solidFill>
            <a:schemeClr val="tx1"/>
          </a:solidFill>
          <a:latin typeface="+mn-lt"/>
          <a:ea typeface="+mn-ea"/>
          <a:cs typeface="+mn-cs"/>
        </a:defRPr>
      </a:lvl1pPr>
      <a:lvl2pPr marL="521258" algn="l" defTabSz="1042512" rtl="0" eaLnBrk="1" latinLnBrk="0" hangingPunct="1">
        <a:defRPr sz="2052" kern="1200">
          <a:solidFill>
            <a:schemeClr val="tx1"/>
          </a:solidFill>
          <a:latin typeface="+mn-lt"/>
          <a:ea typeface="+mn-ea"/>
          <a:cs typeface="+mn-cs"/>
        </a:defRPr>
      </a:lvl2pPr>
      <a:lvl3pPr marL="1042512" algn="l" defTabSz="1042512" rtl="0" eaLnBrk="1" latinLnBrk="0" hangingPunct="1">
        <a:defRPr sz="2052" kern="1200">
          <a:solidFill>
            <a:schemeClr val="tx1"/>
          </a:solidFill>
          <a:latin typeface="+mn-lt"/>
          <a:ea typeface="+mn-ea"/>
          <a:cs typeface="+mn-cs"/>
        </a:defRPr>
      </a:lvl3pPr>
      <a:lvl4pPr marL="1563773" algn="l" defTabSz="1042512" rtl="0" eaLnBrk="1" latinLnBrk="0" hangingPunct="1">
        <a:defRPr sz="2052" kern="1200">
          <a:solidFill>
            <a:schemeClr val="tx1"/>
          </a:solidFill>
          <a:latin typeface="+mn-lt"/>
          <a:ea typeface="+mn-ea"/>
          <a:cs typeface="+mn-cs"/>
        </a:defRPr>
      </a:lvl4pPr>
      <a:lvl5pPr marL="2085031" algn="l" defTabSz="1042512" rtl="0" eaLnBrk="1" latinLnBrk="0" hangingPunct="1">
        <a:defRPr sz="2052" kern="1200">
          <a:solidFill>
            <a:schemeClr val="tx1"/>
          </a:solidFill>
          <a:latin typeface="+mn-lt"/>
          <a:ea typeface="+mn-ea"/>
          <a:cs typeface="+mn-cs"/>
        </a:defRPr>
      </a:lvl5pPr>
      <a:lvl6pPr marL="2606285" algn="l" defTabSz="1042512" rtl="0" eaLnBrk="1" latinLnBrk="0" hangingPunct="1">
        <a:defRPr sz="2052" kern="1200">
          <a:solidFill>
            <a:schemeClr val="tx1"/>
          </a:solidFill>
          <a:latin typeface="+mn-lt"/>
          <a:ea typeface="+mn-ea"/>
          <a:cs typeface="+mn-cs"/>
        </a:defRPr>
      </a:lvl6pPr>
      <a:lvl7pPr marL="3127543" algn="l" defTabSz="1042512" rtl="0" eaLnBrk="1" latinLnBrk="0" hangingPunct="1">
        <a:defRPr sz="2052" kern="1200">
          <a:solidFill>
            <a:schemeClr val="tx1"/>
          </a:solidFill>
          <a:latin typeface="+mn-lt"/>
          <a:ea typeface="+mn-ea"/>
          <a:cs typeface="+mn-cs"/>
        </a:defRPr>
      </a:lvl7pPr>
      <a:lvl8pPr marL="3648803" algn="l" defTabSz="1042512" rtl="0" eaLnBrk="1" latinLnBrk="0" hangingPunct="1">
        <a:defRPr sz="2052" kern="1200">
          <a:solidFill>
            <a:schemeClr val="tx1"/>
          </a:solidFill>
          <a:latin typeface="+mn-lt"/>
          <a:ea typeface="+mn-ea"/>
          <a:cs typeface="+mn-cs"/>
        </a:defRPr>
      </a:lvl8pPr>
      <a:lvl9pPr marL="4170060" algn="l" defTabSz="1042512" rtl="0" eaLnBrk="1" latinLnBrk="0" hangingPunct="1">
        <a:defRPr sz="205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1">
          <p15:clr>
            <a:srgbClr val="F26B43"/>
          </p15:clr>
        </p15:guide>
        <p15:guide id="2" pos="3840">
          <p15:clr>
            <a:srgbClr val="F26B43"/>
          </p15:clr>
        </p15:guide>
        <p15:guide id="3" pos="260">
          <p15:clr>
            <a:srgbClr val="F26B43"/>
          </p15:clr>
        </p15:guide>
        <p15:guide id="4" pos="7420">
          <p15:clr>
            <a:srgbClr val="F26B43"/>
          </p15:clr>
        </p15:guide>
        <p15:guide id="5" orient="horz" pos="259">
          <p15:clr>
            <a:srgbClr val="F26B43"/>
          </p15:clr>
        </p15:guide>
        <p15:guide id="6" orient="horz" pos="958">
          <p15:clr>
            <a:srgbClr val="F26B43"/>
          </p15:clr>
        </p15:guide>
        <p15:guide id="7" orient="horz" pos="3989">
          <p15:clr>
            <a:srgbClr val="F26B43"/>
          </p15:clr>
        </p15:guide>
        <p15:guide id="8" orient="horz" pos="379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0879" y="410669"/>
            <a:ext cx="11368018" cy="776038"/>
          </a:xfrm>
          <a:prstGeom prst="rect">
            <a:avLst/>
          </a:prstGeom>
        </p:spPr>
        <p:txBody>
          <a:bodyPr vert="horz" lIns="0" tIns="0" rIns="0" bIns="0" rtlCol="0" anchor="t" anchorCtr="0">
            <a:noAutofit/>
          </a:bodyPr>
          <a:lstStyle/>
          <a:p>
            <a:r>
              <a:rPr lang="en-US" noProof="0"/>
              <a:t>Click to edit Master title style</a:t>
            </a:r>
          </a:p>
        </p:txBody>
      </p:sp>
      <p:sp>
        <p:nvSpPr>
          <p:cNvPr id="3" name="Text Placeholder 2"/>
          <p:cNvSpPr>
            <a:spLocks noGrp="1"/>
          </p:cNvSpPr>
          <p:nvPr>
            <p:ph type="body" idx="1"/>
          </p:nvPr>
        </p:nvSpPr>
        <p:spPr>
          <a:xfrm>
            <a:off x="410879" y="1521182"/>
            <a:ext cx="11368018" cy="4494734"/>
          </a:xfrm>
          <a:prstGeom prst="rect">
            <a:avLst/>
          </a:prstGeom>
        </p:spPr>
        <p:txBody>
          <a:bodyPr vert="horz" lIns="0" tIns="0" rIns="0" bIns="0" rtlCol="0" anchor="t" anchorCtr="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2"/>
          </p:nvPr>
        </p:nvSpPr>
        <p:spPr>
          <a:xfrm>
            <a:off x="6096910" y="6332830"/>
            <a:ext cx="1194866" cy="273450"/>
          </a:xfrm>
          <a:prstGeom prst="rect">
            <a:avLst/>
          </a:prstGeom>
        </p:spPr>
        <p:txBody>
          <a:bodyPr vert="horz" lIns="0" tIns="0" rIns="0" bIns="0" rtlCol="0" anchor="t" anchorCtr="0">
            <a:noAutofit/>
          </a:bodyPr>
          <a:lstStyle>
            <a:lvl1pPr algn="l">
              <a:defRPr sz="1100">
                <a:solidFill>
                  <a:schemeClr val="tx1"/>
                </a:solidFill>
              </a:defRPr>
            </a:lvl1pPr>
          </a:lstStyle>
          <a:p>
            <a:endParaRPr lang="en-US"/>
          </a:p>
        </p:txBody>
      </p:sp>
      <p:sp>
        <p:nvSpPr>
          <p:cNvPr id="5" name="Footer Placeholder 4"/>
          <p:cNvSpPr>
            <a:spLocks noGrp="1"/>
          </p:cNvSpPr>
          <p:nvPr>
            <p:ph type="ftr" sz="quarter" idx="3"/>
          </p:nvPr>
        </p:nvSpPr>
        <p:spPr>
          <a:xfrm>
            <a:off x="920368" y="6332830"/>
            <a:ext cx="4784400" cy="273450"/>
          </a:xfrm>
          <a:prstGeom prst="rect">
            <a:avLst/>
          </a:prstGeom>
        </p:spPr>
        <p:txBody>
          <a:bodyPr vert="horz" lIns="0" tIns="0" rIns="0" bIns="0" rtlCol="0" anchor="t" anchorCtr="0">
            <a:noAutofit/>
          </a:bodyPr>
          <a:lstStyle>
            <a:lvl1pPr algn="l">
              <a:defRPr sz="1100">
                <a:solidFill>
                  <a:schemeClr val="tx1"/>
                </a:solidFill>
              </a:defRPr>
            </a:lvl1pPr>
          </a:lstStyle>
          <a:p>
            <a:r>
              <a:rPr lang="en-US"/>
              <a:t>Document Name</a:t>
            </a:r>
          </a:p>
        </p:txBody>
      </p:sp>
      <p:sp>
        <p:nvSpPr>
          <p:cNvPr id="6" name="Slide Number Placeholder 5"/>
          <p:cNvSpPr>
            <a:spLocks noGrp="1"/>
          </p:cNvSpPr>
          <p:nvPr>
            <p:ph type="sldNum" sz="quarter" idx="4"/>
          </p:nvPr>
        </p:nvSpPr>
        <p:spPr>
          <a:xfrm>
            <a:off x="410882" y="6332830"/>
            <a:ext cx="507262" cy="273450"/>
          </a:xfrm>
          <a:prstGeom prst="rect">
            <a:avLst/>
          </a:prstGeom>
        </p:spPr>
        <p:txBody>
          <a:bodyPr vert="horz" lIns="0" tIns="0" rIns="0" bIns="0" rtlCol="0" anchor="t" anchorCtr="0">
            <a:noAutofit/>
          </a:bodyPr>
          <a:lstStyle>
            <a:lvl1pPr algn="l">
              <a:defRPr sz="1100">
                <a:solidFill>
                  <a:schemeClr val="tx1"/>
                </a:solidFill>
              </a:defRPr>
            </a:lvl1pPr>
          </a:lstStyle>
          <a:p>
            <a:fld id="{32B354EE-31EA-4FC2-9496-7B6202183237}" type="slidenum">
              <a:rPr lang="en-US" smtClean="0"/>
              <a:pPr/>
              <a:t>‹#›</a:t>
            </a:fld>
            <a:endParaRPr lang="en-US"/>
          </a:p>
        </p:txBody>
      </p:sp>
      <p:grpSp>
        <p:nvGrpSpPr>
          <p:cNvPr id="18" name="Group 4">
            <a:extLst>
              <a:ext uri="{FF2B5EF4-FFF2-40B4-BE49-F238E27FC236}">
                <a16:creationId xmlns:a16="http://schemas.microsoft.com/office/drawing/2014/main" id="{5B8134DB-A8C2-4E81-8AE1-923CCD50B69B}"/>
              </a:ext>
            </a:extLst>
          </p:cNvPr>
          <p:cNvGrpSpPr>
            <a:grpSpLocks noChangeAspect="1"/>
          </p:cNvGrpSpPr>
          <p:nvPr/>
        </p:nvGrpSpPr>
        <p:grpSpPr bwMode="auto">
          <a:xfrm>
            <a:off x="10432850" y="6330937"/>
            <a:ext cx="1346400" cy="188639"/>
            <a:chOff x="0" y="1622"/>
            <a:chExt cx="7680" cy="1076"/>
          </a:xfrm>
          <a:solidFill>
            <a:schemeClr val="tx1"/>
          </a:solidFill>
        </p:grpSpPr>
        <p:sp>
          <p:nvSpPr>
            <p:cNvPr id="19" name="Freeform 5">
              <a:extLst>
                <a:ext uri="{FF2B5EF4-FFF2-40B4-BE49-F238E27FC236}">
                  <a16:creationId xmlns:a16="http://schemas.microsoft.com/office/drawing/2014/main" id="{1C914F38-7391-4125-9EBB-90D545A14D37}"/>
                </a:ext>
              </a:extLst>
            </p:cNvPr>
            <p:cNvSpPr>
              <a:spLocks/>
            </p:cNvSpPr>
            <p:nvPr/>
          </p:nvSpPr>
          <p:spPr bwMode="auto">
            <a:xfrm>
              <a:off x="1489" y="1874"/>
              <a:ext cx="479" cy="565"/>
            </a:xfrm>
            <a:custGeom>
              <a:avLst/>
              <a:gdLst>
                <a:gd name="T0" fmla="*/ 766 w 766"/>
                <a:gd name="T1" fmla="*/ 745 h 903"/>
                <a:gd name="T2" fmla="*/ 447 w 766"/>
                <a:gd name="T3" fmla="*/ 903 h 903"/>
                <a:gd name="T4" fmla="*/ 0 w 766"/>
                <a:gd name="T5" fmla="*/ 452 h 903"/>
                <a:gd name="T6" fmla="*/ 447 w 766"/>
                <a:gd name="T7" fmla="*/ 0 h 903"/>
                <a:gd name="T8" fmla="*/ 745 w 766"/>
                <a:gd name="T9" fmla="*/ 136 h 903"/>
                <a:gd name="T10" fmla="*/ 668 w 766"/>
                <a:gd name="T11" fmla="*/ 193 h 903"/>
                <a:gd name="T12" fmla="*/ 447 w 766"/>
                <a:gd name="T13" fmla="*/ 80 h 903"/>
                <a:gd name="T14" fmla="*/ 94 w 766"/>
                <a:gd name="T15" fmla="*/ 452 h 903"/>
                <a:gd name="T16" fmla="*/ 447 w 766"/>
                <a:gd name="T17" fmla="*/ 823 h 903"/>
                <a:gd name="T18" fmla="*/ 694 w 766"/>
                <a:gd name="T19" fmla="*/ 694 h 903"/>
                <a:gd name="T20" fmla="*/ 766 w 766"/>
                <a:gd name="T21" fmla="*/ 745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6" h="903">
                  <a:moveTo>
                    <a:pt x="766" y="745"/>
                  </a:moveTo>
                  <a:cubicBezTo>
                    <a:pt x="708" y="834"/>
                    <a:pt x="590" y="903"/>
                    <a:pt x="447" y="903"/>
                  </a:cubicBezTo>
                  <a:cubicBezTo>
                    <a:pt x="192" y="903"/>
                    <a:pt x="0" y="713"/>
                    <a:pt x="0" y="452"/>
                  </a:cubicBezTo>
                  <a:cubicBezTo>
                    <a:pt x="0" y="191"/>
                    <a:pt x="192" y="0"/>
                    <a:pt x="447" y="0"/>
                  </a:cubicBezTo>
                  <a:cubicBezTo>
                    <a:pt x="554" y="0"/>
                    <a:pt x="670" y="40"/>
                    <a:pt x="745" y="136"/>
                  </a:cubicBezTo>
                  <a:cubicBezTo>
                    <a:pt x="668" y="193"/>
                    <a:pt x="668" y="193"/>
                    <a:pt x="668" y="193"/>
                  </a:cubicBezTo>
                  <a:cubicBezTo>
                    <a:pt x="634" y="137"/>
                    <a:pt x="539" y="80"/>
                    <a:pt x="447" y="80"/>
                  </a:cubicBezTo>
                  <a:cubicBezTo>
                    <a:pt x="226" y="80"/>
                    <a:pt x="94" y="254"/>
                    <a:pt x="94" y="452"/>
                  </a:cubicBezTo>
                  <a:cubicBezTo>
                    <a:pt x="94" y="650"/>
                    <a:pt x="226" y="823"/>
                    <a:pt x="447" y="823"/>
                  </a:cubicBezTo>
                  <a:cubicBezTo>
                    <a:pt x="537" y="823"/>
                    <a:pt x="630" y="793"/>
                    <a:pt x="694" y="694"/>
                  </a:cubicBezTo>
                  <a:lnTo>
                    <a:pt x="766" y="7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21" name="Freeform 6">
              <a:extLst>
                <a:ext uri="{FF2B5EF4-FFF2-40B4-BE49-F238E27FC236}">
                  <a16:creationId xmlns:a16="http://schemas.microsoft.com/office/drawing/2014/main" id="{D2C1C3AD-5877-4211-8B98-0118B501CB73}"/>
                </a:ext>
              </a:extLst>
            </p:cNvPr>
            <p:cNvSpPr>
              <a:spLocks noEditPoints="1"/>
            </p:cNvSpPr>
            <p:nvPr/>
          </p:nvSpPr>
          <p:spPr bwMode="auto">
            <a:xfrm>
              <a:off x="2014" y="1874"/>
              <a:ext cx="560" cy="565"/>
            </a:xfrm>
            <a:custGeom>
              <a:avLst/>
              <a:gdLst>
                <a:gd name="T0" fmla="*/ 448 w 896"/>
                <a:gd name="T1" fmla="*/ 80 h 903"/>
                <a:gd name="T2" fmla="*/ 95 w 896"/>
                <a:gd name="T3" fmla="*/ 452 h 903"/>
                <a:gd name="T4" fmla="*/ 448 w 896"/>
                <a:gd name="T5" fmla="*/ 823 h 903"/>
                <a:gd name="T6" fmla="*/ 801 w 896"/>
                <a:gd name="T7" fmla="*/ 452 h 903"/>
                <a:gd name="T8" fmla="*/ 448 w 896"/>
                <a:gd name="T9" fmla="*/ 80 h 903"/>
                <a:gd name="T10" fmla="*/ 448 w 896"/>
                <a:gd name="T11" fmla="*/ 903 h 903"/>
                <a:gd name="T12" fmla="*/ 0 w 896"/>
                <a:gd name="T13" fmla="*/ 452 h 903"/>
                <a:gd name="T14" fmla="*/ 448 w 896"/>
                <a:gd name="T15" fmla="*/ 0 h 903"/>
                <a:gd name="T16" fmla="*/ 896 w 896"/>
                <a:gd name="T17" fmla="*/ 452 h 903"/>
                <a:gd name="T18" fmla="*/ 448 w 896"/>
                <a:gd name="T19" fmla="*/ 903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6" h="903">
                  <a:moveTo>
                    <a:pt x="448" y="80"/>
                  </a:moveTo>
                  <a:cubicBezTo>
                    <a:pt x="227" y="80"/>
                    <a:pt x="95" y="254"/>
                    <a:pt x="95" y="452"/>
                  </a:cubicBezTo>
                  <a:cubicBezTo>
                    <a:pt x="95" y="649"/>
                    <a:pt x="227" y="823"/>
                    <a:pt x="448" y="823"/>
                  </a:cubicBezTo>
                  <a:cubicBezTo>
                    <a:pt x="669" y="823"/>
                    <a:pt x="801" y="649"/>
                    <a:pt x="801" y="452"/>
                  </a:cubicBezTo>
                  <a:cubicBezTo>
                    <a:pt x="801" y="254"/>
                    <a:pt x="669" y="80"/>
                    <a:pt x="448" y="80"/>
                  </a:cubicBezTo>
                  <a:moveTo>
                    <a:pt x="448" y="903"/>
                  </a:moveTo>
                  <a:cubicBezTo>
                    <a:pt x="192" y="903"/>
                    <a:pt x="0" y="712"/>
                    <a:pt x="0" y="452"/>
                  </a:cubicBezTo>
                  <a:cubicBezTo>
                    <a:pt x="0" y="191"/>
                    <a:pt x="192" y="0"/>
                    <a:pt x="448" y="0"/>
                  </a:cubicBezTo>
                  <a:cubicBezTo>
                    <a:pt x="704" y="0"/>
                    <a:pt x="896" y="191"/>
                    <a:pt x="896" y="452"/>
                  </a:cubicBezTo>
                  <a:cubicBezTo>
                    <a:pt x="896" y="712"/>
                    <a:pt x="704" y="903"/>
                    <a:pt x="448" y="90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32" name="Freeform 7">
              <a:extLst>
                <a:ext uri="{FF2B5EF4-FFF2-40B4-BE49-F238E27FC236}">
                  <a16:creationId xmlns:a16="http://schemas.microsoft.com/office/drawing/2014/main" id="{8162402E-6173-4B7E-9508-BD1D30AA7E79}"/>
                </a:ext>
              </a:extLst>
            </p:cNvPr>
            <p:cNvSpPr>
              <a:spLocks/>
            </p:cNvSpPr>
            <p:nvPr/>
          </p:nvSpPr>
          <p:spPr bwMode="auto">
            <a:xfrm>
              <a:off x="2672" y="1888"/>
              <a:ext cx="305" cy="538"/>
            </a:xfrm>
            <a:custGeom>
              <a:avLst/>
              <a:gdLst>
                <a:gd name="T0" fmla="*/ 0 w 305"/>
                <a:gd name="T1" fmla="*/ 0 h 538"/>
                <a:gd name="T2" fmla="*/ 0 w 305"/>
                <a:gd name="T3" fmla="*/ 538 h 538"/>
                <a:gd name="T4" fmla="*/ 305 w 305"/>
                <a:gd name="T5" fmla="*/ 538 h 538"/>
                <a:gd name="T6" fmla="*/ 305 w 305"/>
                <a:gd name="T7" fmla="*/ 488 h 538"/>
                <a:gd name="T8" fmla="*/ 55 w 305"/>
                <a:gd name="T9" fmla="*/ 488 h 538"/>
                <a:gd name="T10" fmla="*/ 55 w 305"/>
                <a:gd name="T11" fmla="*/ 0 h 538"/>
                <a:gd name="T12" fmla="*/ 0 w 305"/>
                <a:gd name="T13" fmla="*/ 0 h 538"/>
              </a:gdLst>
              <a:ahLst/>
              <a:cxnLst>
                <a:cxn ang="0">
                  <a:pos x="T0" y="T1"/>
                </a:cxn>
                <a:cxn ang="0">
                  <a:pos x="T2" y="T3"/>
                </a:cxn>
                <a:cxn ang="0">
                  <a:pos x="T4" y="T5"/>
                </a:cxn>
                <a:cxn ang="0">
                  <a:pos x="T6" y="T7"/>
                </a:cxn>
                <a:cxn ang="0">
                  <a:pos x="T8" y="T9"/>
                </a:cxn>
                <a:cxn ang="0">
                  <a:pos x="T10" y="T11"/>
                </a:cxn>
                <a:cxn ang="0">
                  <a:pos x="T12" y="T13"/>
                </a:cxn>
              </a:cxnLst>
              <a:rect l="0" t="0" r="r" b="b"/>
              <a:pathLst>
                <a:path w="305" h="538">
                  <a:moveTo>
                    <a:pt x="0" y="0"/>
                  </a:moveTo>
                  <a:lnTo>
                    <a:pt x="0" y="538"/>
                  </a:lnTo>
                  <a:lnTo>
                    <a:pt x="305" y="538"/>
                  </a:lnTo>
                  <a:lnTo>
                    <a:pt x="305" y="488"/>
                  </a:lnTo>
                  <a:lnTo>
                    <a:pt x="55" y="488"/>
                  </a:lnTo>
                  <a:lnTo>
                    <a:pt x="55"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33" name="Freeform 8">
              <a:extLst>
                <a:ext uri="{FF2B5EF4-FFF2-40B4-BE49-F238E27FC236}">
                  <a16:creationId xmlns:a16="http://schemas.microsoft.com/office/drawing/2014/main" id="{720A2039-3F7C-4D05-A0A2-24EB50AC50AB}"/>
                </a:ext>
              </a:extLst>
            </p:cNvPr>
            <p:cNvSpPr>
              <a:spLocks noEditPoints="1"/>
            </p:cNvSpPr>
            <p:nvPr/>
          </p:nvSpPr>
          <p:spPr bwMode="auto">
            <a:xfrm>
              <a:off x="2997" y="1874"/>
              <a:ext cx="561" cy="565"/>
            </a:xfrm>
            <a:custGeom>
              <a:avLst/>
              <a:gdLst>
                <a:gd name="T0" fmla="*/ 448 w 896"/>
                <a:gd name="T1" fmla="*/ 80 h 903"/>
                <a:gd name="T2" fmla="*/ 95 w 896"/>
                <a:gd name="T3" fmla="*/ 452 h 903"/>
                <a:gd name="T4" fmla="*/ 448 w 896"/>
                <a:gd name="T5" fmla="*/ 823 h 903"/>
                <a:gd name="T6" fmla="*/ 801 w 896"/>
                <a:gd name="T7" fmla="*/ 452 h 903"/>
                <a:gd name="T8" fmla="*/ 448 w 896"/>
                <a:gd name="T9" fmla="*/ 80 h 903"/>
                <a:gd name="T10" fmla="*/ 448 w 896"/>
                <a:gd name="T11" fmla="*/ 903 h 903"/>
                <a:gd name="T12" fmla="*/ 0 w 896"/>
                <a:gd name="T13" fmla="*/ 452 h 903"/>
                <a:gd name="T14" fmla="*/ 448 w 896"/>
                <a:gd name="T15" fmla="*/ 0 h 903"/>
                <a:gd name="T16" fmla="*/ 896 w 896"/>
                <a:gd name="T17" fmla="*/ 452 h 903"/>
                <a:gd name="T18" fmla="*/ 448 w 896"/>
                <a:gd name="T19" fmla="*/ 903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6" h="903">
                  <a:moveTo>
                    <a:pt x="448" y="80"/>
                  </a:moveTo>
                  <a:cubicBezTo>
                    <a:pt x="227" y="80"/>
                    <a:pt x="95" y="254"/>
                    <a:pt x="95" y="452"/>
                  </a:cubicBezTo>
                  <a:cubicBezTo>
                    <a:pt x="95" y="649"/>
                    <a:pt x="227" y="823"/>
                    <a:pt x="448" y="823"/>
                  </a:cubicBezTo>
                  <a:cubicBezTo>
                    <a:pt x="669" y="823"/>
                    <a:pt x="801" y="649"/>
                    <a:pt x="801" y="452"/>
                  </a:cubicBezTo>
                  <a:cubicBezTo>
                    <a:pt x="801" y="254"/>
                    <a:pt x="669" y="80"/>
                    <a:pt x="448" y="80"/>
                  </a:cubicBezTo>
                  <a:moveTo>
                    <a:pt x="448" y="903"/>
                  </a:moveTo>
                  <a:cubicBezTo>
                    <a:pt x="192" y="903"/>
                    <a:pt x="0" y="712"/>
                    <a:pt x="0" y="452"/>
                  </a:cubicBezTo>
                  <a:cubicBezTo>
                    <a:pt x="0" y="191"/>
                    <a:pt x="192" y="0"/>
                    <a:pt x="448" y="0"/>
                  </a:cubicBezTo>
                  <a:cubicBezTo>
                    <a:pt x="704" y="0"/>
                    <a:pt x="896" y="191"/>
                    <a:pt x="896" y="452"/>
                  </a:cubicBezTo>
                  <a:cubicBezTo>
                    <a:pt x="896" y="712"/>
                    <a:pt x="704" y="903"/>
                    <a:pt x="448" y="90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34" name="Freeform 9">
              <a:extLst>
                <a:ext uri="{FF2B5EF4-FFF2-40B4-BE49-F238E27FC236}">
                  <a16:creationId xmlns:a16="http://schemas.microsoft.com/office/drawing/2014/main" id="{5306C40F-EB9D-4A40-94F5-AA8243CC0E96}"/>
                </a:ext>
              </a:extLst>
            </p:cNvPr>
            <p:cNvSpPr>
              <a:spLocks/>
            </p:cNvSpPr>
            <p:nvPr/>
          </p:nvSpPr>
          <p:spPr bwMode="auto">
            <a:xfrm>
              <a:off x="4182" y="1888"/>
              <a:ext cx="503" cy="538"/>
            </a:xfrm>
            <a:custGeom>
              <a:avLst/>
              <a:gdLst>
                <a:gd name="T0" fmla="*/ 0 w 503"/>
                <a:gd name="T1" fmla="*/ 0 h 538"/>
                <a:gd name="T2" fmla="*/ 119 w 503"/>
                <a:gd name="T3" fmla="*/ 0 h 538"/>
                <a:gd name="T4" fmla="*/ 119 w 503"/>
                <a:gd name="T5" fmla="*/ 243 h 538"/>
                <a:gd name="T6" fmla="*/ 327 w 503"/>
                <a:gd name="T7" fmla="*/ 0 h 538"/>
                <a:gd name="T8" fmla="*/ 482 w 503"/>
                <a:gd name="T9" fmla="*/ 0 h 538"/>
                <a:gd name="T10" fmla="*/ 243 w 503"/>
                <a:gd name="T11" fmla="*/ 270 h 538"/>
                <a:gd name="T12" fmla="*/ 503 w 503"/>
                <a:gd name="T13" fmla="*/ 538 h 538"/>
                <a:gd name="T14" fmla="*/ 337 w 503"/>
                <a:gd name="T15" fmla="*/ 538 h 538"/>
                <a:gd name="T16" fmla="*/ 119 w 503"/>
                <a:gd name="T17" fmla="*/ 302 h 538"/>
                <a:gd name="T18" fmla="*/ 119 w 503"/>
                <a:gd name="T19" fmla="*/ 538 h 538"/>
                <a:gd name="T20" fmla="*/ 0 w 503"/>
                <a:gd name="T21" fmla="*/ 538 h 538"/>
                <a:gd name="T22" fmla="*/ 0 w 503"/>
                <a:gd name="T23"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3" h="538">
                  <a:moveTo>
                    <a:pt x="0" y="0"/>
                  </a:moveTo>
                  <a:lnTo>
                    <a:pt x="119" y="0"/>
                  </a:lnTo>
                  <a:lnTo>
                    <a:pt x="119" y="243"/>
                  </a:lnTo>
                  <a:lnTo>
                    <a:pt x="327" y="0"/>
                  </a:lnTo>
                  <a:lnTo>
                    <a:pt x="482" y="0"/>
                  </a:lnTo>
                  <a:lnTo>
                    <a:pt x="243" y="270"/>
                  </a:lnTo>
                  <a:lnTo>
                    <a:pt x="503" y="538"/>
                  </a:lnTo>
                  <a:lnTo>
                    <a:pt x="337" y="538"/>
                  </a:lnTo>
                  <a:lnTo>
                    <a:pt x="119" y="302"/>
                  </a:lnTo>
                  <a:lnTo>
                    <a:pt x="119" y="538"/>
                  </a:lnTo>
                  <a:lnTo>
                    <a:pt x="0" y="53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35" name="Rectangle 10">
              <a:extLst>
                <a:ext uri="{FF2B5EF4-FFF2-40B4-BE49-F238E27FC236}">
                  <a16:creationId xmlns:a16="http://schemas.microsoft.com/office/drawing/2014/main" id="{9ED9191C-1524-47EB-A75D-ADCF3CC1B25C}"/>
                </a:ext>
              </a:extLst>
            </p:cNvPr>
            <p:cNvSpPr>
              <a:spLocks noChangeArrowheads="1"/>
            </p:cNvSpPr>
            <p:nvPr/>
          </p:nvSpPr>
          <p:spPr bwMode="auto">
            <a:xfrm>
              <a:off x="4743" y="1888"/>
              <a:ext cx="118" cy="5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36" name="Freeform 11">
              <a:extLst>
                <a:ext uri="{FF2B5EF4-FFF2-40B4-BE49-F238E27FC236}">
                  <a16:creationId xmlns:a16="http://schemas.microsoft.com/office/drawing/2014/main" id="{1C9AC858-EBCE-4646-A3E7-8EF43EF4B9C4}"/>
                </a:ext>
              </a:extLst>
            </p:cNvPr>
            <p:cNvSpPr>
              <a:spLocks/>
            </p:cNvSpPr>
            <p:nvPr/>
          </p:nvSpPr>
          <p:spPr bwMode="auto">
            <a:xfrm>
              <a:off x="4980" y="1888"/>
              <a:ext cx="509" cy="538"/>
            </a:xfrm>
            <a:custGeom>
              <a:avLst/>
              <a:gdLst>
                <a:gd name="T0" fmla="*/ 0 w 509"/>
                <a:gd name="T1" fmla="*/ 0 h 538"/>
                <a:gd name="T2" fmla="*/ 160 w 509"/>
                <a:gd name="T3" fmla="*/ 0 h 538"/>
                <a:gd name="T4" fmla="*/ 389 w 509"/>
                <a:gd name="T5" fmla="*/ 374 h 538"/>
                <a:gd name="T6" fmla="*/ 391 w 509"/>
                <a:gd name="T7" fmla="*/ 374 h 538"/>
                <a:gd name="T8" fmla="*/ 391 w 509"/>
                <a:gd name="T9" fmla="*/ 0 h 538"/>
                <a:gd name="T10" fmla="*/ 509 w 509"/>
                <a:gd name="T11" fmla="*/ 0 h 538"/>
                <a:gd name="T12" fmla="*/ 509 w 509"/>
                <a:gd name="T13" fmla="*/ 538 h 538"/>
                <a:gd name="T14" fmla="*/ 354 w 509"/>
                <a:gd name="T15" fmla="*/ 538 h 538"/>
                <a:gd name="T16" fmla="*/ 120 w 509"/>
                <a:gd name="T17" fmla="*/ 155 h 538"/>
                <a:gd name="T18" fmla="*/ 118 w 509"/>
                <a:gd name="T19" fmla="*/ 155 h 538"/>
                <a:gd name="T20" fmla="*/ 118 w 509"/>
                <a:gd name="T21" fmla="*/ 538 h 538"/>
                <a:gd name="T22" fmla="*/ 0 w 509"/>
                <a:gd name="T23" fmla="*/ 538 h 538"/>
                <a:gd name="T24" fmla="*/ 0 w 509"/>
                <a:gd name="T25"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9" h="538">
                  <a:moveTo>
                    <a:pt x="0" y="0"/>
                  </a:moveTo>
                  <a:lnTo>
                    <a:pt x="160" y="0"/>
                  </a:lnTo>
                  <a:lnTo>
                    <a:pt x="389" y="374"/>
                  </a:lnTo>
                  <a:lnTo>
                    <a:pt x="391" y="374"/>
                  </a:lnTo>
                  <a:lnTo>
                    <a:pt x="391" y="0"/>
                  </a:lnTo>
                  <a:lnTo>
                    <a:pt x="509" y="0"/>
                  </a:lnTo>
                  <a:lnTo>
                    <a:pt x="509" y="538"/>
                  </a:lnTo>
                  <a:lnTo>
                    <a:pt x="354" y="538"/>
                  </a:lnTo>
                  <a:lnTo>
                    <a:pt x="120" y="155"/>
                  </a:lnTo>
                  <a:lnTo>
                    <a:pt x="118" y="155"/>
                  </a:lnTo>
                  <a:lnTo>
                    <a:pt x="118" y="538"/>
                  </a:lnTo>
                  <a:lnTo>
                    <a:pt x="0" y="53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37" name="Freeform 12">
              <a:extLst>
                <a:ext uri="{FF2B5EF4-FFF2-40B4-BE49-F238E27FC236}">
                  <a16:creationId xmlns:a16="http://schemas.microsoft.com/office/drawing/2014/main" id="{6DC829C8-8E2B-4048-A182-90E4A649B8FE}"/>
                </a:ext>
              </a:extLst>
            </p:cNvPr>
            <p:cNvSpPr>
              <a:spLocks/>
            </p:cNvSpPr>
            <p:nvPr/>
          </p:nvSpPr>
          <p:spPr bwMode="auto">
            <a:xfrm>
              <a:off x="5608" y="1888"/>
              <a:ext cx="378" cy="538"/>
            </a:xfrm>
            <a:custGeom>
              <a:avLst/>
              <a:gdLst>
                <a:gd name="T0" fmla="*/ 0 w 378"/>
                <a:gd name="T1" fmla="*/ 0 h 538"/>
                <a:gd name="T2" fmla="*/ 0 w 378"/>
                <a:gd name="T3" fmla="*/ 538 h 538"/>
                <a:gd name="T4" fmla="*/ 378 w 378"/>
                <a:gd name="T5" fmla="*/ 538 h 538"/>
                <a:gd name="T6" fmla="*/ 378 w 378"/>
                <a:gd name="T7" fmla="*/ 433 h 538"/>
                <a:gd name="T8" fmla="*/ 118 w 378"/>
                <a:gd name="T9" fmla="*/ 433 h 538"/>
                <a:gd name="T10" fmla="*/ 118 w 378"/>
                <a:gd name="T11" fmla="*/ 319 h 538"/>
                <a:gd name="T12" fmla="*/ 351 w 378"/>
                <a:gd name="T13" fmla="*/ 319 h 538"/>
                <a:gd name="T14" fmla="*/ 351 w 378"/>
                <a:gd name="T15" fmla="*/ 210 h 538"/>
                <a:gd name="T16" fmla="*/ 118 w 378"/>
                <a:gd name="T17" fmla="*/ 210 h 538"/>
                <a:gd name="T18" fmla="*/ 118 w 378"/>
                <a:gd name="T19" fmla="*/ 105 h 538"/>
                <a:gd name="T20" fmla="*/ 364 w 378"/>
                <a:gd name="T21" fmla="*/ 105 h 538"/>
                <a:gd name="T22" fmla="*/ 364 w 378"/>
                <a:gd name="T23" fmla="*/ 0 h 538"/>
                <a:gd name="T24" fmla="*/ 0 w 378"/>
                <a:gd name="T25"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8" h="538">
                  <a:moveTo>
                    <a:pt x="0" y="0"/>
                  </a:moveTo>
                  <a:lnTo>
                    <a:pt x="0" y="538"/>
                  </a:lnTo>
                  <a:lnTo>
                    <a:pt x="378" y="538"/>
                  </a:lnTo>
                  <a:lnTo>
                    <a:pt x="378" y="433"/>
                  </a:lnTo>
                  <a:lnTo>
                    <a:pt x="118" y="433"/>
                  </a:lnTo>
                  <a:lnTo>
                    <a:pt x="118" y="319"/>
                  </a:lnTo>
                  <a:lnTo>
                    <a:pt x="351" y="319"/>
                  </a:lnTo>
                  <a:lnTo>
                    <a:pt x="351" y="210"/>
                  </a:lnTo>
                  <a:lnTo>
                    <a:pt x="118" y="210"/>
                  </a:lnTo>
                  <a:lnTo>
                    <a:pt x="118" y="105"/>
                  </a:lnTo>
                  <a:lnTo>
                    <a:pt x="364" y="105"/>
                  </a:lnTo>
                  <a:lnTo>
                    <a:pt x="364"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38" name="Freeform 13">
              <a:extLst>
                <a:ext uri="{FF2B5EF4-FFF2-40B4-BE49-F238E27FC236}">
                  <a16:creationId xmlns:a16="http://schemas.microsoft.com/office/drawing/2014/main" id="{0794883E-CEF5-4DEE-A5B7-2C5E3042DF27}"/>
                </a:ext>
              </a:extLst>
            </p:cNvPr>
            <p:cNvSpPr>
              <a:spLocks/>
            </p:cNvSpPr>
            <p:nvPr/>
          </p:nvSpPr>
          <p:spPr bwMode="auto">
            <a:xfrm>
              <a:off x="6052" y="1888"/>
              <a:ext cx="424" cy="538"/>
            </a:xfrm>
            <a:custGeom>
              <a:avLst/>
              <a:gdLst>
                <a:gd name="T0" fmla="*/ 0 w 424"/>
                <a:gd name="T1" fmla="*/ 0 h 538"/>
                <a:gd name="T2" fmla="*/ 0 w 424"/>
                <a:gd name="T3" fmla="*/ 105 h 538"/>
                <a:gd name="T4" fmla="*/ 152 w 424"/>
                <a:gd name="T5" fmla="*/ 105 h 538"/>
                <a:gd name="T6" fmla="*/ 152 w 424"/>
                <a:gd name="T7" fmla="*/ 538 h 538"/>
                <a:gd name="T8" fmla="*/ 271 w 424"/>
                <a:gd name="T9" fmla="*/ 538 h 538"/>
                <a:gd name="T10" fmla="*/ 271 w 424"/>
                <a:gd name="T11" fmla="*/ 105 h 538"/>
                <a:gd name="T12" fmla="*/ 424 w 424"/>
                <a:gd name="T13" fmla="*/ 105 h 538"/>
                <a:gd name="T14" fmla="*/ 424 w 424"/>
                <a:gd name="T15" fmla="*/ 0 h 538"/>
                <a:gd name="T16" fmla="*/ 0 w 424"/>
                <a:gd name="T17"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4" h="538">
                  <a:moveTo>
                    <a:pt x="0" y="0"/>
                  </a:moveTo>
                  <a:lnTo>
                    <a:pt x="0" y="105"/>
                  </a:lnTo>
                  <a:lnTo>
                    <a:pt x="152" y="105"/>
                  </a:lnTo>
                  <a:lnTo>
                    <a:pt x="152" y="538"/>
                  </a:lnTo>
                  <a:lnTo>
                    <a:pt x="271" y="538"/>
                  </a:lnTo>
                  <a:lnTo>
                    <a:pt x="271" y="105"/>
                  </a:lnTo>
                  <a:lnTo>
                    <a:pt x="424" y="105"/>
                  </a:lnTo>
                  <a:lnTo>
                    <a:pt x="424"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39" name="Rectangle 14">
              <a:extLst>
                <a:ext uri="{FF2B5EF4-FFF2-40B4-BE49-F238E27FC236}">
                  <a16:creationId xmlns:a16="http://schemas.microsoft.com/office/drawing/2014/main" id="{59E0625E-B331-4799-B210-DA885FAA0119}"/>
                </a:ext>
              </a:extLst>
            </p:cNvPr>
            <p:cNvSpPr>
              <a:spLocks noChangeArrowheads="1"/>
            </p:cNvSpPr>
            <p:nvPr/>
          </p:nvSpPr>
          <p:spPr bwMode="auto">
            <a:xfrm>
              <a:off x="6554" y="1888"/>
              <a:ext cx="119" cy="5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40" name="Freeform 15">
              <a:extLst>
                <a:ext uri="{FF2B5EF4-FFF2-40B4-BE49-F238E27FC236}">
                  <a16:creationId xmlns:a16="http://schemas.microsoft.com/office/drawing/2014/main" id="{476937B9-6866-4A77-96CD-5873A088258B}"/>
                </a:ext>
              </a:extLst>
            </p:cNvPr>
            <p:cNvSpPr>
              <a:spLocks noEditPoints="1"/>
            </p:cNvSpPr>
            <p:nvPr/>
          </p:nvSpPr>
          <p:spPr bwMode="auto">
            <a:xfrm>
              <a:off x="3658" y="1888"/>
              <a:ext cx="383" cy="538"/>
            </a:xfrm>
            <a:custGeom>
              <a:avLst/>
              <a:gdLst>
                <a:gd name="T0" fmla="*/ 87 w 613"/>
                <a:gd name="T1" fmla="*/ 376 h 859"/>
                <a:gd name="T2" fmla="*/ 278 w 613"/>
                <a:gd name="T3" fmla="*/ 376 h 859"/>
                <a:gd name="T4" fmla="*/ 462 w 613"/>
                <a:gd name="T5" fmla="*/ 228 h 859"/>
                <a:gd name="T6" fmla="*/ 278 w 613"/>
                <a:gd name="T7" fmla="*/ 82 h 859"/>
                <a:gd name="T8" fmla="*/ 87 w 613"/>
                <a:gd name="T9" fmla="*/ 82 h 859"/>
                <a:gd name="T10" fmla="*/ 87 w 613"/>
                <a:gd name="T11" fmla="*/ 376 h 859"/>
                <a:gd name="T12" fmla="*/ 497 w 613"/>
                <a:gd name="T13" fmla="*/ 859 h 859"/>
                <a:gd name="T14" fmla="*/ 87 w 613"/>
                <a:gd name="T15" fmla="*/ 428 h 859"/>
                <a:gd name="T16" fmla="*/ 87 w 613"/>
                <a:gd name="T17" fmla="*/ 859 h 859"/>
                <a:gd name="T18" fmla="*/ 0 w 613"/>
                <a:gd name="T19" fmla="*/ 859 h 859"/>
                <a:gd name="T20" fmla="*/ 0 w 613"/>
                <a:gd name="T21" fmla="*/ 0 h 859"/>
                <a:gd name="T22" fmla="*/ 270 w 613"/>
                <a:gd name="T23" fmla="*/ 0 h 859"/>
                <a:gd name="T24" fmla="*/ 555 w 613"/>
                <a:gd name="T25" fmla="*/ 228 h 859"/>
                <a:gd name="T26" fmla="*/ 270 w 613"/>
                <a:gd name="T27" fmla="*/ 453 h 859"/>
                <a:gd name="T28" fmla="*/ 222 w 613"/>
                <a:gd name="T29" fmla="*/ 453 h 859"/>
                <a:gd name="T30" fmla="*/ 613 w 613"/>
                <a:gd name="T31" fmla="*/ 859 h 859"/>
                <a:gd name="T32" fmla="*/ 497 w 613"/>
                <a:gd name="T33" fmla="*/ 859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13" h="859">
                  <a:moveTo>
                    <a:pt x="87" y="376"/>
                  </a:moveTo>
                  <a:cubicBezTo>
                    <a:pt x="278" y="376"/>
                    <a:pt x="278" y="376"/>
                    <a:pt x="278" y="376"/>
                  </a:cubicBezTo>
                  <a:cubicBezTo>
                    <a:pt x="396" y="376"/>
                    <a:pt x="462" y="328"/>
                    <a:pt x="462" y="228"/>
                  </a:cubicBezTo>
                  <a:cubicBezTo>
                    <a:pt x="462" y="129"/>
                    <a:pt x="396" y="82"/>
                    <a:pt x="278" y="82"/>
                  </a:cubicBezTo>
                  <a:cubicBezTo>
                    <a:pt x="87" y="82"/>
                    <a:pt x="87" y="82"/>
                    <a:pt x="87" y="82"/>
                  </a:cubicBezTo>
                  <a:lnTo>
                    <a:pt x="87" y="376"/>
                  </a:lnTo>
                  <a:close/>
                  <a:moveTo>
                    <a:pt x="497" y="859"/>
                  </a:moveTo>
                  <a:cubicBezTo>
                    <a:pt x="87" y="428"/>
                    <a:pt x="87" y="428"/>
                    <a:pt x="87" y="428"/>
                  </a:cubicBezTo>
                  <a:cubicBezTo>
                    <a:pt x="87" y="859"/>
                    <a:pt x="87" y="859"/>
                    <a:pt x="87" y="859"/>
                  </a:cubicBezTo>
                  <a:cubicBezTo>
                    <a:pt x="0" y="859"/>
                    <a:pt x="0" y="859"/>
                    <a:pt x="0" y="859"/>
                  </a:cubicBezTo>
                  <a:cubicBezTo>
                    <a:pt x="0" y="0"/>
                    <a:pt x="0" y="0"/>
                    <a:pt x="0" y="0"/>
                  </a:cubicBezTo>
                  <a:cubicBezTo>
                    <a:pt x="270" y="0"/>
                    <a:pt x="270" y="0"/>
                    <a:pt x="270" y="0"/>
                  </a:cubicBezTo>
                  <a:cubicBezTo>
                    <a:pt x="457" y="0"/>
                    <a:pt x="555" y="91"/>
                    <a:pt x="555" y="228"/>
                  </a:cubicBezTo>
                  <a:cubicBezTo>
                    <a:pt x="555" y="367"/>
                    <a:pt x="457" y="453"/>
                    <a:pt x="270" y="453"/>
                  </a:cubicBezTo>
                  <a:cubicBezTo>
                    <a:pt x="222" y="453"/>
                    <a:pt x="222" y="453"/>
                    <a:pt x="222" y="453"/>
                  </a:cubicBezTo>
                  <a:cubicBezTo>
                    <a:pt x="613" y="859"/>
                    <a:pt x="613" y="859"/>
                    <a:pt x="613" y="859"/>
                  </a:cubicBezTo>
                  <a:lnTo>
                    <a:pt x="497" y="8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41" name="Freeform 16">
              <a:extLst>
                <a:ext uri="{FF2B5EF4-FFF2-40B4-BE49-F238E27FC236}">
                  <a16:creationId xmlns:a16="http://schemas.microsoft.com/office/drawing/2014/main" id="{77873E51-7147-4F48-B2BF-3906C2465DBB}"/>
                </a:ext>
              </a:extLst>
            </p:cNvPr>
            <p:cNvSpPr>
              <a:spLocks/>
            </p:cNvSpPr>
            <p:nvPr/>
          </p:nvSpPr>
          <p:spPr bwMode="auto">
            <a:xfrm>
              <a:off x="6752" y="1881"/>
              <a:ext cx="476" cy="558"/>
            </a:xfrm>
            <a:custGeom>
              <a:avLst/>
              <a:gdLst>
                <a:gd name="T0" fmla="*/ 0 w 761"/>
                <a:gd name="T1" fmla="*/ 447 h 893"/>
                <a:gd name="T2" fmla="*/ 417 w 761"/>
                <a:gd name="T3" fmla="*/ 0 h 893"/>
                <a:gd name="T4" fmla="*/ 747 w 761"/>
                <a:gd name="T5" fmla="*/ 181 h 893"/>
                <a:gd name="T6" fmla="*/ 614 w 761"/>
                <a:gd name="T7" fmla="*/ 285 h 893"/>
                <a:gd name="T8" fmla="*/ 421 w 761"/>
                <a:gd name="T9" fmla="*/ 178 h 893"/>
                <a:gd name="T10" fmla="*/ 197 w 761"/>
                <a:gd name="T11" fmla="*/ 447 h 893"/>
                <a:gd name="T12" fmla="*/ 427 w 761"/>
                <a:gd name="T13" fmla="*/ 715 h 893"/>
                <a:gd name="T14" fmla="*/ 623 w 761"/>
                <a:gd name="T15" fmla="*/ 608 h 893"/>
                <a:gd name="T16" fmla="*/ 761 w 761"/>
                <a:gd name="T17" fmla="*/ 715 h 893"/>
                <a:gd name="T18" fmla="*/ 423 w 761"/>
                <a:gd name="T19" fmla="*/ 893 h 893"/>
                <a:gd name="T20" fmla="*/ 0 w 761"/>
                <a:gd name="T21" fmla="*/ 447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1" h="893">
                  <a:moveTo>
                    <a:pt x="0" y="447"/>
                  </a:moveTo>
                  <a:cubicBezTo>
                    <a:pt x="0" y="177"/>
                    <a:pt x="160" y="0"/>
                    <a:pt x="417" y="0"/>
                  </a:cubicBezTo>
                  <a:cubicBezTo>
                    <a:pt x="582" y="0"/>
                    <a:pt x="698" y="79"/>
                    <a:pt x="747" y="181"/>
                  </a:cubicBezTo>
                  <a:cubicBezTo>
                    <a:pt x="614" y="285"/>
                    <a:pt x="614" y="285"/>
                    <a:pt x="614" y="285"/>
                  </a:cubicBezTo>
                  <a:cubicBezTo>
                    <a:pt x="570" y="211"/>
                    <a:pt x="493" y="178"/>
                    <a:pt x="421" y="178"/>
                  </a:cubicBezTo>
                  <a:cubicBezTo>
                    <a:pt x="295" y="178"/>
                    <a:pt x="197" y="269"/>
                    <a:pt x="197" y="447"/>
                  </a:cubicBezTo>
                  <a:cubicBezTo>
                    <a:pt x="197" y="614"/>
                    <a:pt x="300" y="715"/>
                    <a:pt x="427" y="715"/>
                  </a:cubicBezTo>
                  <a:cubicBezTo>
                    <a:pt x="500" y="715"/>
                    <a:pt x="579" y="682"/>
                    <a:pt x="623" y="608"/>
                  </a:cubicBezTo>
                  <a:cubicBezTo>
                    <a:pt x="761" y="715"/>
                    <a:pt x="761" y="715"/>
                    <a:pt x="761" y="715"/>
                  </a:cubicBezTo>
                  <a:cubicBezTo>
                    <a:pt x="699" y="819"/>
                    <a:pt x="590" y="893"/>
                    <a:pt x="423" y="893"/>
                  </a:cubicBezTo>
                  <a:cubicBezTo>
                    <a:pt x="163" y="893"/>
                    <a:pt x="0" y="716"/>
                    <a:pt x="0" y="44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42" name="Freeform 17">
              <a:extLst>
                <a:ext uri="{FF2B5EF4-FFF2-40B4-BE49-F238E27FC236}">
                  <a16:creationId xmlns:a16="http://schemas.microsoft.com/office/drawing/2014/main" id="{2E67FC8D-2C9A-4035-B791-CE50093680B5}"/>
                </a:ext>
              </a:extLst>
            </p:cNvPr>
            <p:cNvSpPr>
              <a:spLocks/>
            </p:cNvSpPr>
            <p:nvPr/>
          </p:nvSpPr>
          <p:spPr bwMode="auto">
            <a:xfrm>
              <a:off x="7271" y="1874"/>
              <a:ext cx="409" cy="565"/>
            </a:xfrm>
            <a:custGeom>
              <a:avLst/>
              <a:gdLst>
                <a:gd name="T0" fmla="*/ 404 w 654"/>
                <a:gd name="T1" fmla="*/ 376 h 903"/>
                <a:gd name="T2" fmla="*/ 287 w 654"/>
                <a:gd name="T3" fmla="*/ 354 h 903"/>
                <a:gd name="T4" fmla="*/ 202 w 654"/>
                <a:gd name="T5" fmla="*/ 264 h 903"/>
                <a:gd name="T6" fmla="*/ 321 w 654"/>
                <a:gd name="T7" fmla="*/ 171 h 903"/>
                <a:gd name="T8" fmla="*/ 478 w 654"/>
                <a:gd name="T9" fmla="*/ 270 h 903"/>
                <a:gd name="T10" fmla="*/ 617 w 654"/>
                <a:gd name="T11" fmla="*/ 163 h 903"/>
                <a:gd name="T12" fmla="*/ 322 w 654"/>
                <a:gd name="T13" fmla="*/ 0 h 903"/>
                <a:gd name="T14" fmla="*/ 12 w 654"/>
                <a:gd name="T15" fmla="*/ 279 h 903"/>
                <a:gd name="T16" fmla="*/ 247 w 654"/>
                <a:gd name="T17" fmla="*/ 523 h 903"/>
                <a:gd name="T18" fmla="*/ 366 w 654"/>
                <a:gd name="T19" fmla="*/ 546 h 903"/>
                <a:gd name="T20" fmla="*/ 459 w 654"/>
                <a:gd name="T21" fmla="*/ 642 h 903"/>
                <a:gd name="T22" fmla="*/ 336 w 654"/>
                <a:gd name="T23" fmla="*/ 734 h 903"/>
                <a:gd name="T24" fmla="*/ 143 w 654"/>
                <a:gd name="T25" fmla="*/ 594 h 903"/>
                <a:gd name="T26" fmla="*/ 0 w 654"/>
                <a:gd name="T27" fmla="*/ 704 h 903"/>
                <a:gd name="T28" fmla="*/ 334 w 654"/>
                <a:gd name="T29" fmla="*/ 903 h 903"/>
                <a:gd name="T30" fmla="*/ 654 w 654"/>
                <a:gd name="T31" fmla="*/ 629 h 903"/>
                <a:gd name="T32" fmla="*/ 404 w 654"/>
                <a:gd name="T33" fmla="*/ 376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4" h="903">
                  <a:moveTo>
                    <a:pt x="404" y="376"/>
                  </a:moveTo>
                  <a:cubicBezTo>
                    <a:pt x="287" y="354"/>
                    <a:pt x="287" y="354"/>
                    <a:pt x="287" y="354"/>
                  </a:cubicBezTo>
                  <a:cubicBezTo>
                    <a:pt x="228" y="344"/>
                    <a:pt x="202" y="305"/>
                    <a:pt x="202" y="264"/>
                  </a:cubicBezTo>
                  <a:cubicBezTo>
                    <a:pt x="202" y="216"/>
                    <a:pt x="249" y="171"/>
                    <a:pt x="321" y="171"/>
                  </a:cubicBezTo>
                  <a:cubicBezTo>
                    <a:pt x="403" y="171"/>
                    <a:pt x="451" y="222"/>
                    <a:pt x="478" y="270"/>
                  </a:cubicBezTo>
                  <a:cubicBezTo>
                    <a:pt x="617" y="163"/>
                    <a:pt x="617" y="163"/>
                    <a:pt x="617" y="163"/>
                  </a:cubicBezTo>
                  <a:cubicBezTo>
                    <a:pt x="578" y="79"/>
                    <a:pt x="491" y="0"/>
                    <a:pt x="322" y="0"/>
                  </a:cubicBezTo>
                  <a:cubicBezTo>
                    <a:pt x="156" y="0"/>
                    <a:pt x="12" y="115"/>
                    <a:pt x="12" y="279"/>
                  </a:cubicBezTo>
                  <a:cubicBezTo>
                    <a:pt x="12" y="407"/>
                    <a:pt x="101" y="496"/>
                    <a:pt x="247" y="523"/>
                  </a:cubicBezTo>
                  <a:cubicBezTo>
                    <a:pt x="366" y="546"/>
                    <a:pt x="366" y="546"/>
                    <a:pt x="366" y="546"/>
                  </a:cubicBezTo>
                  <a:cubicBezTo>
                    <a:pt x="423" y="557"/>
                    <a:pt x="459" y="597"/>
                    <a:pt x="459" y="642"/>
                  </a:cubicBezTo>
                  <a:cubicBezTo>
                    <a:pt x="459" y="695"/>
                    <a:pt x="413" y="734"/>
                    <a:pt x="336" y="734"/>
                  </a:cubicBezTo>
                  <a:cubicBezTo>
                    <a:pt x="219" y="734"/>
                    <a:pt x="161" y="649"/>
                    <a:pt x="143" y="594"/>
                  </a:cubicBezTo>
                  <a:cubicBezTo>
                    <a:pt x="0" y="704"/>
                    <a:pt x="0" y="704"/>
                    <a:pt x="0" y="704"/>
                  </a:cubicBezTo>
                  <a:cubicBezTo>
                    <a:pt x="41" y="806"/>
                    <a:pt x="144" y="903"/>
                    <a:pt x="334" y="903"/>
                  </a:cubicBezTo>
                  <a:cubicBezTo>
                    <a:pt x="541" y="903"/>
                    <a:pt x="654" y="765"/>
                    <a:pt x="654" y="629"/>
                  </a:cubicBezTo>
                  <a:cubicBezTo>
                    <a:pt x="654" y="506"/>
                    <a:pt x="569" y="407"/>
                    <a:pt x="404" y="37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43" name="Freeform 18">
              <a:extLst>
                <a:ext uri="{FF2B5EF4-FFF2-40B4-BE49-F238E27FC236}">
                  <a16:creationId xmlns:a16="http://schemas.microsoft.com/office/drawing/2014/main" id="{48CCA399-B5B4-4E88-8297-0959871846F3}"/>
                </a:ext>
              </a:extLst>
            </p:cNvPr>
            <p:cNvSpPr>
              <a:spLocks/>
            </p:cNvSpPr>
            <p:nvPr/>
          </p:nvSpPr>
          <p:spPr bwMode="auto">
            <a:xfrm>
              <a:off x="0" y="1622"/>
              <a:ext cx="857" cy="1076"/>
            </a:xfrm>
            <a:custGeom>
              <a:avLst/>
              <a:gdLst>
                <a:gd name="T0" fmla="*/ 859 w 1370"/>
                <a:gd name="T1" fmla="*/ 1020 h 1719"/>
                <a:gd name="T2" fmla="*/ 859 w 1370"/>
                <a:gd name="T3" fmla="*/ 1336 h 1719"/>
                <a:gd name="T4" fmla="*/ 383 w 1370"/>
                <a:gd name="T5" fmla="*/ 860 h 1719"/>
                <a:gd name="T6" fmla="*/ 859 w 1370"/>
                <a:gd name="T7" fmla="*/ 384 h 1719"/>
                <a:gd name="T8" fmla="*/ 859 w 1370"/>
                <a:gd name="T9" fmla="*/ 714 h 1719"/>
                <a:gd name="T10" fmla="*/ 1370 w 1370"/>
                <a:gd name="T11" fmla="*/ 169 h 1719"/>
                <a:gd name="T12" fmla="*/ 859 w 1370"/>
                <a:gd name="T13" fmla="*/ 0 h 1719"/>
                <a:gd name="T14" fmla="*/ 0 w 1370"/>
                <a:gd name="T15" fmla="*/ 860 h 1719"/>
                <a:gd name="T16" fmla="*/ 859 w 1370"/>
                <a:gd name="T17" fmla="*/ 1719 h 1719"/>
                <a:gd name="T18" fmla="*/ 1335 w 1370"/>
                <a:gd name="T19" fmla="*/ 1575 h 1719"/>
                <a:gd name="T20" fmla="*/ 859 w 1370"/>
                <a:gd name="T21" fmla="*/ 1020 h 1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70" h="1719">
                  <a:moveTo>
                    <a:pt x="859" y="1020"/>
                  </a:moveTo>
                  <a:cubicBezTo>
                    <a:pt x="859" y="1336"/>
                    <a:pt x="859" y="1336"/>
                    <a:pt x="859" y="1336"/>
                  </a:cubicBezTo>
                  <a:cubicBezTo>
                    <a:pt x="596" y="1336"/>
                    <a:pt x="383" y="1122"/>
                    <a:pt x="383" y="860"/>
                  </a:cubicBezTo>
                  <a:cubicBezTo>
                    <a:pt x="383" y="596"/>
                    <a:pt x="596" y="384"/>
                    <a:pt x="859" y="384"/>
                  </a:cubicBezTo>
                  <a:cubicBezTo>
                    <a:pt x="859" y="714"/>
                    <a:pt x="859" y="714"/>
                    <a:pt x="859" y="714"/>
                  </a:cubicBezTo>
                  <a:cubicBezTo>
                    <a:pt x="1370" y="169"/>
                    <a:pt x="1370" y="169"/>
                    <a:pt x="1370" y="169"/>
                  </a:cubicBezTo>
                  <a:cubicBezTo>
                    <a:pt x="1227" y="63"/>
                    <a:pt x="1051" y="0"/>
                    <a:pt x="859" y="0"/>
                  </a:cubicBezTo>
                  <a:cubicBezTo>
                    <a:pt x="385" y="0"/>
                    <a:pt x="0" y="385"/>
                    <a:pt x="0" y="860"/>
                  </a:cubicBezTo>
                  <a:cubicBezTo>
                    <a:pt x="0" y="1334"/>
                    <a:pt x="385" y="1719"/>
                    <a:pt x="859" y="1719"/>
                  </a:cubicBezTo>
                  <a:cubicBezTo>
                    <a:pt x="1035" y="1719"/>
                    <a:pt x="1199" y="1666"/>
                    <a:pt x="1335" y="1575"/>
                  </a:cubicBezTo>
                  <a:lnTo>
                    <a:pt x="859" y="10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44" name="Freeform 19">
              <a:extLst>
                <a:ext uri="{FF2B5EF4-FFF2-40B4-BE49-F238E27FC236}">
                  <a16:creationId xmlns:a16="http://schemas.microsoft.com/office/drawing/2014/main" id="{19DCE4FC-BFCB-40F1-BB85-91F645EEB1B7}"/>
                </a:ext>
              </a:extLst>
            </p:cNvPr>
            <p:cNvSpPr>
              <a:spLocks/>
            </p:cNvSpPr>
            <p:nvPr/>
          </p:nvSpPr>
          <p:spPr bwMode="auto">
            <a:xfrm>
              <a:off x="583" y="1854"/>
              <a:ext cx="491" cy="612"/>
            </a:xfrm>
            <a:custGeom>
              <a:avLst/>
              <a:gdLst>
                <a:gd name="T0" fmla="*/ 634 w 786"/>
                <a:gd name="T1" fmla="*/ 0 h 979"/>
                <a:gd name="T2" fmla="*/ 0 w 786"/>
                <a:gd name="T3" fmla="*/ 490 h 979"/>
                <a:gd name="T4" fmla="*/ 634 w 786"/>
                <a:gd name="T5" fmla="*/ 979 h 979"/>
                <a:gd name="T6" fmla="*/ 786 w 786"/>
                <a:gd name="T7" fmla="*/ 490 h 979"/>
                <a:gd name="T8" fmla="*/ 634 w 786"/>
                <a:gd name="T9" fmla="*/ 0 h 979"/>
              </a:gdLst>
              <a:ahLst/>
              <a:cxnLst>
                <a:cxn ang="0">
                  <a:pos x="T0" y="T1"/>
                </a:cxn>
                <a:cxn ang="0">
                  <a:pos x="T2" y="T3"/>
                </a:cxn>
                <a:cxn ang="0">
                  <a:pos x="T4" y="T5"/>
                </a:cxn>
                <a:cxn ang="0">
                  <a:pos x="T6" y="T7"/>
                </a:cxn>
                <a:cxn ang="0">
                  <a:pos x="T8" y="T9"/>
                </a:cxn>
              </a:cxnLst>
              <a:rect l="0" t="0" r="r" b="b"/>
              <a:pathLst>
                <a:path w="786" h="979">
                  <a:moveTo>
                    <a:pt x="634" y="0"/>
                  </a:moveTo>
                  <a:cubicBezTo>
                    <a:pt x="0" y="490"/>
                    <a:pt x="0" y="490"/>
                    <a:pt x="0" y="490"/>
                  </a:cubicBezTo>
                  <a:cubicBezTo>
                    <a:pt x="634" y="979"/>
                    <a:pt x="634" y="979"/>
                    <a:pt x="634" y="979"/>
                  </a:cubicBezTo>
                  <a:cubicBezTo>
                    <a:pt x="730" y="840"/>
                    <a:pt x="786" y="671"/>
                    <a:pt x="786" y="490"/>
                  </a:cubicBezTo>
                  <a:cubicBezTo>
                    <a:pt x="786" y="308"/>
                    <a:pt x="730" y="139"/>
                    <a:pt x="6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spTree>
    <p:extLst>
      <p:ext uri="{BB962C8B-B14F-4D97-AF65-F5344CB8AC3E}">
        <p14:creationId xmlns:p14="http://schemas.microsoft.com/office/powerpoint/2010/main" val="3397453093"/>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Lst>
  <p:transition>
    <p:fade/>
  </p:transition>
  <p:hf hdr="0" dt="0"/>
  <p:txStyles>
    <p:titleStyle>
      <a:lvl1pPr algn="l" defTabSz="1042512" rtl="0" eaLnBrk="1" latinLnBrk="0" hangingPunct="1">
        <a:lnSpc>
          <a:spcPct val="100000"/>
        </a:lnSpc>
        <a:spcBef>
          <a:spcPct val="0"/>
        </a:spcBef>
        <a:buNone/>
        <a:defRPr sz="2400" b="0" kern="1200">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defRPr>
      </a:lvl1pPr>
    </p:titleStyle>
    <p:bodyStyle>
      <a:lvl1pPr marL="0" indent="0" algn="l" defTabSz="1042512" rtl="0" eaLnBrk="1" latinLnBrk="0" hangingPunct="1">
        <a:lnSpc>
          <a:spcPct val="90000"/>
        </a:lnSpc>
        <a:spcBef>
          <a:spcPts val="0"/>
        </a:spcBef>
        <a:spcAft>
          <a:spcPts val="1417"/>
        </a:spcAft>
        <a:buFont typeface="Arial" panose="020B0604020202020204" pitchFamily="34" charset="0"/>
        <a:buNone/>
        <a:defRPr sz="1600" kern="1200">
          <a:solidFill>
            <a:schemeClr val="tx1"/>
          </a:solidFill>
          <a:latin typeface="+mn-lt"/>
          <a:ea typeface="+mn-ea"/>
          <a:cs typeface="+mn-cs"/>
        </a:defRPr>
      </a:lvl1pPr>
      <a:lvl2pPr marL="0" indent="0" algn="l" defTabSz="1042512" rtl="0" eaLnBrk="1" latinLnBrk="0" hangingPunct="1">
        <a:lnSpc>
          <a:spcPct val="90000"/>
        </a:lnSpc>
        <a:spcBef>
          <a:spcPts val="0"/>
        </a:spcBef>
        <a:spcAft>
          <a:spcPts val="0"/>
        </a:spcAft>
        <a:buFont typeface="Arial" panose="020B0604020202020204" pitchFamily="34" charset="0"/>
        <a:buNone/>
        <a:defRPr sz="1600" b="0" kern="1200">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defRPr>
      </a:lvl2pPr>
      <a:lvl3pPr marL="0" indent="0" algn="l" defTabSz="1042512" rtl="0" eaLnBrk="1" latinLnBrk="0" hangingPunct="1">
        <a:lnSpc>
          <a:spcPct val="90000"/>
        </a:lnSpc>
        <a:spcBef>
          <a:spcPts val="0"/>
        </a:spcBef>
        <a:spcAft>
          <a:spcPts val="1417"/>
        </a:spcAft>
        <a:buFont typeface="Arial" panose="020B0604020202020204" pitchFamily="34" charset="0"/>
        <a:buNone/>
        <a:defRPr sz="1600" kern="1200">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defRPr>
      </a:lvl3pPr>
      <a:lvl4pPr marL="290427" indent="-290427" algn="l" defTabSz="1042512" rtl="0" eaLnBrk="1" latinLnBrk="0" hangingPunct="1">
        <a:lnSpc>
          <a:spcPct val="90000"/>
        </a:lnSpc>
        <a:spcBef>
          <a:spcPts val="0"/>
        </a:spcBef>
        <a:spcAft>
          <a:spcPts val="850"/>
        </a:spcAft>
        <a:buClr>
          <a:schemeClr val="tx1"/>
        </a:buClr>
        <a:buFont typeface="Arial" panose="020B0604020202020204" pitchFamily="34" charset="0"/>
        <a:buChar char="•"/>
        <a:defRPr sz="1400" kern="1200">
          <a:solidFill>
            <a:schemeClr val="tx1"/>
          </a:solidFill>
          <a:latin typeface="+mn-lt"/>
          <a:ea typeface="+mn-ea"/>
          <a:cs typeface="+mn-cs"/>
        </a:defRPr>
      </a:lvl4pPr>
      <a:lvl5pPr marL="580854" indent="-290427" algn="l" defTabSz="1042512" rtl="0" eaLnBrk="1" latinLnBrk="0" hangingPunct="1">
        <a:lnSpc>
          <a:spcPct val="90000"/>
        </a:lnSpc>
        <a:spcBef>
          <a:spcPts val="0"/>
        </a:spcBef>
        <a:spcAft>
          <a:spcPts val="850"/>
        </a:spcAft>
        <a:buClr>
          <a:schemeClr val="tx1"/>
        </a:buClr>
        <a:buFont typeface="Arial" panose="020B0604020202020204" pitchFamily="34" charset="0"/>
        <a:buChar char="•"/>
        <a:defRPr sz="1400" kern="1200">
          <a:solidFill>
            <a:schemeClr val="tx1"/>
          </a:solidFill>
          <a:latin typeface="+mn-lt"/>
          <a:ea typeface="+mn-ea"/>
          <a:cs typeface="+mn-cs"/>
        </a:defRPr>
      </a:lvl5pPr>
      <a:lvl6pPr marL="871281" indent="-290427" algn="l" defTabSz="1042512" rtl="0" eaLnBrk="1" latinLnBrk="0" hangingPunct="1">
        <a:lnSpc>
          <a:spcPct val="90000"/>
        </a:lnSpc>
        <a:spcBef>
          <a:spcPts val="0"/>
        </a:spcBef>
        <a:spcAft>
          <a:spcPts val="850"/>
        </a:spcAft>
        <a:buClr>
          <a:schemeClr val="tx1"/>
        </a:buClr>
        <a:buFont typeface="Arial" panose="020B0604020202020204" pitchFamily="34" charset="0"/>
        <a:buChar char="•"/>
        <a:defRPr sz="1400" kern="1200">
          <a:solidFill>
            <a:schemeClr val="tx1"/>
          </a:solidFill>
          <a:latin typeface="+mn-lt"/>
          <a:ea typeface="+mn-ea"/>
          <a:cs typeface="+mn-cs"/>
        </a:defRPr>
      </a:lvl6pPr>
      <a:lvl7pPr marL="1161708" indent="-290427" algn="l" defTabSz="1042512" rtl="0" eaLnBrk="1" latinLnBrk="0" hangingPunct="1">
        <a:lnSpc>
          <a:spcPct val="90000"/>
        </a:lnSpc>
        <a:spcBef>
          <a:spcPts val="0"/>
        </a:spcBef>
        <a:spcAft>
          <a:spcPts val="850"/>
        </a:spcAft>
        <a:buClr>
          <a:schemeClr val="tx1"/>
        </a:buClr>
        <a:buFont typeface="Arial" panose="020B0604020202020204" pitchFamily="34" charset="0"/>
        <a:buChar char="•"/>
        <a:defRPr sz="1400" kern="1200">
          <a:solidFill>
            <a:schemeClr val="tx1"/>
          </a:solidFill>
          <a:latin typeface="+mn-lt"/>
          <a:ea typeface="+mn-ea"/>
          <a:cs typeface="+mn-cs"/>
        </a:defRPr>
      </a:lvl7pPr>
      <a:lvl8pPr marL="1452133" indent="-290427" algn="l" defTabSz="1042512" rtl="0" eaLnBrk="1" latinLnBrk="0" hangingPunct="1">
        <a:lnSpc>
          <a:spcPct val="90000"/>
        </a:lnSpc>
        <a:spcBef>
          <a:spcPts val="0"/>
        </a:spcBef>
        <a:spcAft>
          <a:spcPts val="850"/>
        </a:spcAft>
        <a:buClr>
          <a:schemeClr val="tx1"/>
        </a:buClr>
        <a:buFont typeface="Arial" panose="020B0604020202020204" pitchFamily="34" charset="0"/>
        <a:buChar char="•"/>
        <a:defRPr sz="1400" kern="1200">
          <a:solidFill>
            <a:schemeClr val="tx1"/>
          </a:solidFill>
          <a:latin typeface="+mn-lt"/>
          <a:ea typeface="+mn-ea"/>
          <a:cs typeface="+mn-cs"/>
        </a:defRPr>
      </a:lvl8pPr>
      <a:lvl9pPr marL="1742562" indent="-290427" algn="l" defTabSz="1042512" rtl="0" eaLnBrk="1" latinLnBrk="0" hangingPunct="1">
        <a:lnSpc>
          <a:spcPct val="90000"/>
        </a:lnSpc>
        <a:spcBef>
          <a:spcPts val="0"/>
        </a:spcBef>
        <a:spcAft>
          <a:spcPts val="850"/>
        </a:spcAft>
        <a:buClr>
          <a:schemeClr val="tx1"/>
        </a:buClr>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1042512" rtl="0" eaLnBrk="1" latinLnBrk="0" hangingPunct="1">
        <a:defRPr sz="2052" kern="1200">
          <a:solidFill>
            <a:schemeClr val="tx1"/>
          </a:solidFill>
          <a:latin typeface="+mn-lt"/>
          <a:ea typeface="+mn-ea"/>
          <a:cs typeface="+mn-cs"/>
        </a:defRPr>
      </a:lvl1pPr>
      <a:lvl2pPr marL="521258" algn="l" defTabSz="1042512" rtl="0" eaLnBrk="1" latinLnBrk="0" hangingPunct="1">
        <a:defRPr sz="2052" kern="1200">
          <a:solidFill>
            <a:schemeClr val="tx1"/>
          </a:solidFill>
          <a:latin typeface="+mn-lt"/>
          <a:ea typeface="+mn-ea"/>
          <a:cs typeface="+mn-cs"/>
        </a:defRPr>
      </a:lvl2pPr>
      <a:lvl3pPr marL="1042512" algn="l" defTabSz="1042512" rtl="0" eaLnBrk="1" latinLnBrk="0" hangingPunct="1">
        <a:defRPr sz="2052" kern="1200">
          <a:solidFill>
            <a:schemeClr val="tx1"/>
          </a:solidFill>
          <a:latin typeface="+mn-lt"/>
          <a:ea typeface="+mn-ea"/>
          <a:cs typeface="+mn-cs"/>
        </a:defRPr>
      </a:lvl3pPr>
      <a:lvl4pPr marL="1563773" algn="l" defTabSz="1042512" rtl="0" eaLnBrk="1" latinLnBrk="0" hangingPunct="1">
        <a:defRPr sz="2052" kern="1200">
          <a:solidFill>
            <a:schemeClr val="tx1"/>
          </a:solidFill>
          <a:latin typeface="+mn-lt"/>
          <a:ea typeface="+mn-ea"/>
          <a:cs typeface="+mn-cs"/>
        </a:defRPr>
      </a:lvl4pPr>
      <a:lvl5pPr marL="2085031" algn="l" defTabSz="1042512" rtl="0" eaLnBrk="1" latinLnBrk="0" hangingPunct="1">
        <a:defRPr sz="2052" kern="1200">
          <a:solidFill>
            <a:schemeClr val="tx1"/>
          </a:solidFill>
          <a:latin typeface="+mn-lt"/>
          <a:ea typeface="+mn-ea"/>
          <a:cs typeface="+mn-cs"/>
        </a:defRPr>
      </a:lvl5pPr>
      <a:lvl6pPr marL="2606285" algn="l" defTabSz="1042512" rtl="0" eaLnBrk="1" latinLnBrk="0" hangingPunct="1">
        <a:defRPr sz="2052" kern="1200">
          <a:solidFill>
            <a:schemeClr val="tx1"/>
          </a:solidFill>
          <a:latin typeface="+mn-lt"/>
          <a:ea typeface="+mn-ea"/>
          <a:cs typeface="+mn-cs"/>
        </a:defRPr>
      </a:lvl6pPr>
      <a:lvl7pPr marL="3127543" algn="l" defTabSz="1042512" rtl="0" eaLnBrk="1" latinLnBrk="0" hangingPunct="1">
        <a:defRPr sz="2052" kern="1200">
          <a:solidFill>
            <a:schemeClr val="tx1"/>
          </a:solidFill>
          <a:latin typeface="+mn-lt"/>
          <a:ea typeface="+mn-ea"/>
          <a:cs typeface="+mn-cs"/>
        </a:defRPr>
      </a:lvl7pPr>
      <a:lvl8pPr marL="3648803" algn="l" defTabSz="1042512" rtl="0" eaLnBrk="1" latinLnBrk="0" hangingPunct="1">
        <a:defRPr sz="2052" kern="1200">
          <a:solidFill>
            <a:schemeClr val="tx1"/>
          </a:solidFill>
          <a:latin typeface="+mn-lt"/>
          <a:ea typeface="+mn-ea"/>
          <a:cs typeface="+mn-cs"/>
        </a:defRPr>
      </a:lvl8pPr>
      <a:lvl9pPr marL="4170060" algn="l" defTabSz="1042512" rtl="0" eaLnBrk="1" latinLnBrk="0" hangingPunct="1">
        <a:defRPr sz="205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1">
          <p15:clr>
            <a:srgbClr val="F26B43"/>
          </p15:clr>
        </p15:guide>
        <p15:guide id="2" pos="3840">
          <p15:clr>
            <a:srgbClr val="F26B43"/>
          </p15:clr>
        </p15:guide>
        <p15:guide id="3" pos="260">
          <p15:clr>
            <a:srgbClr val="F26B43"/>
          </p15:clr>
        </p15:guide>
        <p15:guide id="4" pos="7420">
          <p15:clr>
            <a:srgbClr val="F26B43"/>
          </p15:clr>
        </p15:guide>
        <p15:guide id="5" orient="horz" pos="259">
          <p15:clr>
            <a:srgbClr val="F26B43"/>
          </p15:clr>
        </p15:guide>
        <p15:guide id="6" orient="horz" pos="958">
          <p15:clr>
            <a:srgbClr val="F26B43"/>
          </p15:clr>
        </p15:guide>
        <p15:guide id="7" orient="horz" pos="3989">
          <p15:clr>
            <a:srgbClr val="F26B43"/>
          </p15:clr>
        </p15:guide>
        <p15:guide id="8" orient="horz" pos="379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3"/>
            </p:custData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5" imgW="270" imgH="270" progId="TCLayout.ActiveDocument.1">
                  <p:embed/>
                </p:oleObj>
              </mc:Choice>
              <mc:Fallback>
                <p:oleObj name="think-cell Slide" r:id="rId35" imgW="270" imgH="270" progId="TCLayout.ActiveDocument.1">
                  <p:embed/>
                  <p:pic>
                    <p:nvPicPr>
                      <p:cNvPr id="2" name="Object 1" hidden="1"/>
                      <p:cNvPicPr/>
                      <p:nvPr/>
                    </p:nvPicPr>
                    <p:blipFill>
                      <a:blip r:embed="rId36"/>
                      <a:stretch>
                        <a:fillRect/>
                      </a:stretch>
                    </p:blipFill>
                    <p:spPr>
                      <a:xfrm>
                        <a:off x="2122" y="1589"/>
                        <a:ext cx="2116"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111333B-FBA5-4875-A5DE-3B4281D761D5}"/>
              </a:ext>
            </a:extLst>
          </p:cNvPr>
          <p:cNvSpPr/>
          <p:nvPr>
            <p:custDataLst>
              <p:tags r:id="rId34"/>
            </p:custDataLst>
          </p:nvPr>
        </p:nvSpPr>
        <p:spPr>
          <a:xfrm>
            <a:off x="0" y="0"/>
            <a:ext cx="211667"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a:latin typeface="Calibri Light" panose="020F0302020204030204" pitchFamily="34" charset="0"/>
              <a:ea typeface="+mj-ea"/>
              <a:cs typeface="+mj-cs"/>
              <a:sym typeface="Calibri Light" panose="020F0302020204030204" pitchFamily="34" charset="0"/>
            </a:endParaRPr>
          </a:p>
        </p:txBody>
      </p:sp>
      <p:sp>
        <p:nvSpPr>
          <p:cNvPr id="3" name="Title Placeholder 2">
            <a:extLst>
              <a:ext uri="{FF2B5EF4-FFF2-40B4-BE49-F238E27FC236}">
                <a16:creationId xmlns:a16="http://schemas.microsoft.com/office/drawing/2014/main" id="{E8F7B30E-EA8B-493C-86DB-F82608FA4390}"/>
              </a:ext>
            </a:extLst>
          </p:cNvPr>
          <p:cNvSpPr>
            <a:spLocks noGrp="1"/>
          </p:cNvSpPr>
          <p:nvPr>
            <p:ph type="title"/>
          </p:nvPr>
        </p:nvSpPr>
        <p:spPr>
          <a:xfrm>
            <a:off x="673102" y="507999"/>
            <a:ext cx="10031916" cy="931335"/>
          </a:xfrm>
          <a:prstGeom prst="rect">
            <a:avLst/>
          </a:prstGeom>
        </p:spPr>
        <p:txBody>
          <a:bodyPr vert="horz" lIns="0" tIns="0" rIns="0" bIns="0" rtlCol="0" anchor="t">
            <a:noAutofit/>
          </a:bodyPr>
          <a:lstStyle/>
          <a:p>
            <a:endParaRPr lang="en-US"/>
          </a:p>
        </p:txBody>
      </p:sp>
      <p:pic>
        <p:nvPicPr>
          <p:cNvPr id="9" name="Picture 8">
            <a:extLst>
              <a:ext uri="{FF2B5EF4-FFF2-40B4-BE49-F238E27FC236}">
                <a16:creationId xmlns:a16="http://schemas.microsoft.com/office/drawing/2014/main" id="{7A5D2E64-2649-4557-8200-E78DF2A57EFC}"/>
              </a:ext>
            </a:extLst>
          </p:cNvPr>
          <p:cNvPicPr>
            <a:picLocks noChangeAspect="1"/>
          </p:cNvPicPr>
          <p:nvPr/>
        </p:nvPicPr>
        <p:blipFill>
          <a:blip r:embed="rId37" cstate="email">
            <a:extLst>
              <a:ext uri="{28A0092B-C50C-407E-A947-70E740481C1C}">
                <a14:useLocalDpi xmlns:a14="http://schemas.microsoft.com/office/drawing/2010/main"/>
              </a:ext>
            </a:extLst>
          </a:blip>
          <a:stretch>
            <a:fillRect/>
          </a:stretch>
        </p:blipFill>
        <p:spPr>
          <a:xfrm>
            <a:off x="11041017" y="288001"/>
            <a:ext cx="480000" cy="609729"/>
          </a:xfrm>
          <a:prstGeom prst="rect">
            <a:avLst/>
          </a:prstGeom>
        </p:spPr>
      </p:pic>
      <p:sp>
        <p:nvSpPr>
          <p:cNvPr id="4" name="Date Placeholder 3">
            <a:extLst>
              <a:ext uri="{FF2B5EF4-FFF2-40B4-BE49-F238E27FC236}">
                <a16:creationId xmlns:a16="http://schemas.microsoft.com/office/drawing/2014/main" id="{39BA08C5-5A5A-413C-BB47-80E1FBC06359}"/>
              </a:ext>
            </a:extLst>
          </p:cNvPr>
          <p:cNvSpPr>
            <a:spLocks noGrp="1"/>
          </p:cNvSpPr>
          <p:nvPr>
            <p:ph type="dt" sz="half" idx="2"/>
          </p:nvPr>
        </p:nvSpPr>
        <p:spPr>
          <a:xfrm>
            <a:off x="673102" y="6512606"/>
            <a:ext cx="958356" cy="143967"/>
          </a:xfrm>
          <a:prstGeom prst="rect">
            <a:avLst/>
          </a:prstGeom>
        </p:spPr>
        <p:txBody>
          <a:bodyPr vert="horz" lIns="0" tIns="0" rIns="0" bIns="0" rtlCol="0" anchor="t"/>
          <a:lstStyle>
            <a:lvl1pPr algn="l">
              <a:defRPr sz="933">
                <a:solidFill>
                  <a:srgbClr val="000000"/>
                </a:solidFill>
              </a:defRPr>
            </a:lvl1pPr>
          </a:lstStyle>
          <a:p>
            <a:endParaRPr lang="en-IN"/>
          </a:p>
        </p:txBody>
      </p:sp>
      <p:sp>
        <p:nvSpPr>
          <p:cNvPr id="7" name="Footer Placeholder 6">
            <a:extLst>
              <a:ext uri="{FF2B5EF4-FFF2-40B4-BE49-F238E27FC236}">
                <a16:creationId xmlns:a16="http://schemas.microsoft.com/office/drawing/2014/main" id="{B1528AAF-4F0A-419B-8AAE-5F058B1EDEF5}"/>
              </a:ext>
            </a:extLst>
          </p:cNvPr>
          <p:cNvSpPr>
            <a:spLocks noGrp="1"/>
          </p:cNvSpPr>
          <p:nvPr>
            <p:ph type="ftr" sz="quarter" idx="3"/>
          </p:nvPr>
        </p:nvSpPr>
        <p:spPr>
          <a:xfrm>
            <a:off x="2597425" y="6512606"/>
            <a:ext cx="5213535" cy="143967"/>
          </a:xfrm>
          <a:prstGeom prst="rect">
            <a:avLst/>
          </a:prstGeom>
        </p:spPr>
        <p:txBody>
          <a:bodyPr vert="horz" lIns="0" tIns="0" rIns="0" bIns="0" rtlCol="0" anchor="t"/>
          <a:lstStyle>
            <a:lvl1pPr algn="l">
              <a:defRPr sz="933">
                <a:solidFill>
                  <a:schemeClr val="tx1"/>
                </a:solidFill>
              </a:defRPr>
            </a:lvl1pPr>
          </a:lstStyle>
          <a:p>
            <a:endParaRPr lang="en-IN"/>
          </a:p>
        </p:txBody>
      </p:sp>
      <p:sp>
        <p:nvSpPr>
          <p:cNvPr id="8" name="Slide Number Placeholder 7">
            <a:extLst>
              <a:ext uri="{FF2B5EF4-FFF2-40B4-BE49-F238E27FC236}">
                <a16:creationId xmlns:a16="http://schemas.microsoft.com/office/drawing/2014/main" id="{85343E1D-8E69-45CA-BB05-A8D2AF3930F7}"/>
              </a:ext>
            </a:extLst>
          </p:cNvPr>
          <p:cNvSpPr>
            <a:spLocks noGrp="1"/>
          </p:cNvSpPr>
          <p:nvPr>
            <p:ph type="sldNum" sz="quarter" idx="4"/>
          </p:nvPr>
        </p:nvSpPr>
        <p:spPr>
          <a:xfrm>
            <a:off x="242827" y="6485813"/>
            <a:ext cx="266631" cy="200267"/>
          </a:xfrm>
          <a:prstGeom prst="rect">
            <a:avLst/>
          </a:prstGeom>
        </p:spPr>
        <p:txBody>
          <a:bodyPr vert="horz" lIns="0" tIns="0" rIns="0" bIns="0" rtlCol="0" anchor="t"/>
          <a:lstStyle>
            <a:lvl1pPr algn="l">
              <a:defRPr sz="1200">
                <a:solidFill>
                  <a:schemeClr val="tx1"/>
                </a:solidFill>
              </a:defRPr>
            </a:lvl1pPr>
          </a:lstStyle>
          <a:p>
            <a:fld id="{A5163908-529D-4A49-892F-D37C4044DFD8}" type="slidenum">
              <a:rPr lang="en-IN" smtClean="0"/>
              <a:pPr/>
              <a:t>‹#›</a:t>
            </a:fld>
            <a:endParaRPr lang="en-IN"/>
          </a:p>
        </p:txBody>
      </p:sp>
      <p:sp>
        <p:nvSpPr>
          <p:cNvPr id="13" name="Text Placeholder 12">
            <a:extLst>
              <a:ext uri="{FF2B5EF4-FFF2-40B4-BE49-F238E27FC236}">
                <a16:creationId xmlns:a16="http://schemas.microsoft.com/office/drawing/2014/main" id="{9846266C-4ECA-426E-AC3C-9C2166215C9A}"/>
              </a:ext>
            </a:extLst>
          </p:cNvPr>
          <p:cNvSpPr>
            <a:spLocks noGrp="1"/>
          </p:cNvSpPr>
          <p:nvPr>
            <p:ph type="body" idx="1"/>
          </p:nvPr>
        </p:nvSpPr>
        <p:spPr>
          <a:xfrm>
            <a:off x="673101" y="1623484"/>
            <a:ext cx="10847919" cy="4614333"/>
          </a:xfrm>
          <a:prstGeom prst="rect">
            <a:avLst/>
          </a:prstGeom>
        </p:spPr>
        <p:txBody>
          <a:bodyPr vert="horz" lIns="0" tIns="0" rIns="0" bIns="0" spcCol="32400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1993189"/>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 id="2147483716" r:id="rId15"/>
    <p:sldLayoutId id="2147483717" r:id="rId16"/>
    <p:sldLayoutId id="2147483718" r:id="rId17"/>
    <p:sldLayoutId id="2147483719" r:id="rId18"/>
    <p:sldLayoutId id="2147483720" r:id="rId19"/>
    <p:sldLayoutId id="2147483721" r:id="rId20"/>
    <p:sldLayoutId id="2147483722" r:id="rId21"/>
    <p:sldLayoutId id="2147483723" r:id="rId22"/>
    <p:sldLayoutId id="2147483724" r:id="rId23"/>
    <p:sldLayoutId id="2147483725" r:id="rId24"/>
    <p:sldLayoutId id="2147483726" r:id="rId25"/>
    <p:sldLayoutId id="2147483727" r:id="rId26"/>
    <p:sldLayoutId id="2147483728" r:id="rId27"/>
    <p:sldLayoutId id="2147483729" r:id="rId28"/>
    <p:sldLayoutId id="2147483730" r:id="rId29"/>
    <p:sldLayoutId id="2147483731" r:id="rId30"/>
    <p:sldLayoutId id="2147483732" r:id="rId31"/>
  </p:sldLayoutIdLst>
  <p:hf hdr="0"/>
  <p:txStyles>
    <p:titleStyle>
      <a:lvl1pPr algn="l" defTabSz="1219139" rtl="0" eaLnBrk="1" latinLnBrk="0" hangingPunct="1">
        <a:lnSpc>
          <a:spcPct val="100000"/>
        </a:lnSpc>
        <a:spcBef>
          <a:spcPct val="0"/>
        </a:spcBef>
        <a:buNone/>
        <a:defRPr lang="en-US" sz="3200" kern="1200" smtClean="0">
          <a:solidFill>
            <a:schemeClr val="tx1"/>
          </a:solidFill>
          <a:latin typeface="+mj-lt"/>
          <a:ea typeface="+mj-ea"/>
          <a:cs typeface="+mj-cs"/>
        </a:defRPr>
      </a:lvl1pPr>
    </p:titleStyle>
    <p:bodyStyle>
      <a:lvl1pPr marL="215895" indent="-215895" algn="l" defTabSz="1219139" rtl="0" eaLnBrk="1" latinLnBrk="0" hangingPunct="1">
        <a:lnSpc>
          <a:spcPct val="100000"/>
        </a:lnSpc>
        <a:spcBef>
          <a:spcPts val="0"/>
        </a:spcBef>
        <a:spcAft>
          <a:spcPts val="0"/>
        </a:spcAft>
        <a:buClr>
          <a:srgbClr val="000000"/>
        </a:buClr>
        <a:buSzPct val="100000"/>
        <a:buFont typeface="Arial" panose="020B0604020202020204" pitchFamily="34" charset="0"/>
        <a:buChar char="•"/>
        <a:defRPr lang="en-US" sz="1800" kern="1200" dirty="0">
          <a:solidFill>
            <a:schemeClr val="tx1"/>
          </a:solidFill>
          <a:latin typeface="+mn-lt"/>
          <a:ea typeface="+mn-ea"/>
          <a:cs typeface="+mn-cs"/>
        </a:defRPr>
      </a:lvl1pPr>
      <a:lvl2pPr marL="426709" indent="-182875" algn="l" defTabSz="1219139"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US" sz="1600" kern="1200" dirty="0">
          <a:solidFill>
            <a:schemeClr val="tx1"/>
          </a:solidFill>
          <a:latin typeface="+mn-lt"/>
          <a:ea typeface="+mn-ea"/>
          <a:cs typeface="+mn-cs"/>
        </a:defRPr>
      </a:lvl2pPr>
      <a:lvl3pPr marL="573010" indent="-143930" algn="l" defTabSz="1219139"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US" sz="1400" kern="1200" dirty="0">
          <a:solidFill>
            <a:schemeClr val="tx1"/>
          </a:solidFill>
          <a:latin typeface="+mn-lt"/>
          <a:ea typeface="+mn-ea"/>
          <a:cs typeface="+mn-cs"/>
        </a:defRPr>
      </a:lvl3pPr>
      <a:lvl4pPr marL="792460" indent="-182875" algn="l" defTabSz="1219139"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US" sz="1400" kern="1200" dirty="0">
          <a:solidFill>
            <a:schemeClr val="tx1"/>
          </a:solidFill>
          <a:latin typeface="+mn-lt"/>
          <a:ea typeface="+mn-ea"/>
          <a:cs typeface="+mn-cs"/>
        </a:defRPr>
      </a:lvl4pPr>
      <a:lvl5pPr marL="935543" indent="-143930" algn="l" defTabSz="1219139"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IN" sz="1400" kern="1200" dirty="0">
          <a:solidFill>
            <a:schemeClr val="tx1"/>
          </a:solidFill>
          <a:latin typeface="+mn-lt"/>
          <a:ea typeface="+mn-ea"/>
          <a:cs typeface="+mn-cs"/>
        </a:defRPr>
      </a:lvl5pPr>
      <a:lvl6pPr marL="3352632" indent="-304784" algn="l" defTabSz="1219139"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202" indent="-304784" algn="l" defTabSz="1219139"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71" indent="-304784" algn="l" defTabSz="1219139"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341" indent="-304784" algn="l" defTabSz="1219139"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de-DE"/>
      </a:defPPr>
      <a:lvl1pPr marL="0" algn="l" defTabSz="1219139" rtl="0" eaLnBrk="1" latinLnBrk="0" hangingPunct="1">
        <a:defRPr sz="2400" kern="1200">
          <a:solidFill>
            <a:schemeClr val="tx1"/>
          </a:solidFill>
          <a:latin typeface="+mn-lt"/>
          <a:ea typeface="+mn-ea"/>
          <a:cs typeface="+mn-cs"/>
        </a:defRPr>
      </a:lvl1pPr>
      <a:lvl2pPr marL="609570" algn="l" defTabSz="1219139" rtl="0" eaLnBrk="1" latinLnBrk="0" hangingPunct="1">
        <a:defRPr sz="2400" kern="1200">
          <a:solidFill>
            <a:schemeClr val="tx1"/>
          </a:solidFill>
          <a:latin typeface="+mn-lt"/>
          <a:ea typeface="+mn-ea"/>
          <a:cs typeface="+mn-cs"/>
        </a:defRPr>
      </a:lvl2pPr>
      <a:lvl3pPr marL="1219139" algn="l" defTabSz="1219139" rtl="0" eaLnBrk="1" latinLnBrk="0" hangingPunct="1">
        <a:defRPr sz="2400" kern="1200">
          <a:solidFill>
            <a:schemeClr val="tx1"/>
          </a:solidFill>
          <a:latin typeface="+mn-lt"/>
          <a:ea typeface="+mn-ea"/>
          <a:cs typeface="+mn-cs"/>
        </a:defRPr>
      </a:lvl3pPr>
      <a:lvl4pPr marL="1828709" algn="l" defTabSz="1219139" rtl="0" eaLnBrk="1" latinLnBrk="0" hangingPunct="1">
        <a:defRPr sz="2400" kern="1200">
          <a:solidFill>
            <a:schemeClr val="tx1"/>
          </a:solidFill>
          <a:latin typeface="+mn-lt"/>
          <a:ea typeface="+mn-ea"/>
          <a:cs typeface="+mn-cs"/>
        </a:defRPr>
      </a:lvl4pPr>
      <a:lvl5pPr marL="2438278" algn="l" defTabSz="1219139" rtl="0" eaLnBrk="1" latinLnBrk="0" hangingPunct="1">
        <a:defRPr sz="2400" kern="1200">
          <a:solidFill>
            <a:schemeClr val="tx1"/>
          </a:solidFill>
          <a:latin typeface="+mn-lt"/>
          <a:ea typeface="+mn-ea"/>
          <a:cs typeface="+mn-cs"/>
        </a:defRPr>
      </a:lvl5pPr>
      <a:lvl6pPr marL="3047848" algn="l" defTabSz="1219139" rtl="0" eaLnBrk="1" latinLnBrk="0" hangingPunct="1">
        <a:defRPr sz="2400" kern="1200">
          <a:solidFill>
            <a:schemeClr val="tx1"/>
          </a:solidFill>
          <a:latin typeface="+mn-lt"/>
          <a:ea typeface="+mn-ea"/>
          <a:cs typeface="+mn-cs"/>
        </a:defRPr>
      </a:lvl6pPr>
      <a:lvl7pPr marL="3657417" algn="l" defTabSz="1219139" rtl="0" eaLnBrk="1" latinLnBrk="0" hangingPunct="1">
        <a:defRPr sz="2400" kern="1200">
          <a:solidFill>
            <a:schemeClr val="tx1"/>
          </a:solidFill>
          <a:latin typeface="+mn-lt"/>
          <a:ea typeface="+mn-ea"/>
          <a:cs typeface="+mn-cs"/>
        </a:defRPr>
      </a:lvl7pPr>
      <a:lvl8pPr marL="4266987" algn="l" defTabSz="1219139" rtl="0" eaLnBrk="1" latinLnBrk="0" hangingPunct="1">
        <a:defRPr sz="2400" kern="1200">
          <a:solidFill>
            <a:schemeClr val="tx1"/>
          </a:solidFill>
          <a:latin typeface="+mn-lt"/>
          <a:ea typeface="+mn-ea"/>
          <a:cs typeface="+mn-cs"/>
        </a:defRPr>
      </a:lvl8pPr>
      <a:lvl9pPr marL="4876557" algn="l" defTabSz="1219139"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3">
          <p15:clr>
            <a:srgbClr val="000000"/>
          </p15:clr>
        </p15:guide>
        <p15:guide id="2" pos="7257">
          <p15:clr>
            <a:srgbClr val="000000"/>
          </p15:clr>
        </p15:guide>
        <p15:guide id="3" pos="6743">
          <p15:clr>
            <a:srgbClr val="000000"/>
          </p15:clr>
        </p15:guide>
        <p15:guide id="4" orient="horz" pos="316">
          <p15:clr>
            <a:srgbClr val="000000"/>
          </p15:clr>
        </p15:guide>
        <p15:guide id="5" orient="horz" pos="920">
          <p15:clr>
            <a:srgbClr val="000000"/>
          </p15:clr>
        </p15:guide>
        <p15:guide id="6" orient="horz" pos="1011">
          <p15:clr>
            <a:srgbClr val="000000"/>
          </p15:clr>
        </p15:guide>
        <p15:guide id="7" orient="horz" pos="3944">
          <p15:clr>
            <a:srgbClr val="000000"/>
          </p15:clr>
        </p15:guide>
        <p15:guide id="8" pos="4052">
          <p15:clr>
            <a:srgbClr val="000000"/>
          </p15:clr>
        </p15:guide>
        <p15:guide id="10" pos="3840">
          <p15:clr>
            <a:srgbClr val="000000"/>
          </p15:clr>
        </p15:guide>
        <p15:guide id="11" pos="3628">
          <p15:clr>
            <a:srgbClr val="00000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0879" y="410669"/>
            <a:ext cx="11368018" cy="776038"/>
          </a:xfrm>
          <a:prstGeom prst="rect">
            <a:avLst/>
          </a:prstGeom>
        </p:spPr>
        <p:txBody>
          <a:bodyPr vert="horz" lIns="0" tIns="0" rIns="0" bIns="0" rtlCol="0" anchor="t" anchorCtr="0">
            <a:noAutofit/>
          </a:bodyPr>
          <a:lstStyle/>
          <a:p>
            <a:r>
              <a:rPr lang="en-US" noProof="0"/>
              <a:t>Click to edit Master title style</a:t>
            </a:r>
          </a:p>
        </p:txBody>
      </p:sp>
      <p:sp>
        <p:nvSpPr>
          <p:cNvPr id="3" name="Text Placeholder 2"/>
          <p:cNvSpPr>
            <a:spLocks noGrp="1"/>
          </p:cNvSpPr>
          <p:nvPr>
            <p:ph type="body" idx="1"/>
          </p:nvPr>
        </p:nvSpPr>
        <p:spPr>
          <a:xfrm>
            <a:off x="410879" y="1521182"/>
            <a:ext cx="11368018" cy="4494734"/>
          </a:xfrm>
          <a:prstGeom prst="rect">
            <a:avLst/>
          </a:prstGeom>
        </p:spPr>
        <p:txBody>
          <a:bodyPr vert="horz" lIns="0" tIns="0" rIns="0" bIns="0" rtlCol="0" anchor="t" anchorCtr="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Date Placeholder 3"/>
          <p:cNvSpPr>
            <a:spLocks noGrp="1"/>
          </p:cNvSpPr>
          <p:nvPr>
            <p:ph type="dt" sz="half" idx="2"/>
          </p:nvPr>
        </p:nvSpPr>
        <p:spPr>
          <a:xfrm>
            <a:off x="6096910" y="6332830"/>
            <a:ext cx="1194866" cy="273450"/>
          </a:xfrm>
          <a:prstGeom prst="rect">
            <a:avLst/>
          </a:prstGeom>
        </p:spPr>
        <p:txBody>
          <a:bodyPr vert="horz" lIns="0" tIns="0" rIns="0" bIns="0" rtlCol="0" anchor="t" anchorCtr="0">
            <a:noAutofit/>
          </a:bodyPr>
          <a:lstStyle>
            <a:lvl1pPr algn="l">
              <a:defRPr sz="1100">
                <a:solidFill>
                  <a:schemeClr val="accent5"/>
                </a:solidFill>
              </a:defRPr>
            </a:lvl1pPr>
          </a:lstStyle>
          <a:p>
            <a:endParaRPr lang="en-US"/>
          </a:p>
        </p:txBody>
      </p:sp>
      <p:sp>
        <p:nvSpPr>
          <p:cNvPr id="6" name="Slide Number Placeholder 5"/>
          <p:cNvSpPr>
            <a:spLocks noGrp="1"/>
          </p:cNvSpPr>
          <p:nvPr>
            <p:ph type="sldNum" sz="quarter" idx="4"/>
          </p:nvPr>
        </p:nvSpPr>
        <p:spPr>
          <a:xfrm>
            <a:off x="410882" y="6332830"/>
            <a:ext cx="507262" cy="273450"/>
          </a:xfrm>
          <a:prstGeom prst="rect">
            <a:avLst/>
          </a:prstGeom>
        </p:spPr>
        <p:txBody>
          <a:bodyPr vert="horz" lIns="0" tIns="0" rIns="0" bIns="0" rtlCol="0" anchor="t" anchorCtr="0">
            <a:noAutofit/>
          </a:bodyPr>
          <a:lstStyle>
            <a:lvl1pPr algn="l">
              <a:defRPr sz="1100">
                <a:solidFill>
                  <a:schemeClr val="accent5"/>
                </a:solidFill>
              </a:defRPr>
            </a:lvl1pPr>
          </a:lstStyle>
          <a:p>
            <a:fld id="{32B354EE-31EA-4FC2-9496-7B6202183237}" type="slidenum">
              <a:rPr lang="en-US" smtClean="0"/>
              <a:pPr/>
              <a:t>‹#›</a:t>
            </a:fld>
            <a:endParaRPr lang="en-US"/>
          </a:p>
        </p:txBody>
      </p:sp>
      <p:grpSp>
        <p:nvGrpSpPr>
          <p:cNvPr id="20" name="Group 4">
            <a:extLst>
              <a:ext uri="{FF2B5EF4-FFF2-40B4-BE49-F238E27FC236}">
                <a16:creationId xmlns:a16="http://schemas.microsoft.com/office/drawing/2014/main" id="{1904BA4D-1AFB-42A4-8284-784441CF6C68}"/>
              </a:ext>
            </a:extLst>
          </p:cNvPr>
          <p:cNvGrpSpPr>
            <a:grpSpLocks noChangeAspect="1"/>
          </p:cNvGrpSpPr>
          <p:nvPr/>
        </p:nvGrpSpPr>
        <p:grpSpPr bwMode="auto">
          <a:xfrm>
            <a:off x="11179123" y="6332830"/>
            <a:ext cx="607829" cy="148182"/>
            <a:chOff x="2071" y="1578"/>
            <a:chExt cx="2587" cy="631"/>
          </a:xfrm>
          <a:gradFill>
            <a:gsLst>
              <a:gs pos="50000">
                <a:srgbClr val="00E487"/>
              </a:gs>
              <a:gs pos="100000">
                <a:srgbClr val="1ECBD0"/>
              </a:gs>
            </a:gsLst>
            <a:lin ang="18900000" scaled="0"/>
          </a:gradFill>
        </p:grpSpPr>
        <p:sp>
          <p:nvSpPr>
            <p:cNvPr id="22" name="Freeform 5">
              <a:extLst>
                <a:ext uri="{FF2B5EF4-FFF2-40B4-BE49-F238E27FC236}">
                  <a16:creationId xmlns:a16="http://schemas.microsoft.com/office/drawing/2014/main" id="{DAE554E6-16CB-4176-987F-3AF6305F726B}"/>
                </a:ext>
              </a:extLst>
            </p:cNvPr>
            <p:cNvSpPr>
              <a:spLocks/>
            </p:cNvSpPr>
            <p:nvPr/>
          </p:nvSpPr>
          <p:spPr bwMode="auto">
            <a:xfrm>
              <a:off x="2765" y="1728"/>
              <a:ext cx="244" cy="318"/>
            </a:xfrm>
            <a:custGeom>
              <a:avLst/>
              <a:gdLst>
                <a:gd name="T0" fmla="*/ 12 w 129"/>
                <a:gd name="T1" fmla="*/ 0 h 168"/>
                <a:gd name="T2" fmla="*/ 8 w 129"/>
                <a:gd name="T3" fmla="*/ 4 h 168"/>
                <a:gd name="T4" fmla="*/ 8 w 129"/>
                <a:gd name="T5" fmla="*/ 25 h 168"/>
                <a:gd name="T6" fmla="*/ 12 w 129"/>
                <a:gd name="T7" fmla="*/ 29 h 168"/>
                <a:gd name="T8" fmla="*/ 48 w 129"/>
                <a:gd name="T9" fmla="*/ 29 h 168"/>
                <a:gd name="T10" fmla="*/ 48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2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2" y="0"/>
                  </a:moveTo>
                  <a:cubicBezTo>
                    <a:pt x="9" y="0"/>
                    <a:pt x="8" y="1"/>
                    <a:pt x="8" y="4"/>
                  </a:cubicBezTo>
                  <a:cubicBezTo>
                    <a:pt x="8" y="25"/>
                    <a:pt x="8" y="25"/>
                    <a:pt x="8" y="25"/>
                  </a:cubicBezTo>
                  <a:cubicBezTo>
                    <a:pt x="8" y="27"/>
                    <a:pt x="9" y="29"/>
                    <a:pt x="12" y="29"/>
                  </a:cubicBezTo>
                  <a:cubicBezTo>
                    <a:pt x="48" y="29"/>
                    <a:pt x="48" y="29"/>
                    <a:pt x="48" y="29"/>
                  </a:cubicBezTo>
                  <a:cubicBezTo>
                    <a:pt x="48" y="140"/>
                    <a:pt x="48" y="140"/>
                    <a:pt x="48"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8" y="140"/>
                    <a:pt x="125" y="140"/>
                  </a:cubicBezTo>
                  <a:cubicBezTo>
                    <a:pt x="76" y="140"/>
                    <a:pt x="76" y="140"/>
                    <a:pt x="76" y="140"/>
                  </a:cubicBezTo>
                  <a:cubicBezTo>
                    <a:pt x="76" y="4"/>
                    <a:pt x="76" y="4"/>
                    <a:pt x="76" y="4"/>
                  </a:cubicBezTo>
                  <a:cubicBezTo>
                    <a:pt x="76" y="1"/>
                    <a:pt x="75" y="0"/>
                    <a:pt x="72" y="0"/>
                  </a:cubicBez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a:p>
          </p:txBody>
        </p:sp>
        <p:sp>
          <p:nvSpPr>
            <p:cNvPr id="23" name="Freeform 6">
              <a:extLst>
                <a:ext uri="{FF2B5EF4-FFF2-40B4-BE49-F238E27FC236}">
                  <a16:creationId xmlns:a16="http://schemas.microsoft.com/office/drawing/2014/main" id="{AEC65459-58EA-4F3D-8A43-721FE0A15E41}"/>
                </a:ext>
              </a:extLst>
            </p:cNvPr>
            <p:cNvSpPr>
              <a:spLocks/>
            </p:cNvSpPr>
            <p:nvPr/>
          </p:nvSpPr>
          <p:spPr bwMode="auto">
            <a:xfrm>
              <a:off x="3798" y="1728"/>
              <a:ext cx="244" cy="318"/>
            </a:xfrm>
            <a:custGeom>
              <a:avLst/>
              <a:gdLst>
                <a:gd name="T0" fmla="*/ 11 w 129"/>
                <a:gd name="T1" fmla="*/ 0 h 168"/>
                <a:gd name="T2" fmla="*/ 8 w 129"/>
                <a:gd name="T3" fmla="*/ 4 h 168"/>
                <a:gd name="T4" fmla="*/ 8 w 129"/>
                <a:gd name="T5" fmla="*/ 25 h 168"/>
                <a:gd name="T6" fmla="*/ 11 w 129"/>
                <a:gd name="T7" fmla="*/ 29 h 168"/>
                <a:gd name="T8" fmla="*/ 47 w 129"/>
                <a:gd name="T9" fmla="*/ 29 h 168"/>
                <a:gd name="T10" fmla="*/ 47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1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1" y="0"/>
                  </a:moveTo>
                  <a:cubicBezTo>
                    <a:pt x="9" y="0"/>
                    <a:pt x="8" y="1"/>
                    <a:pt x="8" y="4"/>
                  </a:cubicBezTo>
                  <a:cubicBezTo>
                    <a:pt x="8" y="25"/>
                    <a:pt x="8" y="25"/>
                    <a:pt x="8" y="25"/>
                  </a:cubicBezTo>
                  <a:cubicBezTo>
                    <a:pt x="8" y="27"/>
                    <a:pt x="9" y="29"/>
                    <a:pt x="11" y="29"/>
                  </a:cubicBezTo>
                  <a:cubicBezTo>
                    <a:pt x="47" y="29"/>
                    <a:pt x="47" y="29"/>
                    <a:pt x="47" y="29"/>
                  </a:cubicBezTo>
                  <a:cubicBezTo>
                    <a:pt x="47" y="140"/>
                    <a:pt x="47" y="140"/>
                    <a:pt x="47"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7" y="140"/>
                    <a:pt x="125" y="140"/>
                  </a:cubicBezTo>
                  <a:cubicBezTo>
                    <a:pt x="76" y="140"/>
                    <a:pt x="76" y="140"/>
                    <a:pt x="76" y="140"/>
                  </a:cubicBezTo>
                  <a:cubicBezTo>
                    <a:pt x="76" y="4"/>
                    <a:pt x="76" y="4"/>
                    <a:pt x="76" y="4"/>
                  </a:cubicBezTo>
                  <a:cubicBezTo>
                    <a:pt x="75" y="1"/>
                    <a:pt x="74" y="0"/>
                    <a:pt x="72" y="0"/>
                  </a:cubicBez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a:p>
          </p:txBody>
        </p:sp>
        <p:sp>
          <p:nvSpPr>
            <p:cNvPr id="24" name="Freeform 7">
              <a:extLst>
                <a:ext uri="{FF2B5EF4-FFF2-40B4-BE49-F238E27FC236}">
                  <a16:creationId xmlns:a16="http://schemas.microsoft.com/office/drawing/2014/main" id="{7EF15D6C-5F12-4679-A3CE-298E60CFDA5F}"/>
                </a:ext>
              </a:extLst>
            </p:cNvPr>
            <p:cNvSpPr>
              <a:spLocks/>
            </p:cNvSpPr>
            <p:nvPr/>
          </p:nvSpPr>
          <p:spPr bwMode="auto">
            <a:xfrm>
              <a:off x="4361" y="1728"/>
              <a:ext cx="297" cy="464"/>
            </a:xfrm>
            <a:custGeom>
              <a:avLst/>
              <a:gdLst>
                <a:gd name="T0" fmla="*/ 132 w 157"/>
                <a:gd name="T1" fmla="*/ 0 h 245"/>
                <a:gd name="T2" fmla="*/ 127 w 157"/>
                <a:gd name="T3" fmla="*/ 3 h 245"/>
                <a:gd name="T4" fmla="*/ 127 w 157"/>
                <a:gd name="T5" fmla="*/ 3 h 245"/>
                <a:gd name="T6" fmla="*/ 79 w 157"/>
                <a:gd name="T7" fmla="*/ 128 h 245"/>
                <a:gd name="T8" fmla="*/ 30 w 157"/>
                <a:gd name="T9" fmla="*/ 4 h 245"/>
                <a:gd name="T10" fmla="*/ 25 w 157"/>
                <a:gd name="T11" fmla="*/ 0 h 245"/>
                <a:gd name="T12" fmla="*/ 4 w 157"/>
                <a:gd name="T13" fmla="*/ 0 h 245"/>
                <a:gd name="T14" fmla="*/ 0 w 157"/>
                <a:gd name="T15" fmla="*/ 3 h 245"/>
                <a:gd name="T16" fmla="*/ 1 w 157"/>
                <a:gd name="T17" fmla="*/ 6 h 245"/>
                <a:gd name="T18" fmla="*/ 1 w 157"/>
                <a:gd name="T19" fmla="*/ 6 h 245"/>
                <a:gd name="T20" fmla="*/ 1 w 157"/>
                <a:gd name="T21" fmla="*/ 6 h 245"/>
                <a:gd name="T22" fmla="*/ 64 w 157"/>
                <a:gd name="T23" fmla="*/ 168 h 245"/>
                <a:gd name="T24" fmla="*/ 59 w 157"/>
                <a:gd name="T25" fmla="*/ 182 h 245"/>
                <a:gd name="T26" fmla="*/ 48 w 157"/>
                <a:gd name="T27" fmla="*/ 205 h 245"/>
                <a:gd name="T28" fmla="*/ 38 w 157"/>
                <a:gd name="T29" fmla="*/ 215 h 245"/>
                <a:gd name="T30" fmla="*/ 30 w 157"/>
                <a:gd name="T31" fmla="*/ 217 h 245"/>
                <a:gd name="T32" fmla="*/ 26 w 157"/>
                <a:gd name="T33" fmla="*/ 216 h 245"/>
                <a:gd name="T34" fmla="*/ 14 w 157"/>
                <a:gd name="T35" fmla="*/ 213 h 245"/>
                <a:gd name="T36" fmla="*/ 7 w 157"/>
                <a:gd name="T37" fmla="*/ 210 h 245"/>
                <a:gd name="T38" fmla="*/ 3 w 157"/>
                <a:gd name="T39" fmla="*/ 215 h 245"/>
                <a:gd name="T40" fmla="*/ 3 w 157"/>
                <a:gd name="T41" fmla="*/ 233 h 245"/>
                <a:gd name="T42" fmla="*/ 3 w 157"/>
                <a:gd name="T43" fmla="*/ 233 h 245"/>
                <a:gd name="T44" fmla="*/ 7 w 157"/>
                <a:gd name="T45" fmla="*/ 240 h 245"/>
                <a:gd name="T46" fmla="*/ 32 w 157"/>
                <a:gd name="T47" fmla="*/ 245 h 245"/>
                <a:gd name="T48" fmla="*/ 54 w 157"/>
                <a:gd name="T49" fmla="*/ 238 h 245"/>
                <a:gd name="T50" fmla="*/ 73 w 157"/>
                <a:gd name="T51" fmla="*/ 220 h 245"/>
                <a:gd name="T52" fmla="*/ 79 w 157"/>
                <a:gd name="T53" fmla="*/ 208 h 245"/>
                <a:gd name="T54" fmla="*/ 156 w 157"/>
                <a:gd name="T55" fmla="*/ 6 h 245"/>
                <a:gd name="T56" fmla="*/ 157 w 157"/>
                <a:gd name="T57" fmla="*/ 3 h 245"/>
                <a:gd name="T58" fmla="*/ 153 w 157"/>
                <a:gd name="T59" fmla="*/ 0 h 245"/>
                <a:gd name="T60" fmla="*/ 132 w 157"/>
                <a:gd name="T6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7" h="245">
                  <a:moveTo>
                    <a:pt x="132" y="0"/>
                  </a:moveTo>
                  <a:cubicBezTo>
                    <a:pt x="129" y="0"/>
                    <a:pt x="128" y="1"/>
                    <a:pt x="127" y="3"/>
                  </a:cubicBezTo>
                  <a:cubicBezTo>
                    <a:pt x="127" y="3"/>
                    <a:pt x="127" y="3"/>
                    <a:pt x="127" y="3"/>
                  </a:cubicBezTo>
                  <a:cubicBezTo>
                    <a:pt x="79" y="128"/>
                    <a:pt x="79" y="128"/>
                    <a:pt x="79" y="128"/>
                  </a:cubicBezTo>
                  <a:cubicBezTo>
                    <a:pt x="30" y="4"/>
                    <a:pt x="30" y="4"/>
                    <a:pt x="30" y="4"/>
                  </a:cubicBezTo>
                  <a:cubicBezTo>
                    <a:pt x="29" y="1"/>
                    <a:pt x="28" y="0"/>
                    <a:pt x="25" y="0"/>
                  </a:cubicBezTo>
                  <a:cubicBezTo>
                    <a:pt x="4" y="0"/>
                    <a:pt x="4" y="0"/>
                    <a:pt x="4" y="0"/>
                  </a:cubicBezTo>
                  <a:cubicBezTo>
                    <a:pt x="2" y="0"/>
                    <a:pt x="0" y="1"/>
                    <a:pt x="0" y="3"/>
                  </a:cubicBezTo>
                  <a:cubicBezTo>
                    <a:pt x="0" y="4"/>
                    <a:pt x="1" y="5"/>
                    <a:pt x="1" y="6"/>
                  </a:cubicBezTo>
                  <a:cubicBezTo>
                    <a:pt x="1" y="6"/>
                    <a:pt x="1" y="6"/>
                    <a:pt x="1" y="6"/>
                  </a:cubicBezTo>
                  <a:cubicBezTo>
                    <a:pt x="1" y="6"/>
                    <a:pt x="1" y="6"/>
                    <a:pt x="1" y="6"/>
                  </a:cubicBezTo>
                  <a:cubicBezTo>
                    <a:pt x="64" y="168"/>
                    <a:pt x="64" y="168"/>
                    <a:pt x="64" y="168"/>
                  </a:cubicBezTo>
                  <a:cubicBezTo>
                    <a:pt x="59" y="182"/>
                    <a:pt x="59" y="182"/>
                    <a:pt x="59" y="182"/>
                  </a:cubicBezTo>
                  <a:cubicBezTo>
                    <a:pt x="57" y="187"/>
                    <a:pt x="53" y="199"/>
                    <a:pt x="48" y="205"/>
                  </a:cubicBezTo>
                  <a:cubicBezTo>
                    <a:pt x="44" y="211"/>
                    <a:pt x="42" y="213"/>
                    <a:pt x="38" y="215"/>
                  </a:cubicBezTo>
                  <a:cubicBezTo>
                    <a:pt x="35" y="216"/>
                    <a:pt x="33" y="217"/>
                    <a:pt x="30" y="217"/>
                  </a:cubicBezTo>
                  <a:cubicBezTo>
                    <a:pt x="28" y="217"/>
                    <a:pt x="27" y="217"/>
                    <a:pt x="26" y="216"/>
                  </a:cubicBezTo>
                  <a:cubicBezTo>
                    <a:pt x="22" y="216"/>
                    <a:pt x="18" y="214"/>
                    <a:pt x="14" y="213"/>
                  </a:cubicBezTo>
                  <a:cubicBezTo>
                    <a:pt x="11" y="212"/>
                    <a:pt x="9" y="210"/>
                    <a:pt x="7" y="210"/>
                  </a:cubicBezTo>
                  <a:cubicBezTo>
                    <a:pt x="5" y="210"/>
                    <a:pt x="3" y="212"/>
                    <a:pt x="3" y="215"/>
                  </a:cubicBezTo>
                  <a:cubicBezTo>
                    <a:pt x="3" y="233"/>
                    <a:pt x="3" y="233"/>
                    <a:pt x="3" y="233"/>
                  </a:cubicBezTo>
                  <a:cubicBezTo>
                    <a:pt x="3" y="233"/>
                    <a:pt x="3" y="233"/>
                    <a:pt x="3" y="233"/>
                  </a:cubicBezTo>
                  <a:cubicBezTo>
                    <a:pt x="3" y="236"/>
                    <a:pt x="4" y="238"/>
                    <a:pt x="7" y="240"/>
                  </a:cubicBezTo>
                  <a:cubicBezTo>
                    <a:pt x="15" y="243"/>
                    <a:pt x="21" y="245"/>
                    <a:pt x="32" y="245"/>
                  </a:cubicBezTo>
                  <a:cubicBezTo>
                    <a:pt x="41" y="244"/>
                    <a:pt x="47" y="242"/>
                    <a:pt x="54" y="238"/>
                  </a:cubicBezTo>
                  <a:cubicBezTo>
                    <a:pt x="61" y="233"/>
                    <a:pt x="67" y="227"/>
                    <a:pt x="73" y="220"/>
                  </a:cubicBezTo>
                  <a:cubicBezTo>
                    <a:pt x="75" y="216"/>
                    <a:pt x="77" y="212"/>
                    <a:pt x="79" y="208"/>
                  </a:cubicBezTo>
                  <a:cubicBezTo>
                    <a:pt x="83" y="200"/>
                    <a:pt x="144" y="40"/>
                    <a:pt x="156" y="6"/>
                  </a:cubicBezTo>
                  <a:cubicBezTo>
                    <a:pt x="157" y="5"/>
                    <a:pt x="157" y="4"/>
                    <a:pt x="157" y="3"/>
                  </a:cubicBezTo>
                  <a:cubicBezTo>
                    <a:pt x="157" y="1"/>
                    <a:pt x="155" y="0"/>
                    <a:pt x="153" y="0"/>
                  </a:cubicBezTo>
                  <a:lnTo>
                    <a:pt x="1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a:p>
          </p:txBody>
        </p:sp>
        <p:sp>
          <p:nvSpPr>
            <p:cNvPr id="25" name="Freeform 8">
              <a:extLst>
                <a:ext uri="{FF2B5EF4-FFF2-40B4-BE49-F238E27FC236}">
                  <a16:creationId xmlns:a16="http://schemas.microsoft.com/office/drawing/2014/main" id="{7D6A478E-FCAF-4573-B967-7423B97A0230}"/>
                </a:ext>
              </a:extLst>
            </p:cNvPr>
            <p:cNvSpPr>
              <a:spLocks/>
            </p:cNvSpPr>
            <p:nvPr/>
          </p:nvSpPr>
          <p:spPr bwMode="auto">
            <a:xfrm>
              <a:off x="3457" y="1726"/>
              <a:ext cx="263" cy="322"/>
            </a:xfrm>
            <a:custGeom>
              <a:avLst/>
              <a:gdLst>
                <a:gd name="T0" fmla="*/ 28 w 139"/>
                <a:gd name="T1" fmla="*/ 21 h 170"/>
                <a:gd name="T2" fmla="*/ 28 w 139"/>
                <a:gd name="T3" fmla="*/ 6 h 170"/>
                <a:gd name="T4" fmla="*/ 25 w 139"/>
                <a:gd name="T5" fmla="*/ 3 h 170"/>
                <a:gd name="T6" fmla="*/ 4 w 139"/>
                <a:gd name="T7" fmla="*/ 3 h 170"/>
                <a:gd name="T8" fmla="*/ 0 w 139"/>
                <a:gd name="T9" fmla="*/ 6 h 170"/>
                <a:gd name="T10" fmla="*/ 0 w 139"/>
                <a:gd name="T11" fmla="*/ 167 h 170"/>
                <a:gd name="T12" fmla="*/ 4 w 139"/>
                <a:gd name="T13" fmla="*/ 170 h 170"/>
                <a:gd name="T14" fmla="*/ 25 w 139"/>
                <a:gd name="T15" fmla="*/ 170 h 170"/>
                <a:gd name="T16" fmla="*/ 28 w 139"/>
                <a:gd name="T17" fmla="*/ 167 h 170"/>
                <a:gd name="T18" fmla="*/ 28 w 139"/>
                <a:gd name="T19" fmla="*/ 68 h 170"/>
                <a:gd name="T20" fmla="*/ 70 w 139"/>
                <a:gd name="T21" fmla="*/ 28 h 170"/>
                <a:gd name="T22" fmla="*/ 111 w 139"/>
                <a:gd name="T23" fmla="*/ 68 h 170"/>
                <a:gd name="T24" fmla="*/ 111 w 139"/>
                <a:gd name="T25" fmla="*/ 167 h 170"/>
                <a:gd name="T26" fmla="*/ 111 w 139"/>
                <a:gd name="T27" fmla="*/ 167 h 170"/>
                <a:gd name="T28" fmla="*/ 114 w 139"/>
                <a:gd name="T29" fmla="*/ 170 h 170"/>
                <a:gd name="T30" fmla="*/ 136 w 139"/>
                <a:gd name="T31" fmla="*/ 170 h 170"/>
                <a:gd name="T32" fmla="*/ 139 w 139"/>
                <a:gd name="T33" fmla="*/ 167 h 170"/>
                <a:gd name="T34" fmla="*/ 139 w 139"/>
                <a:gd name="T35" fmla="*/ 68 h 170"/>
                <a:gd name="T36" fmla="*/ 139 w 139"/>
                <a:gd name="T37" fmla="*/ 68 h 170"/>
                <a:gd name="T38" fmla="*/ 139 w 139"/>
                <a:gd name="T39" fmla="*/ 68 h 170"/>
                <a:gd name="T40" fmla="*/ 120 w 139"/>
                <a:gd name="T41" fmla="*/ 20 h 170"/>
                <a:gd name="T42" fmla="*/ 70 w 139"/>
                <a:gd name="T43" fmla="*/ 0 h 170"/>
                <a:gd name="T44" fmla="*/ 28 w 139"/>
                <a:gd name="T45" fmla="*/ 2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170">
                  <a:moveTo>
                    <a:pt x="28" y="21"/>
                  </a:moveTo>
                  <a:cubicBezTo>
                    <a:pt x="28" y="6"/>
                    <a:pt x="28" y="6"/>
                    <a:pt x="28" y="6"/>
                  </a:cubicBezTo>
                  <a:cubicBezTo>
                    <a:pt x="28" y="4"/>
                    <a:pt x="27" y="3"/>
                    <a:pt x="25" y="3"/>
                  </a:cubicBezTo>
                  <a:cubicBezTo>
                    <a:pt x="4" y="3"/>
                    <a:pt x="4" y="3"/>
                    <a:pt x="4" y="3"/>
                  </a:cubicBezTo>
                  <a:cubicBezTo>
                    <a:pt x="1" y="3"/>
                    <a:pt x="0" y="4"/>
                    <a:pt x="0" y="6"/>
                  </a:cubicBezTo>
                  <a:cubicBezTo>
                    <a:pt x="0" y="167"/>
                    <a:pt x="0" y="167"/>
                    <a:pt x="0" y="167"/>
                  </a:cubicBezTo>
                  <a:cubicBezTo>
                    <a:pt x="0" y="169"/>
                    <a:pt x="1" y="170"/>
                    <a:pt x="4" y="170"/>
                  </a:cubicBezTo>
                  <a:cubicBezTo>
                    <a:pt x="25" y="170"/>
                    <a:pt x="25" y="170"/>
                    <a:pt x="25" y="170"/>
                  </a:cubicBezTo>
                  <a:cubicBezTo>
                    <a:pt x="27" y="170"/>
                    <a:pt x="28" y="169"/>
                    <a:pt x="28" y="167"/>
                  </a:cubicBezTo>
                  <a:cubicBezTo>
                    <a:pt x="28" y="68"/>
                    <a:pt x="28" y="68"/>
                    <a:pt x="28" y="68"/>
                  </a:cubicBezTo>
                  <a:cubicBezTo>
                    <a:pt x="28" y="49"/>
                    <a:pt x="42" y="28"/>
                    <a:pt x="70" y="28"/>
                  </a:cubicBezTo>
                  <a:cubicBezTo>
                    <a:pt x="97" y="28"/>
                    <a:pt x="111" y="49"/>
                    <a:pt x="111" y="68"/>
                  </a:cubicBezTo>
                  <a:cubicBezTo>
                    <a:pt x="111" y="167"/>
                    <a:pt x="111" y="167"/>
                    <a:pt x="111" y="167"/>
                  </a:cubicBezTo>
                  <a:cubicBezTo>
                    <a:pt x="111" y="167"/>
                    <a:pt x="111" y="167"/>
                    <a:pt x="111" y="167"/>
                  </a:cubicBezTo>
                  <a:cubicBezTo>
                    <a:pt x="111" y="169"/>
                    <a:pt x="112" y="170"/>
                    <a:pt x="114" y="170"/>
                  </a:cubicBezTo>
                  <a:cubicBezTo>
                    <a:pt x="136" y="170"/>
                    <a:pt x="136" y="170"/>
                    <a:pt x="136" y="170"/>
                  </a:cubicBezTo>
                  <a:cubicBezTo>
                    <a:pt x="138" y="170"/>
                    <a:pt x="139" y="169"/>
                    <a:pt x="139" y="167"/>
                  </a:cubicBezTo>
                  <a:cubicBezTo>
                    <a:pt x="139" y="68"/>
                    <a:pt x="139" y="68"/>
                    <a:pt x="139" y="68"/>
                  </a:cubicBezTo>
                  <a:cubicBezTo>
                    <a:pt x="139" y="68"/>
                    <a:pt x="139" y="68"/>
                    <a:pt x="139" y="68"/>
                  </a:cubicBezTo>
                  <a:cubicBezTo>
                    <a:pt x="139" y="68"/>
                    <a:pt x="139" y="68"/>
                    <a:pt x="139" y="68"/>
                  </a:cubicBezTo>
                  <a:cubicBezTo>
                    <a:pt x="139" y="51"/>
                    <a:pt x="133" y="35"/>
                    <a:pt x="120" y="20"/>
                  </a:cubicBezTo>
                  <a:cubicBezTo>
                    <a:pt x="109" y="7"/>
                    <a:pt x="88" y="0"/>
                    <a:pt x="70" y="0"/>
                  </a:cubicBezTo>
                  <a:cubicBezTo>
                    <a:pt x="41" y="0"/>
                    <a:pt x="28" y="21"/>
                    <a:pt x="28"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a:p>
          </p:txBody>
        </p:sp>
        <p:sp>
          <p:nvSpPr>
            <p:cNvPr id="26" name="Freeform 9">
              <a:extLst>
                <a:ext uri="{FF2B5EF4-FFF2-40B4-BE49-F238E27FC236}">
                  <a16:creationId xmlns:a16="http://schemas.microsoft.com/office/drawing/2014/main" id="{C7B044FD-45A1-41D4-8002-87E2B59314CB}"/>
                </a:ext>
              </a:extLst>
            </p:cNvPr>
            <p:cNvSpPr>
              <a:spLocks/>
            </p:cNvSpPr>
            <p:nvPr/>
          </p:nvSpPr>
          <p:spPr bwMode="auto">
            <a:xfrm>
              <a:off x="2264" y="1724"/>
              <a:ext cx="246" cy="328"/>
            </a:xfrm>
            <a:custGeom>
              <a:avLst/>
              <a:gdLst>
                <a:gd name="T0" fmla="*/ 4 w 130"/>
                <a:gd name="T1" fmla="*/ 48 h 173"/>
                <a:gd name="T2" fmla="*/ 56 w 130"/>
                <a:gd name="T3" fmla="*/ 97 h 173"/>
                <a:gd name="T4" fmla="*/ 57 w 130"/>
                <a:gd name="T5" fmla="*/ 98 h 173"/>
                <a:gd name="T6" fmla="*/ 101 w 130"/>
                <a:gd name="T7" fmla="*/ 124 h 173"/>
                <a:gd name="T8" fmla="*/ 66 w 130"/>
                <a:gd name="T9" fmla="*/ 146 h 173"/>
                <a:gd name="T10" fmla="*/ 30 w 130"/>
                <a:gd name="T11" fmla="*/ 118 h 173"/>
                <a:gd name="T12" fmla="*/ 26 w 130"/>
                <a:gd name="T13" fmla="*/ 114 h 173"/>
                <a:gd name="T14" fmla="*/ 5 w 130"/>
                <a:gd name="T15" fmla="*/ 114 h 173"/>
                <a:gd name="T16" fmla="*/ 0 w 130"/>
                <a:gd name="T17" fmla="*/ 118 h 173"/>
                <a:gd name="T18" fmla="*/ 65 w 130"/>
                <a:gd name="T19" fmla="*/ 173 h 173"/>
                <a:gd name="T20" fmla="*/ 130 w 130"/>
                <a:gd name="T21" fmla="*/ 120 h 173"/>
                <a:gd name="T22" fmla="*/ 72 w 130"/>
                <a:gd name="T23" fmla="*/ 74 h 173"/>
                <a:gd name="T24" fmla="*/ 32 w 130"/>
                <a:gd name="T25" fmla="*/ 48 h 173"/>
                <a:gd name="T26" fmla="*/ 63 w 130"/>
                <a:gd name="T27" fmla="*/ 27 h 173"/>
                <a:gd name="T28" fmla="*/ 97 w 130"/>
                <a:gd name="T29" fmla="*/ 49 h 173"/>
                <a:gd name="T30" fmla="*/ 102 w 130"/>
                <a:gd name="T31" fmla="*/ 53 h 173"/>
                <a:gd name="T32" fmla="*/ 120 w 130"/>
                <a:gd name="T33" fmla="*/ 53 h 173"/>
                <a:gd name="T34" fmla="*/ 125 w 130"/>
                <a:gd name="T35" fmla="*/ 48 h 173"/>
                <a:gd name="T36" fmla="*/ 63 w 130"/>
                <a:gd name="T37" fmla="*/ 0 h 173"/>
                <a:gd name="T38" fmla="*/ 4 w 130"/>
                <a:gd name="T39" fmla="*/ 4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173">
                  <a:moveTo>
                    <a:pt x="4" y="48"/>
                  </a:moveTo>
                  <a:cubicBezTo>
                    <a:pt x="4" y="77"/>
                    <a:pt x="19" y="91"/>
                    <a:pt x="56" y="97"/>
                  </a:cubicBezTo>
                  <a:cubicBezTo>
                    <a:pt x="57" y="98"/>
                    <a:pt x="57" y="98"/>
                    <a:pt x="57" y="98"/>
                  </a:cubicBezTo>
                  <a:cubicBezTo>
                    <a:pt x="83" y="102"/>
                    <a:pt x="101" y="105"/>
                    <a:pt x="101" y="124"/>
                  </a:cubicBezTo>
                  <a:cubicBezTo>
                    <a:pt x="101" y="139"/>
                    <a:pt x="83" y="146"/>
                    <a:pt x="66" y="146"/>
                  </a:cubicBezTo>
                  <a:cubicBezTo>
                    <a:pt x="46" y="146"/>
                    <a:pt x="33" y="136"/>
                    <a:pt x="30" y="118"/>
                  </a:cubicBezTo>
                  <a:cubicBezTo>
                    <a:pt x="30" y="116"/>
                    <a:pt x="29" y="114"/>
                    <a:pt x="26" y="114"/>
                  </a:cubicBezTo>
                  <a:cubicBezTo>
                    <a:pt x="5" y="114"/>
                    <a:pt x="5" y="114"/>
                    <a:pt x="5" y="114"/>
                  </a:cubicBezTo>
                  <a:cubicBezTo>
                    <a:pt x="2" y="114"/>
                    <a:pt x="0" y="116"/>
                    <a:pt x="0" y="118"/>
                  </a:cubicBezTo>
                  <a:cubicBezTo>
                    <a:pt x="0" y="150"/>
                    <a:pt x="27" y="173"/>
                    <a:pt x="65" y="173"/>
                  </a:cubicBezTo>
                  <a:cubicBezTo>
                    <a:pt x="104" y="173"/>
                    <a:pt x="130" y="151"/>
                    <a:pt x="130" y="120"/>
                  </a:cubicBezTo>
                  <a:cubicBezTo>
                    <a:pt x="130" y="86"/>
                    <a:pt x="100" y="79"/>
                    <a:pt x="72" y="74"/>
                  </a:cubicBezTo>
                  <a:cubicBezTo>
                    <a:pt x="37" y="68"/>
                    <a:pt x="32" y="58"/>
                    <a:pt x="32" y="48"/>
                  </a:cubicBezTo>
                  <a:cubicBezTo>
                    <a:pt x="32" y="32"/>
                    <a:pt x="49" y="27"/>
                    <a:pt x="63" y="27"/>
                  </a:cubicBezTo>
                  <a:cubicBezTo>
                    <a:pt x="82" y="27"/>
                    <a:pt x="94" y="34"/>
                    <a:pt x="97" y="49"/>
                  </a:cubicBezTo>
                  <a:cubicBezTo>
                    <a:pt x="98" y="51"/>
                    <a:pt x="98" y="53"/>
                    <a:pt x="102" y="53"/>
                  </a:cubicBezTo>
                  <a:cubicBezTo>
                    <a:pt x="120" y="53"/>
                    <a:pt x="120" y="53"/>
                    <a:pt x="120" y="53"/>
                  </a:cubicBezTo>
                  <a:cubicBezTo>
                    <a:pt x="123" y="53"/>
                    <a:pt x="125" y="51"/>
                    <a:pt x="125" y="48"/>
                  </a:cubicBezTo>
                  <a:cubicBezTo>
                    <a:pt x="125" y="19"/>
                    <a:pt x="100" y="0"/>
                    <a:pt x="63" y="0"/>
                  </a:cubicBezTo>
                  <a:cubicBezTo>
                    <a:pt x="22" y="0"/>
                    <a:pt x="4" y="25"/>
                    <a:pt x="4" y="4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a:p>
          </p:txBody>
        </p:sp>
        <p:sp>
          <p:nvSpPr>
            <p:cNvPr id="27" name="Freeform 10">
              <a:extLst>
                <a:ext uri="{FF2B5EF4-FFF2-40B4-BE49-F238E27FC236}">
                  <a16:creationId xmlns:a16="http://schemas.microsoft.com/office/drawing/2014/main" id="{B96B058D-5136-4262-807A-F14DDE4ECC00}"/>
                </a:ext>
              </a:extLst>
            </p:cNvPr>
            <p:cNvSpPr>
              <a:spLocks/>
            </p:cNvSpPr>
            <p:nvPr/>
          </p:nvSpPr>
          <p:spPr bwMode="auto">
            <a:xfrm>
              <a:off x="3062" y="1722"/>
              <a:ext cx="312" cy="474"/>
            </a:xfrm>
            <a:custGeom>
              <a:avLst/>
              <a:gdLst>
                <a:gd name="T0" fmla="*/ 67 w 165"/>
                <a:gd name="T1" fmla="*/ 0 h 250"/>
                <a:gd name="T2" fmla="*/ 0 w 165"/>
                <a:gd name="T3" fmla="*/ 86 h 250"/>
                <a:gd name="T4" fmla="*/ 82 w 165"/>
                <a:gd name="T5" fmla="*/ 174 h 250"/>
                <a:gd name="T6" fmla="*/ 137 w 165"/>
                <a:gd name="T7" fmla="*/ 152 h 250"/>
                <a:gd name="T8" fmla="*/ 137 w 165"/>
                <a:gd name="T9" fmla="*/ 173 h 250"/>
                <a:gd name="T10" fmla="*/ 89 w 165"/>
                <a:gd name="T11" fmla="*/ 222 h 250"/>
                <a:gd name="T12" fmla="*/ 48 w 165"/>
                <a:gd name="T13" fmla="*/ 194 h 250"/>
                <a:gd name="T14" fmla="*/ 43 w 165"/>
                <a:gd name="T15" fmla="*/ 190 h 250"/>
                <a:gd name="T16" fmla="*/ 24 w 165"/>
                <a:gd name="T17" fmla="*/ 190 h 250"/>
                <a:gd name="T18" fmla="*/ 19 w 165"/>
                <a:gd name="T19" fmla="*/ 195 h 250"/>
                <a:gd name="T20" fmla="*/ 89 w 165"/>
                <a:gd name="T21" fmla="*/ 250 h 250"/>
                <a:gd name="T22" fmla="*/ 165 w 165"/>
                <a:gd name="T23" fmla="*/ 174 h 250"/>
                <a:gd name="T24" fmla="*/ 165 w 165"/>
                <a:gd name="T25" fmla="*/ 7 h 250"/>
                <a:gd name="T26" fmla="*/ 162 w 165"/>
                <a:gd name="T27" fmla="*/ 4 h 250"/>
                <a:gd name="T28" fmla="*/ 140 w 165"/>
                <a:gd name="T29" fmla="*/ 4 h 250"/>
                <a:gd name="T30" fmla="*/ 137 w 165"/>
                <a:gd name="T31" fmla="*/ 7 h 250"/>
                <a:gd name="T32" fmla="*/ 137 w 165"/>
                <a:gd name="T33" fmla="*/ 21 h 250"/>
                <a:gd name="T34" fmla="*/ 99 w 165"/>
                <a:gd name="T35" fmla="*/ 0 h 250"/>
                <a:gd name="T36" fmla="*/ 96 w 165"/>
                <a:gd name="T37" fmla="*/ 3 h 250"/>
                <a:gd name="T38" fmla="*/ 96 w 165"/>
                <a:gd name="T39" fmla="*/ 28 h 250"/>
                <a:gd name="T40" fmla="*/ 97 w 165"/>
                <a:gd name="T41" fmla="*/ 31 h 250"/>
                <a:gd name="T42" fmla="*/ 138 w 165"/>
                <a:gd name="T43" fmla="*/ 87 h 250"/>
                <a:gd name="T44" fmla="*/ 83 w 165"/>
                <a:gd name="T45" fmla="*/ 146 h 250"/>
                <a:gd name="T46" fmla="*/ 29 w 165"/>
                <a:gd name="T47" fmla="*/ 87 h 250"/>
                <a:gd name="T48" fmla="*/ 68 w 165"/>
                <a:gd name="T49" fmla="*/ 31 h 250"/>
                <a:gd name="T50" fmla="*/ 70 w 165"/>
                <a:gd name="T51" fmla="*/ 29 h 250"/>
                <a:gd name="T52" fmla="*/ 70 w 165"/>
                <a:gd name="T53" fmla="*/ 3 h 250"/>
                <a:gd name="T54" fmla="*/ 67 w 165"/>
                <a:gd name="T55" fmla="*/ 0 h 250"/>
                <a:gd name="T56" fmla="*/ 67 w 165"/>
                <a:gd name="T57"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5" h="250">
                  <a:moveTo>
                    <a:pt x="67" y="0"/>
                  </a:moveTo>
                  <a:cubicBezTo>
                    <a:pt x="29" y="8"/>
                    <a:pt x="0" y="44"/>
                    <a:pt x="0" y="86"/>
                  </a:cubicBezTo>
                  <a:cubicBezTo>
                    <a:pt x="0" y="135"/>
                    <a:pt x="37" y="174"/>
                    <a:pt x="82" y="174"/>
                  </a:cubicBezTo>
                  <a:cubicBezTo>
                    <a:pt x="103" y="174"/>
                    <a:pt x="122" y="166"/>
                    <a:pt x="137" y="152"/>
                  </a:cubicBezTo>
                  <a:cubicBezTo>
                    <a:pt x="137" y="173"/>
                    <a:pt x="137" y="173"/>
                    <a:pt x="137" y="173"/>
                  </a:cubicBezTo>
                  <a:cubicBezTo>
                    <a:pt x="137" y="205"/>
                    <a:pt x="120" y="222"/>
                    <a:pt x="89" y="222"/>
                  </a:cubicBezTo>
                  <a:cubicBezTo>
                    <a:pt x="66" y="222"/>
                    <a:pt x="52" y="213"/>
                    <a:pt x="48" y="194"/>
                  </a:cubicBezTo>
                  <a:cubicBezTo>
                    <a:pt x="47" y="192"/>
                    <a:pt x="46" y="190"/>
                    <a:pt x="43" y="190"/>
                  </a:cubicBezTo>
                  <a:cubicBezTo>
                    <a:pt x="24" y="190"/>
                    <a:pt x="24" y="190"/>
                    <a:pt x="24" y="190"/>
                  </a:cubicBezTo>
                  <a:cubicBezTo>
                    <a:pt x="21" y="190"/>
                    <a:pt x="19" y="192"/>
                    <a:pt x="19" y="195"/>
                  </a:cubicBezTo>
                  <a:cubicBezTo>
                    <a:pt x="22" y="228"/>
                    <a:pt x="51" y="250"/>
                    <a:pt x="89" y="250"/>
                  </a:cubicBezTo>
                  <a:cubicBezTo>
                    <a:pt x="135" y="250"/>
                    <a:pt x="165" y="219"/>
                    <a:pt x="165" y="174"/>
                  </a:cubicBezTo>
                  <a:cubicBezTo>
                    <a:pt x="165" y="7"/>
                    <a:pt x="165" y="7"/>
                    <a:pt x="165" y="7"/>
                  </a:cubicBezTo>
                  <a:cubicBezTo>
                    <a:pt x="165" y="5"/>
                    <a:pt x="164" y="4"/>
                    <a:pt x="162" y="4"/>
                  </a:cubicBezTo>
                  <a:cubicBezTo>
                    <a:pt x="140" y="4"/>
                    <a:pt x="140" y="4"/>
                    <a:pt x="140" y="4"/>
                  </a:cubicBezTo>
                  <a:cubicBezTo>
                    <a:pt x="138" y="4"/>
                    <a:pt x="137" y="5"/>
                    <a:pt x="137" y="7"/>
                  </a:cubicBezTo>
                  <a:cubicBezTo>
                    <a:pt x="137" y="21"/>
                    <a:pt x="137" y="21"/>
                    <a:pt x="137" y="21"/>
                  </a:cubicBezTo>
                  <a:cubicBezTo>
                    <a:pt x="126" y="11"/>
                    <a:pt x="113" y="4"/>
                    <a:pt x="99" y="0"/>
                  </a:cubicBezTo>
                  <a:cubicBezTo>
                    <a:pt x="97" y="0"/>
                    <a:pt x="96" y="1"/>
                    <a:pt x="96" y="3"/>
                  </a:cubicBezTo>
                  <a:cubicBezTo>
                    <a:pt x="96" y="28"/>
                    <a:pt x="96" y="28"/>
                    <a:pt x="96" y="28"/>
                  </a:cubicBezTo>
                  <a:cubicBezTo>
                    <a:pt x="96" y="29"/>
                    <a:pt x="96" y="30"/>
                    <a:pt x="97" y="31"/>
                  </a:cubicBezTo>
                  <a:cubicBezTo>
                    <a:pt x="121" y="37"/>
                    <a:pt x="138" y="60"/>
                    <a:pt x="138" y="87"/>
                  </a:cubicBezTo>
                  <a:cubicBezTo>
                    <a:pt x="138" y="119"/>
                    <a:pt x="114" y="146"/>
                    <a:pt x="83" y="146"/>
                  </a:cubicBezTo>
                  <a:cubicBezTo>
                    <a:pt x="53" y="146"/>
                    <a:pt x="29" y="119"/>
                    <a:pt x="29" y="87"/>
                  </a:cubicBezTo>
                  <a:cubicBezTo>
                    <a:pt x="29" y="61"/>
                    <a:pt x="45" y="38"/>
                    <a:pt x="68" y="31"/>
                  </a:cubicBezTo>
                  <a:cubicBezTo>
                    <a:pt x="69" y="31"/>
                    <a:pt x="70" y="30"/>
                    <a:pt x="70" y="29"/>
                  </a:cubicBezTo>
                  <a:cubicBezTo>
                    <a:pt x="70" y="3"/>
                    <a:pt x="70" y="3"/>
                    <a:pt x="70" y="3"/>
                  </a:cubicBezTo>
                  <a:cubicBezTo>
                    <a:pt x="70" y="1"/>
                    <a:pt x="69" y="0"/>
                    <a:pt x="67" y="0"/>
                  </a:cubicBezTo>
                  <a:cubicBezTo>
                    <a:pt x="67" y="0"/>
                    <a:pt x="67" y="0"/>
                    <a:pt x="6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a:p>
          </p:txBody>
        </p:sp>
        <p:sp>
          <p:nvSpPr>
            <p:cNvPr id="28" name="Oval 11">
              <a:extLst>
                <a:ext uri="{FF2B5EF4-FFF2-40B4-BE49-F238E27FC236}">
                  <a16:creationId xmlns:a16="http://schemas.microsoft.com/office/drawing/2014/main" id="{67E362B8-97A1-4111-B148-BAE052A1BFA3}"/>
                </a:ext>
              </a:extLst>
            </p:cNvPr>
            <p:cNvSpPr>
              <a:spLocks noChangeArrowheads="1"/>
            </p:cNvSpPr>
            <p:nvPr/>
          </p:nvSpPr>
          <p:spPr bwMode="auto">
            <a:xfrm>
              <a:off x="284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a:p>
          </p:txBody>
        </p:sp>
        <p:sp>
          <p:nvSpPr>
            <p:cNvPr id="29" name="Oval 12">
              <a:extLst>
                <a:ext uri="{FF2B5EF4-FFF2-40B4-BE49-F238E27FC236}">
                  <a16:creationId xmlns:a16="http://schemas.microsoft.com/office/drawing/2014/main" id="{4301693B-28CB-4C5D-8F2B-69A579B76B99}"/>
                </a:ext>
              </a:extLst>
            </p:cNvPr>
            <p:cNvSpPr>
              <a:spLocks noChangeArrowheads="1"/>
            </p:cNvSpPr>
            <p:nvPr/>
          </p:nvSpPr>
          <p:spPr bwMode="auto">
            <a:xfrm>
              <a:off x="387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a:p>
          </p:txBody>
        </p:sp>
        <p:sp>
          <p:nvSpPr>
            <p:cNvPr id="30" name="Freeform 13">
              <a:extLst>
                <a:ext uri="{FF2B5EF4-FFF2-40B4-BE49-F238E27FC236}">
                  <a16:creationId xmlns:a16="http://schemas.microsoft.com/office/drawing/2014/main" id="{52D918BE-ADC1-4568-88E2-AF8C3F391F00}"/>
                </a:ext>
              </a:extLst>
            </p:cNvPr>
            <p:cNvSpPr>
              <a:spLocks/>
            </p:cNvSpPr>
            <p:nvPr/>
          </p:nvSpPr>
          <p:spPr bwMode="auto">
            <a:xfrm>
              <a:off x="4062" y="1584"/>
              <a:ext cx="242" cy="462"/>
            </a:xfrm>
            <a:custGeom>
              <a:avLst/>
              <a:gdLst>
                <a:gd name="T0" fmla="*/ 39 w 128"/>
                <a:gd name="T1" fmla="*/ 55 h 244"/>
                <a:gd name="T2" fmla="*/ 39 w 128"/>
                <a:gd name="T3" fmla="*/ 76 h 244"/>
                <a:gd name="T4" fmla="*/ 4 w 128"/>
                <a:gd name="T5" fmla="*/ 76 h 244"/>
                <a:gd name="T6" fmla="*/ 0 w 128"/>
                <a:gd name="T7" fmla="*/ 81 h 244"/>
                <a:gd name="T8" fmla="*/ 0 w 128"/>
                <a:gd name="T9" fmla="*/ 99 h 244"/>
                <a:gd name="T10" fmla="*/ 4 w 128"/>
                <a:gd name="T11" fmla="*/ 103 h 244"/>
                <a:gd name="T12" fmla="*/ 39 w 128"/>
                <a:gd name="T13" fmla="*/ 103 h 244"/>
                <a:gd name="T14" fmla="*/ 39 w 128"/>
                <a:gd name="T15" fmla="*/ 239 h 244"/>
                <a:gd name="T16" fmla="*/ 44 w 128"/>
                <a:gd name="T17" fmla="*/ 244 h 244"/>
                <a:gd name="T18" fmla="*/ 62 w 128"/>
                <a:gd name="T19" fmla="*/ 244 h 244"/>
                <a:gd name="T20" fmla="*/ 67 w 128"/>
                <a:gd name="T21" fmla="*/ 239 h 244"/>
                <a:gd name="T22" fmla="*/ 67 w 128"/>
                <a:gd name="T23" fmla="*/ 103 h 244"/>
                <a:gd name="T24" fmla="*/ 120 w 128"/>
                <a:gd name="T25" fmla="*/ 103 h 244"/>
                <a:gd name="T26" fmla="*/ 125 w 128"/>
                <a:gd name="T27" fmla="*/ 99 h 244"/>
                <a:gd name="T28" fmla="*/ 125 w 128"/>
                <a:gd name="T29" fmla="*/ 81 h 244"/>
                <a:gd name="T30" fmla="*/ 120 w 128"/>
                <a:gd name="T31" fmla="*/ 76 h 244"/>
                <a:gd name="T32" fmla="*/ 67 w 128"/>
                <a:gd name="T33" fmla="*/ 76 h 244"/>
                <a:gd name="T34" fmla="*/ 67 w 128"/>
                <a:gd name="T35" fmla="*/ 55 h 244"/>
                <a:gd name="T36" fmla="*/ 91 w 128"/>
                <a:gd name="T37" fmla="*/ 27 h 244"/>
                <a:gd name="T38" fmla="*/ 122 w 128"/>
                <a:gd name="T39" fmla="*/ 37 h 244"/>
                <a:gd name="T40" fmla="*/ 125 w 128"/>
                <a:gd name="T41" fmla="*/ 38 h 244"/>
                <a:gd name="T42" fmla="*/ 128 w 128"/>
                <a:gd name="T43" fmla="*/ 33 h 244"/>
                <a:gd name="T44" fmla="*/ 128 w 128"/>
                <a:gd name="T45" fmla="*/ 16 h 244"/>
                <a:gd name="T46" fmla="*/ 125 w 128"/>
                <a:gd name="T47" fmla="*/ 9 h 244"/>
                <a:gd name="T48" fmla="*/ 89 w 128"/>
                <a:gd name="T49" fmla="*/ 0 h 244"/>
                <a:gd name="T50" fmla="*/ 39 w 128"/>
                <a:gd name="T51" fmla="*/ 5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244">
                  <a:moveTo>
                    <a:pt x="39" y="55"/>
                  </a:moveTo>
                  <a:cubicBezTo>
                    <a:pt x="39" y="76"/>
                    <a:pt x="39" y="76"/>
                    <a:pt x="39" y="76"/>
                  </a:cubicBezTo>
                  <a:cubicBezTo>
                    <a:pt x="4" y="76"/>
                    <a:pt x="4" y="76"/>
                    <a:pt x="4" y="76"/>
                  </a:cubicBezTo>
                  <a:cubicBezTo>
                    <a:pt x="1" y="76"/>
                    <a:pt x="0" y="78"/>
                    <a:pt x="0" y="81"/>
                  </a:cubicBezTo>
                  <a:cubicBezTo>
                    <a:pt x="0" y="99"/>
                    <a:pt x="0" y="99"/>
                    <a:pt x="0" y="99"/>
                  </a:cubicBezTo>
                  <a:cubicBezTo>
                    <a:pt x="0" y="102"/>
                    <a:pt x="1" y="103"/>
                    <a:pt x="4" y="103"/>
                  </a:cubicBezTo>
                  <a:cubicBezTo>
                    <a:pt x="39" y="103"/>
                    <a:pt x="39" y="103"/>
                    <a:pt x="39" y="103"/>
                  </a:cubicBezTo>
                  <a:cubicBezTo>
                    <a:pt x="39" y="239"/>
                    <a:pt x="39" y="239"/>
                    <a:pt x="39" y="239"/>
                  </a:cubicBezTo>
                  <a:cubicBezTo>
                    <a:pt x="39" y="242"/>
                    <a:pt x="41" y="244"/>
                    <a:pt x="44" y="244"/>
                  </a:cubicBezTo>
                  <a:cubicBezTo>
                    <a:pt x="62" y="244"/>
                    <a:pt x="62" y="244"/>
                    <a:pt x="62" y="244"/>
                  </a:cubicBezTo>
                  <a:cubicBezTo>
                    <a:pt x="65" y="244"/>
                    <a:pt x="67" y="242"/>
                    <a:pt x="67" y="239"/>
                  </a:cubicBezTo>
                  <a:cubicBezTo>
                    <a:pt x="67" y="103"/>
                    <a:pt x="67" y="103"/>
                    <a:pt x="67" y="103"/>
                  </a:cubicBezTo>
                  <a:cubicBezTo>
                    <a:pt x="120" y="103"/>
                    <a:pt x="120" y="103"/>
                    <a:pt x="120" y="103"/>
                  </a:cubicBezTo>
                  <a:cubicBezTo>
                    <a:pt x="123" y="103"/>
                    <a:pt x="125" y="102"/>
                    <a:pt x="125" y="99"/>
                  </a:cubicBezTo>
                  <a:cubicBezTo>
                    <a:pt x="125" y="81"/>
                    <a:pt x="125" y="81"/>
                    <a:pt x="125" y="81"/>
                  </a:cubicBezTo>
                  <a:cubicBezTo>
                    <a:pt x="125" y="78"/>
                    <a:pt x="123" y="76"/>
                    <a:pt x="120" y="76"/>
                  </a:cubicBezTo>
                  <a:cubicBezTo>
                    <a:pt x="67" y="76"/>
                    <a:pt x="67" y="76"/>
                    <a:pt x="67" y="76"/>
                  </a:cubicBezTo>
                  <a:cubicBezTo>
                    <a:pt x="67" y="55"/>
                    <a:pt x="67" y="55"/>
                    <a:pt x="67" y="55"/>
                  </a:cubicBezTo>
                  <a:cubicBezTo>
                    <a:pt x="67" y="38"/>
                    <a:pt x="76" y="27"/>
                    <a:pt x="91" y="27"/>
                  </a:cubicBezTo>
                  <a:cubicBezTo>
                    <a:pt x="102" y="27"/>
                    <a:pt x="110" y="30"/>
                    <a:pt x="122" y="37"/>
                  </a:cubicBezTo>
                  <a:cubicBezTo>
                    <a:pt x="123" y="38"/>
                    <a:pt x="124" y="38"/>
                    <a:pt x="125" y="38"/>
                  </a:cubicBezTo>
                  <a:cubicBezTo>
                    <a:pt x="127" y="38"/>
                    <a:pt x="128" y="36"/>
                    <a:pt x="128" y="33"/>
                  </a:cubicBezTo>
                  <a:cubicBezTo>
                    <a:pt x="128" y="16"/>
                    <a:pt x="128" y="16"/>
                    <a:pt x="128" y="16"/>
                  </a:cubicBezTo>
                  <a:cubicBezTo>
                    <a:pt x="128" y="13"/>
                    <a:pt x="128" y="11"/>
                    <a:pt x="125" y="9"/>
                  </a:cubicBezTo>
                  <a:cubicBezTo>
                    <a:pt x="114" y="3"/>
                    <a:pt x="103" y="0"/>
                    <a:pt x="89" y="0"/>
                  </a:cubicBezTo>
                  <a:cubicBezTo>
                    <a:pt x="54" y="0"/>
                    <a:pt x="39" y="29"/>
                    <a:pt x="39"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a:p>
          </p:txBody>
        </p:sp>
        <p:sp>
          <p:nvSpPr>
            <p:cNvPr id="31" name="Freeform 14">
              <a:extLst>
                <a:ext uri="{FF2B5EF4-FFF2-40B4-BE49-F238E27FC236}">
                  <a16:creationId xmlns:a16="http://schemas.microsoft.com/office/drawing/2014/main" id="{C865BE1B-431D-42EE-838F-6181568C2DEC}"/>
                </a:ext>
              </a:extLst>
            </p:cNvPr>
            <p:cNvSpPr>
              <a:spLocks/>
            </p:cNvSpPr>
            <p:nvPr/>
          </p:nvSpPr>
          <p:spPr bwMode="auto">
            <a:xfrm>
              <a:off x="2071" y="1578"/>
              <a:ext cx="632" cy="631"/>
            </a:xfrm>
            <a:custGeom>
              <a:avLst/>
              <a:gdLst>
                <a:gd name="T0" fmla="*/ 181 w 334"/>
                <a:gd name="T1" fmla="*/ 1 h 333"/>
                <a:gd name="T2" fmla="*/ 180 w 334"/>
                <a:gd name="T3" fmla="*/ 4 h 333"/>
                <a:gd name="T4" fmla="*/ 180 w 334"/>
                <a:gd name="T5" fmla="*/ 26 h 333"/>
                <a:gd name="T6" fmla="*/ 180 w 334"/>
                <a:gd name="T7" fmla="*/ 26 h 333"/>
                <a:gd name="T8" fmla="*/ 182 w 334"/>
                <a:gd name="T9" fmla="*/ 28 h 333"/>
                <a:gd name="T10" fmla="*/ 306 w 334"/>
                <a:gd name="T11" fmla="*/ 166 h 333"/>
                <a:gd name="T12" fmla="*/ 167 w 334"/>
                <a:gd name="T13" fmla="*/ 305 h 333"/>
                <a:gd name="T14" fmla="*/ 28 w 334"/>
                <a:gd name="T15" fmla="*/ 166 h 333"/>
                <a:gd name="T16" fmla="*/ 152 w 334"/>
                <a:gd name="T17" fmla="*/ 28 h 333"/>
                <a:gd name="T18" fmla="*/ 154 w 334"/>
                <a:gd name="T19" fmla="*/ 26 h 333"/>
                <a:gd name="T20" fmla="*/ 154 w 334"/>
                <a:gd name="T21" fmla="*/ 26 h 333"/>
                <a:gd name="T22" fmla="*/ 154 w 334"/>
                <a:gd name="T23" fmla="*/ 4 h 333"/>
                <a:gd name="T24" fmla="*/ 153 w 334"/>
                <a:gd name="T25" fmla="*/ 1 h 333"/>
                <a:gd name="T26" fmla="*/ 150 w 334"/>
                <a:gd name="T27" fmla="*/ 0 h 333"/>
                <a:gd name="T28" fmla="*/ 149 w 334"/>
                <a:gd name="T29" fmla="*/ 0 h 333"/>
                <a:gd name="T30" fmla="*/ 149 w 334"/>
                <a:gd name="T31" fmla="*/ 0 h 333"/>
                <a:gd name="T32" fmla="*/ 0 w 334"/>
                <a:gd name="T33" fmla="*/ 166 h 333"/>
                <a:gd name="T34" fmla="*/ 167 w 334"/>
                <a:gd name="T35" fmla="*/ 333 h 333"/>
                <a:gd name="T36" fmla="*/ 334 w 334"/>
                <a:gd name="T37" fmla="*/ 166 h 333"/>
                <a:gd name="T38" fmla="*/ 185 w 334"/>
                <a:gd name="T39" fmla="*/ 0 h 333"/>
                <a:gd name="T40" fmla="*/ 185 w 334"/>
                <a:gd name="T41" fmla="*/ 0 h 333"/>
                <a:gd name="T42" fmla="*/ 184 w 334"/>
                <a:gd name="T43" fmla="*/ 0 h 333"/>
                <a:gd name="T44" fmla="*/ 181 w 334"/>
                <a:gd name="T45" fmla="*/ 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4" h="333">
                  <a:moveTo>
                    <a:pt x="181" y="1"/>
                  </a:moveTo>
                  <a:cubicBezTo>
                    <a:pt x="180" y="2"/>
                    <a:pt x="180" y="3"/>
                    <a:pt x="180" y="4"/>
                  </a:cubicBezTo>
                  <a:cubicBezTo>
                    <a:pt x="180" y="26"/>
                    <a:pt x="180" y="26"/>
                    <a:pt x="180" y="26"/>
                  </a:cubicBezTo>
                  <a:cubicBezTo>
                    <a:pt x="180" y="26"/>
                    <a:pt x="180" y="26"/>
                    <a:pt x="180" y="26"/>
                  </a:cubicBezTo>
                  <a:cubicBezTo>
                    <a:pt x="180" y="27"/>
                    <a:pt x="181" y="28"/>
                    <a:pt x="182" y="28"/>
                  </a:cubicBezTo>
                  <a:cubicBezTo>
                    <a:pt x="251" y="35"/>
                    <a:pt x="306" y="94"/>
                    <a:pt x="306" y="166"/>
                  </a:cubicBezTo>
                  <a:cubicBezTo>
                    <a:pt x="306" y="243"/>
                    <a:pt x="244" y="305"/>
                    <a:pt x="167" y="305"/>
                  </a:cubicBezTo>
                  <a:cubicBezTo>
                    <a:pt x="90" y="305"/>
                    <a:pt x="28" y="243"/>
                    <a:pt x="28" y="166"/>
                  </a:cubicBezTo>
                  <a:cubicBezTo>
                    <a:pt x="28" y="94"/>
                    <a:pt x="82" y="35"/>
                    <a:pt x="152" y="28"/>
                  </a:cubicBezTo>
                  <a:cubicBezTo>
                    <a:pt x="153" y="28"/>
                    <a:pt x="154" y="27"/>
                    <a:pt x="154" y="26"/>
                  </a:cubicBezTo>
                  <a:cubicBezTo>
                    <a:pt x="154" y="26"/>
                    <a:pt x="154" y="26"/>
                    <a:pt x="154" y="26"/>
                  </a:cubicBezTo>
                  <a:cubicBezTo>
                    <a:pt x="154" y="4"/>
                    <a:pt x="154" y="4"/>
                    <a:pt x="154" y="4"/>
                  </a:cubicBezTo>
                  <a:cubicBezTo>
                    <a:pt x="154" y="3"/>
                    <a:pt x="154" y="2"/>
                    <a:pt x="153" y="1"/>
                  </a:cubicBezTo>
                  <a:cubicBezTo>
                    <a:pt x="152" y="0"/>
                    <a:pt x="151" y="0"/>
                    <a:pt x="150" y="0"/>
                  </a:cubicBezTo>
                  <a:cubicBezTo>
                    <a:pt x="149" y="0"/>
                    <a:pt x="149" y="0"/>
                    <a:pt x="149" y="0"/>
                  </a:cubicBezTo>
                  <a:cubicBezTo>
                    <a:pt x="149" y="0"/>
                    <a:pt x="149" y="0"/>
                    <a:pt x="149" y="0"/>
                  </a:cubicBezTo>
                  <a:cubicBezTo>
                    <a:pt x="65" y="9"/>
                    <a:pt x="0" y="80"/>
                    <a:pt x="0" y="166"/>
                  </a:cubicBezTo>
                  <a:cubicBezTo>
                    <a:pt x="0" y="258"/>
                    <a:pt x="75" y="333"/>
                    <a:pt x="167" y="333"/>
                  </a:cubicBezTo>
                  <a:cubicBezTo>
                    <a:pt x="259" y="333"/>
                    <a:pt x="334" y="258"/>
                    <a:pt x="334" y="166"/>
                  </a:cubicBezTo>
                  <a:cubicBezTo>
                    <a:pt x="334" y="80"/>
                    <a:pt x="269" y="9"/>
                    <a:pt x="185" y="0"/>
                  </a:cubicBezTo>
                  <a:cubicBezTo>
                    <a:pt x="185" y="0"/>
                    <a:pt x="185" y="0"/>
                    <a:pt x="185" y="0"/>
                  </a:cubicBezTo>
                  <a:cubicBezTo>
                    <a:pt x="185" y="0"/>
                    <a:pt x="184" y="0"/>
                    <a:pt x="184" y="0"/>
                  </a:cubicBezTo>
                  <a:cubicBezTo>
                    <a:pt x="183" y="0"/>
                    <a:pt x="182" y="0"/>
                    <a:pt x="18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a:p>
          </p:txBody>
        </p:sp>
      </p:grpSp>
      <p:grpSp>
        <p:nvGrpSpPr>
          <p:cNvPr id="19" name="Group 4">
            <a:extLst>
              <a:ext uri="{FF2B5EF4-FFF2-40B4-BE49-F238E27FC236}">
                <a16:creationId xmlns:a16="http://schemas.microsoft.com/office/drawing/2014/main" id="{05E0F7A9-6172-48A5-AD4C-54A3A3C655F4}"/>
              </a:ext>
            </a:extLst>
          </p:cNvPr>
          <p:cNvGrpSpPr>
            <a:grpSpLocks noChangeAspect="1"/>
          </p:cNvGrpSpPr>
          <p:nvPr/>
        </p:nvGrpSpPr>
        <p:grpSpPr bwMode="auto">
          <a:xfrm>
            <a:off x="11179123" y="6332830"/>
            <a:ext cx="607829" cy="148182"/>
            <a:chOff x="2071" y="1578"/>
            <a:chExt cx="2587" cy="631"/>
          </a:xfrm>
          <a:gradFill>
            <a:gsLst>
              <a:gs pos="50000">
                <a:srgbClr val="00E487"/>
              </a:gs>
              <a:gs pos="100000">
                <a:srgbClr val="1ECBD0"/>
              </a:gs>
            </a:gsLst>
            <a:lin ang="18900000" scaled="0"/>
          </a:gradFill>
        </p:grpSpPr>
        <p:sp>
          <p:nvSpPr>
            <p:cNvPr id="21" name="Freeform 5">
              <a:extLst>
                <a:ext uri="{FF2B5EF4-FFF2-40B4-BE49-F238E27FC236}">
                  <a16:creationId xmlns:a16="http://schemas.microsoft.com/office/drawing/2014/main" id="{528284BF-4F12-413A-86DA-CC7EA9F51F4E}"/>
                </a:ext>
              </a:extLst>
            </p:cNvPr>
            <p:cNvSpPr>
              <a:spLocks/>
            </p:cNvSpPr>
            <p:nvPr/>
          </p:nvSpPr>
          <p:spPr bwMode="auto">
            <a:xfrm>
              <a:off x="2765" y="1728"/>
              <a:ext cx="244" cy="318"/>
            </a:xfrm>
            <a:custGeom>
              <a:avLst/>
              <a:gdLst>
                <a:gd name="T0" fmla="*/ 12 w 129"/>
                <a:gd name="T1" fmla="*/ 0 h 168"/>
                <a:gd name="T2" fmla="*/ 8 w 129"/>
                <a:gd name="T3" fmla="*/ 4 h 168"/>
                <a:gd name="T4" fmla="*/ 8 w 129"/>
                <a:gd name="T5" fmla="*/ 25 h 168"/>
                <a:gd name="T6" fmla="*/ 12 w 129"/>
                <a:gd name="T7" fmla="*/ 29 h 168"/>
                <a:gd name="T8" fmla="*/ 48 w 129"/>
                <a:gd name="T9" fmla="*/ 29 h 168"/>
                <a:gd name="T10" fmla="*/ 48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2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2" y="0"/>
                  </a:moveTo>
                  <a:cubicBezTo>
                    <a:pt x="9" y="0"/>
                    <a:pt x="8" y="1"/>
                    <a:pt x="8" y="4"/>
                  </a:cubicBezTo>
                  <a:cubicBezTo>
                    <a:pt x="8" y="25"/>
                    <a:pt x="8" y="25"/>
                    <a:pt x="8" y="25"/>
                  </a:cubicBezTo>
                  <a:cubicBezTo>
                    <a:pt x="8" y="27"/>
                    <a:pt x="9" y="29"/>
                    <a:pt x="12" y="29"/>
                  </a:cubicBezTo>
                  <a:cubicBezTo>
                    <a:pt x="48" y="29"/>
                    <a:pt x="48" y="29"/>
                    <a:pt x="48" y="29"/>
                  </a:cubicBezTo>
                  <a:cubicBezTo>
                    <a:pt x="48" y="140"/>
                    <a:pt x="48" y="140"/>
                    <a:pt x="48"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8" y="140"/>
                    <a:pt x="125" y="140"/>
                  </a:cubicBezTo>
                  <a:cubicBezTo>
                    <a:pt x="76" y="140"/>
                    <a:pt x="76" y="140"/>
                    <a:pt x="76" y="140"/>
                  </a:cubicBezTo>
                  <a:cubicBezTo>
                    <a:pt x="76" y="4"/>
                    <a:pt x="76" y="4"/>
                    <a:pt x="76" y="4"/>
                  </a:cubicBezTo>
                  <a:cubicBezTo>
                    <a:pt x="76" y="1"/>
                    <a:pt x="75" y="0"/>
                    <a:pt x="72" y="0"/>
                  </a:cubicBez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a:p>
          </p:txBody>
        </p:sp>
        <p:sp>
          <p:nvSpPr>
            <p:cNvPr id="32" name="Freeform 6">
              <a:extLst>
                <a:ext uri="{FF2B5EF4-FFF2-40B4-BE49-F238E27FC236}">
                  <a16:creationId xmlns:a16="http://schemas.microsoft.com/office/drawing/2014/main" id="{264D5267-B04F-47DF-8D4E-6E63B30D8240}"/>
                </a:ext>
              </a:extLst>
            </p:cNvPr>
            <p:cNvSpPr>
              <a:spLocks/>
            </p:cNvSpPr>
            <p:nvPr/>
          </p:nvSpPr>
          <p:spPr bwMode="auto">
            <a:xfrm>
              <a:off x="3798" y="1728"/>
              <a:ext cx="244" cy="318"/>
            </a:xfrm>
            <a:custGeom>
              <a:avLst/>
              <a:gdLst>
                <a:gd name="T0" fmla="*/ 11 w 129"/>
                <a:gd name="T1" fmla="*/ 0 h 168"/>
                <a:gd name="T2" fmla="*/ 8 w 129"/>
                <a:gd name="T3" fmla="*/ 4 h 168"/>
                <a:gd name="T4" fmla="*/ 8 w 129"/>
                <a:gd name="T5" fmla="*/ 25 h 168"/>
                <a:gd name="T6" fmla="*/ 11 w 129"/>
                <a:gd name="T7" fmla="*/ 29 h 168"/>
                <a:gd name="T8" fmla="*/ 47 w 129"/>
                <a:gd name="T9" fmla="*/ 29 h 168"/>
                <a:gd name="T10" fmla="*/ 47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1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1" y="0"/>
                  </a:moveTo>
                  <a:cubicBezTo>
                    <a:pt x="9" y="0"/>
                    <a:pt x="8" y="1"/>
                    <a:pt x="8" y="4"/>
                  </a:cubicBezTo>
                  <a:cubicBezTo>
                    <a:pt x="8" y="25"/>
                    <a:pt x="8" y="25"/>
                    <a:pt x="8" y="25"/>
                  </a:cubicBezTo>
                  <a:cubicBezTo>
                    <a:pt x="8" y="27"/>
                    <a:pt x="9" y="29"/>
                    <a:pt x="11" y="29"/>
                  </a:cubicBezTo>
                  <a:cubicBezTo>
                    <a:pt x="47" y="29"/>
                    <a:pt x="47" y="29"/>
                    <a:pt x="47" y="29"/>
                  </a:cubicBezTo>
                  <a:cubicBezTo>
                    <a:pt x="47" y="140"/>
                    <a:pt x="47" y="140"/>
                    <a:pt x="47"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7" y="140"/>
                    <a:pt x="125" y="140"/>
                  </a:cubicBezTo>
                  <a:cubicBezTo>
                    <a:pt x="76" y="140"/>
                    <a:pt x="76" y="140"/>
                    <a:pt x="76" y="140"/>
                  </a:cubicBezTo>
                  <a:cubicBezTo>
                    <a:pt x="76" y="4"/>
                    <a:pt x="76" y="4"/>
                    <a:pt x="76" y="4"/>
                  </a:cubicBezTo>
                  <a:cubicBezTo>
                    <a:pt x="75" y="1"/>
                    <a:pt x="74" y="0"/>
                    <a:pt x="72" y="0"/>
                  </a:cubicBez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a:p>
          </p:txBody>
        </p:sp>
        <p:sp>
          <p:nvSpPr>
            <p:cNvPr id="33" name="Freeform 7">
              <a:extLst>
                <a:ext uri="{FF2B5EF4-FFF2-40B4-BE49-F238E27FC236}">
                  <a16:creationId xmlns:a16="http://schemas.microsoft.com/office/drawing/2014/main" id="{56DE7F25-AF2E-4D16-B5B0-FF04793D0331}"/>
                </a:ext>
              </a:extLst>
            </p:cNvPr>
            <p:cNvSpPr>
              <a:spLocks/>
            </p:cNvSpPr>
            <p:nvPr/>
          </p:nvSpPr>
          <p:spPr bwMode="auto">
            <a:xfrm>
              <a:off x="4361" y="1728"/>
              <a:ext cx="297" cy="464"/>
            </a:xfrm>
            <a:custGeom>
              <a:avLst/>
              <a:gdLst>
                <a:gd name="T0" fmla="*/ 132 w 157"/>
                <a:gd name="T1" fmla="*/ 0 h 245"/>
                <a:gd name="T2" fmla="*/ 127 w 157"/>
                <a:gd name="T3" fmla="*/ 3 h 245"/>
                <a:gd name="T4" fmla="*/ 127 w 157"/>
                <a:gd name="T5" fmla="*/ 3 h 245"/>
                <a:gd name="T6" fmla="*/ 79 w 157"/>
                <a:gd name="T7" fmla="*/ 128 h 245"/>
                <a:gd name="T8" fmla="*/ 30 w 157"/>
                <a:gd name="T9" fmla="*/ 4 h 245"/>
                <a:gd name="T10" fmla="*/ 25 w 157"/>
                <a:gd name="T11" fmla="*/ 0 h 245"/>
                <a:gd name="T12" fmla="*/ 4 w 157"/>
                <a:gd name="T13" fmla="*/ 0 h 245"/>
                <a:gd name="T14" fmla="*/ 0 w 157"/>
                <a:gd name="T15" fmla="*/ 3 h 245"/>
                <a:gd name="T16" fmla="*/ 1 w 157"/>
                <a:gd name="T17" fmla="*/ 6 h 245"/>
                <a:gd name="T18" fmla="*/ 1 w 157"/>
                <a:gd name="T19" fmla="*/ 6 h 245"/>
                <a:gd name="T20" fmla="*/ 1 w 157"/>
                <a:gd name="T21" fmla="*/ 6 h 245"/>
                <a:gd name="T22" fmla="*/ 64 w 157"/>
                <a:gd name="T23" fmla="*/ 168 h 245"/>
                <a:gd name="T24" fmla="*/ 59 w 157"/>
                <a:gd name="T25" fmla="*/ 182 h 245"/>
                <a:gd name="T26" fmla="*/ 48 w 157"/>
                <a:gd name="T27" fmla="*/ 205 h 245"/>
                <a:gd name="T28" fmla="*/ 38 w 157"/>
                <a:gd name="T29" fmla="*/ 215 h 245"/>
                <a:gd name="T30" fmla="*/ 30 w 157"/>
                <a:gd name="T31" fmla="*/ 217 h 245"/>
                <a:gd name="T32" fmla="*/ 26 w 157"/>
                <a:gd name="T33" fmla="*/ 216 h 245"/>
                <a:gd name="T34" fmla="*/ 14 w 157"/>
                <a:gd name="T35" fmla="*/ 213 h 245"/>
                <a:gd name="T36" fmla="*/ 7 w 157"/>
                <a:gd name="T37" fmla="*/ 210 h 245"/>
                <a:gd name="T38" fmla="*/ 3 w 157"/>
                <a:gd name="T39" fmla="*/ 215 h 245"/>
                <a:gd name="T40" fmla="*/ 3 w 157"/>
                <a:gd name="T41" fmla="*/ 233 h 245"/>
                <a:gd name="T42" fmla="*/ 3 w 157"/>
                <a:gd name="T43" fmla="*/ 233 h 245"/>
                <a:gd name="T44" fmla="*/ 7 w 157"/>
                <a:gd name="T45" fmla="*/ 240 h 245"/>
                <a:gd name="T46" fmla="*/ 32 w 157"/>
                <a:gd name="T47" fmla="*/ 245 h 245"/>
                <a:gd name="T48" fmla="*/ 54 w 157"/>
                <a:gd name="T49" fmla="*/ 238 h 245"/>
                <a:gd name="T50" fmla="*/ 73 w 157"/>
                <a:gd name="T51" fmla="*/ 220 h 245"/>
                <a:gd name="T52" fmla="*/ 79 w 157"/>
                <a:gd name="T53" fmla="*/ 208 h 245"/>
                <a:gd name="T54" fmla="*/ 156 w 157"/>
                <a:gd name="T55" fmla="*/ 6 h 245"/>
                <a:gd name="T56" fmla="*/ 157 w 157"/>
                <a:gd name="T57" fmla="*/ 3 h 245"/>
                <a:gd name="T58" fmla="*/ 153 w 157"/>
                <a:gd name="T59" fmla="*/ 0 h 245"/>
                <a:gd name="T60" fmla="*/ 132 w 157"/>
                <a:gd name="T6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7" h="245">
                  <a:moveTo>
                    <a:pt x="132" y="0"/>
                  </a:moveTo>
                  <a:cubicBezTo>
                    <a:pt x="129" y="0"/>
                    <a:pt x="128" y="1"/>
                    <a:pt x="127" y="3"/>
                  </a:cubicBezTo>
                  <a:cubicBezTo>
                    <a:pt x="127" y="3"/>
                    <a:pt x="127" y="3"/>
                    <a:pt x="127" y="3"/>
                  </a:cubicBezTo>
                  <a:cubicBezTo>
                    <a:pt x="79" y="128"/>
                    <a:pt x="79" y="128"/>
                    <a:pt x="79" y="128"/>
                  </a:cubicBezTo>
                  <a:cubicBezTo>
                    <a:pt x="30" y="4"/>
                    <a:pt x="30" y="4"/>
                    <a:pt x="30" y="4"/>
                  </a:cubicBezTo>
                  <a:cubicBezTo>
                    <a:pt x="29" y="1"/>
                    <a:pt x="28" y="0"/>
                    <a:pt x="25" y="0"/>
                  </a:cubicBezTo>
                  <a:cubicBezTo>
                    <a:pt x="4" y="0"/>
                    <a:pt x="4" y="0"/>
                    <a:pt x="4" y="0"/>
                  </a:cubicBezTo>
                  <a:cubicBezTo>
                    <a:pt x="2" y="0"/>
                    <a:pt x="0" y="1"/>
                    <a:pt x="0" y="3"/>
                  </a:cubicBezTo>
                  <a:cubicBezTo>
                    <a:pt x="0" y="4"/>
                    <a:pt x="1" y="5"/>
                    <a:pt x="1" y="6"/>
                  </a:cubicBezTo>
                  <a:cubicBezTo>
                    <a:pt x="1" y="6"/>
                    <a:pt x="1" y="6"/>
                    <a:pt x="1" y="6"/>
                  </a:cubicBezTo>
                  <a:cubicBezTo>
                    <a:pt x="1" y="6"/>
                    <a:pt x="1" y="6"/>
                    <a:pt x="1" y="6"/>
                  </a:cubicBezTo>
                  <a:cubicBezTo>
                    <a:pt x="64" y="168"/>
                    <a:pt x="64" y="168"/>
                    <a:pt x="64" y="168"/>
                  </a:cubicBezTo>
                  <a:cubicBezTo>
                    <a:pt x="59" y="182"/>
                    <a:pt x="59" y="182"/>
                    <a:pt x="59" y="182"/>
                  </a:cubicBezTo>
                  <a:cubicBezTo>
                    <a:pt x="57" y="187"/>
                    <a:pt x="53" y="199"/>
                    <a:pt x="48" y="205"/>
                  </a:cubicBezTo>
                  <a:cubicBezTo>
                    <a:pt x="44" y="211"/>
                    <a:pt x="42" y="213"/>
                    <a:pt x="38" y="215"/>
                  </a:cubicBezTo>
                  <a:cubicBezTo>
                    <a:pt x="35" y="216"/>
                    <a:pt x="33" y="217"/>
                    <a:pt x="30" y="217"/>
                  </a:cubicBezTo>
                  <a:cubicBezTo>
                    <a:pt x="28" y="217"/>
                    <a:pt x="27" y="217"/>
                    <a:pt x="26" y="216"/>
                  </a:cubicBezTo>
                  <a:cubicBezTo>
                    <a:pt x="22" y="216"/>
                    <a:pt x="18" y="214"/>
                    <a:pt x="14" y="213"/>
                  </a:cubicBezTo>
                  <a:cubicBezTo>
                    <a:pt x="11" y="212"/>
                    <a:pt x="9" y="210"/>
                    <a:pt x="7" y="210"/>
                  </a:cubicBezTo>
                  <a:cubicBezTo>
                    <a:pt x="5" y="210"/>
                    <a:pt x="3" y="212"/>
                    <a:pt x="3" y="215"/>
                  </a:cubicBezTo>
                  <a:cubicBezTo>
                    <a:pt x="3" y="233"/>
                    <a:pt x="3" y="233"/>
                    <a:pt x="3" y="233"/>
                  </a:cubicBezTo>
                  <a:cubicBezTo>
                    <a:pt x="3" y="233"/>
                    <a:pt x="3" y="233"/>
                    <a:pt x="3" y="233"/>
                  </a:cubicBezTo>
                  <a:cubicBezTo>
                    <a:pt x="3" y="236"/>
                    <a:pt x="4" y="238"/>
                    <a:pt x="7" y="240"/>
                  </a:cubicBezTo>
                  <a:cubicBezTo>
                    <a:pt x="15" y="243"/>
                    <a:pt x="21" y="245"/>
                    <a:pt x="32" y="245"/>
                  </a:cubicBezTo>
                  <a:cubicBezTo>
                    <a:pt x="41" y="244"/>
                    <a:pt x="47" y="242"/>
                    <a:pt x="54" y="238"/>
                  </a:cubicBezTo>
                  <a:cubicBezTo>
                    <a:pt x="61" y="233"/>
                    <a:pt x="67" y="227"/>
                    <a:pt x="73" y="220"/>
                  </a:cubicBezTo>
                  <a:cubicBezTo>
                    <a:pt x="75" y="216"/>
                    <a:pt x="77" y="212"/>
                    <a:pt x="79" y="208"/>
                  </a:cubicBezTo>
                  <a:cubicBezTo>
                    <a:pt x="83" y="200"/>
                    <a:pt x="144" y="40"/>
                    <a:pt x="156" y="6"/>
                  </a:cubicBezTo>
                  <a:cubicBezTo>
                    <a:pt x="157" y="5"/>
                    <a:pt x="157" y="4"/>
                    <a:pt x="157" y="3"/>
                  </a:cubicBezTo>
                  <a:cubicBezTo>
                    <a:pt x="157" y="1"/>
                    <a:pt x="155" y="0"/>
                    <a:pt x="153" y="0"/>
                  </a:cubicBezTo>
                  <a:lnTo>
                    <a:pt x="1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a:p>
          </p:txBody>
        </p:sp>
        <p:sp>
          <p:nvSpPr>
            <p:cNvPr id="34" name="Freeform 8">
              <a:extLst>
                <a:ext uri="{FF2B5EF4-FFF2-40B4-BE49-F238E27FC236}">
                  <a16:creationId xmlns:a16="http://schemas.microsoft.com/office/drawing/2014/main" id="{5CCE5E25-3AA3-491F-8049-3F817D497319}"/>
                </a:ext>
              </a:extLst>
            </p:cNvPr>
            <p:cNvSpPr>
              <a:spLocks/>
            </p:cNvSpPr>
            <p:nvPr/>
          </p:nvSpPr>
          <p:spPr bwMode="auto">
            <a:xfrm>
              <a:off x="3457" y="1726"/>
              <a:ext cx="263" cy="322"/>
            </a:xfrm>
            <a:custGeom>
              <a:avLst/>
              <a:gdLst>
                <a:gd name="T0" fmla="*/ 28 w 139"/>
                <a:gd name="T1" fmla="*/ 21 h 170"/>
                <a:gd name="T2" fmla="*/ 28 w 139"/>
                <a:gd name="T3" fmla="*/ 6 h 170"/>
                <a:gd name="T4" fmla="*/ 25 w 139"/>
                <a:gd name="T5" fmla="*/ 3 h 170"/>
                <a:gd name="T6" fmla="*/ 4 w 139"/>
                <a:gd name="T7" fmla="*/ 3 h 170"/>
                <a:gd name="T8" fmla="*/ 0 w 139"/>
                <a:gd name="T9" fmla="*/ 6 h 170"/>
                <a:gd name="T10" fmla="*/ 0 w 139"/>
                <a:gd name="T11" fmla="*/ 167 h 170"/>
                <a:gd name="T12" fmla="*/ 4 w 139"/>
                <a:gd name="T13" fmla="*/ 170 h 170"/>
                <a:gd name="T14" fmla="*/ 25 w 139"/>
                <a:gd name="T15" fmla="*/ 170 h 170"/>
                <a:gd name="T16" fmla="*/ 28 w 139"/>
                <a:gd name="T17" fmla="*/ 167 h 170"/>
                <a:gd name="T18" fmla="*/ 28 w 139"/>
                <a:gd name="T19" fmla="*/ 68 h 170"/>
                <a:gd name="T20" fmla="*/ 70 w 139"/>
                <a:gd name="T21" fmla="*/ 28 h 170"/>
                <a:gd name="T22" fmla="*/ 111 w 139"/>
                <a:gd name="T23" fmla="*/ 68 h 170"/>
                <a:gd name="T24" fmla="*/ 111 w 139"/>
                <a:gd name="T25" fmla="*/ 167 h 170"/>
                <a:gd name="T26" fmla="*/ 111 w 139"/>
                <a:gd name="T27" fmla="*/ 167 h 170"/>
                <a:gd name="T28" fmla="*/ 114 w 139"/>
                <a:gd name="T29" fmla="*/ 170 h 170"/>
                <a:gd name="T30" fmla="*/ 136 w 139"/>
                <a:gd name="T31" fmla="*/ 170 h 170"/>
                <a:gd name="T32" fmla="*/ 139 w 139"/>
                <a:gd name="T33" fmla="*/ 167 h 170"/>
                <a:gd name="T34" fmla="*/ 139 w 139"/>
                <a:gd name="T35" fmla="*/ 68 h 170"/>
                <a:gd name="T36" fmla="*/ 139 w 139"/>
                <a:gd name="T37" fmla="*/ 68 h 170"/>
                <a:gd name="T38" fmla="*/ 139 w 139"/>
                <a:gd name="T39" fmla="*/ 68 h 170"/>
                <a:gd name="T40" fmla="*/ 120 w 139"/>
                <a:gd name="T41" fmla="*/ 20 h 170"/>
                <a:gd name="T42" fmla="*/ 70 w 139"/>
                <a:gd name="T43" fmla="*/ 0 h 170"/>
                <a:gd name="T44" fmla="*/ 28 w 139"/>
                <a:gd name="T45" fmla="*/ 2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170">
                  <a:moveTo>
                    <a:pt x="28" y="21"/>
                  </a:moveTo>
                  <a:cubicBezTo>
                    <a:pt x="28" y="6"/>
                    <a:pt x="28" y="6"/>
                    <a:pt x="28" y="6"/>
                  </a:cubicBezTo>
                  <a:cubicBezTo>
                    <a:pt x="28" y="4"/>
                    <a:pt x="27" y="3"/>
                    <a:pt x="25" y="3"/>
                  </a:cubicBezTo>
                  <a:cubicBezTo>
                    <a:pt x="4" y="3"/>
                    <a:pt x="4" y="3"/>
                    <a:pt x="4" y="3"/>
                  </a:cubicBezTo>
                  <a:cubicBezTo>
                    <a:pt x="1" y="3"/>
                    <a:pt x="0" y="4"/>
                    <a:pt x="0" y="6"/>
                  </a:cubicBezTo>
                  <a:cubicBezTo>
                    <a:pt x="0" y="167"/>
                    <a:pt x="0" y="167"/>
                    <a:pt x="0" y="167"/>
                  </a:cubicBezTo>
                  <a:cubicBezTo>
                    <a:pt x="0" y="169"/>
                    <a:pt x="1" y="170"/>
                    <a:pt x="4" y="170"/>
                  </a:cubicBezTo>
                  <a:cubicBezTo>
                    <a:pt x="25" y="170"/>
                    <a:pt x="25" y="170"/>
                    <a:pt x="25" y="170"/>
                  </a:cubicBezTo>
                  <a:cubicBezTo>
                    <a:pt x="27" y="170"/>
                    <a:pt x="28" y="169"/>
                    <a:pt x="28" y="167"/>
                  </a:cubicBezTo>
                  <a:cubicBezTo>
                    <a:pt x="28" y="68"/>
                    <a:pt x="28" y="68"/>
                    <a:pt x="28" y="68"/>
                  </a:cubicBezTo>
                  <a:cubicBezTo>
                    <a:pt x="28" y="49"/>
                    <a:pt x="42" y="28"/>
                    <a:pt x="70" y="28"/>
                  </a:cubicBezTo>
                  <a:cubicBezTo>
                    <a:pt x="97" y="28"/>
                    <a:pt x="111" y="49"/>
                    <a:pt x="111" y="68"/>
                  </a:cubicBezTo>
                  <a:cubicBezTo>
                    <a:pt x="111" y="167"/>
                    <a:pt x="111" y="167"/>
                    <a:pt x="111" y="167"/>
                  </a:cubicBezTo>
                  <a:cubicBezTo>
                    <a:pt x="111" y="167"/>
                    <a:pt x="111" y="167"/>
                    <a:pt x="111" y="167"/>
                  </a:cubicBezTo>
                  <a:cubicBezTo>
                    <a:pt x="111" y="169"/>
                    <a:pt x="112" y="170"/>
                    <a:pt x="114" y="170"/>
                  </a:cubicBezTo>
                  <a:cubicBezTo>
                    <a:pt x="136" y="170"/>
                    <a:pt x="136" y="170"/>
                    <a:pt x="136" y="170"/>
                  </a:cubicBezTo>
                  <a:cubicBezTo>
                    <a:pt x="138" y="170"/>
                    <a:pt x="139" y="169"/>
                    <a:pt x="139" y="167"/>
                  </a:cubicBezTo>
                  <a:cubicBezTo>
                    <a:pt x="139" y="68"/>
                    <a:pt x="139" y="68"/>
                    <a:pt x="139" y="68"/>
                  </a:cubicBezTo>
                  <a:cubicBezTo>
                    <a:pt x="139" y="68"/>
                    <a:pt x="139" y="68"/>
                    <a:pt x="139" y="68"/>
                  </a:cubicBezTo>
                  <a:cubicBezTo>
                    <a:pt x="139" y="68"/>
                    <a:pt x="139" y="68"/>
                    <a:pt x="139" y="68"/>
                  </a:cubicBezTo>
                  <a:cubicBezTo>
                    <a:pt x="139" y="51"/>
                    <a:pt x="133" y="35"/>
                    <a:pt x="120" y="20"/>
                  </a:cubicBezTo>
                  <a:cubicBezTo>
                    <a:pt x="109" y="7"/>
                    <a:pt x="88" y="0"/>
                    <a:pt x="70" y="0"/>
                  </a:cubicBezTo>
                  <a:cubicBezTo>
                    <a:pt x="41" y="0"/>
                    <a:pt x="28" y="21"/>
                    <a:pt x="28"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a:p>
          </p:txBody>
        </p:sp>
        <p:sp>
          <p:nvSpPr>
            <p:cNvPr id="35" name="Freeform 9">
              <a:extLst>
                <a:ext uri="{FF2B5EF4-FFF2-40B4-BE49-F238E27FC236}">
                  <a16:creationId xmlns:a16="http://schemas.microsoft.com/office/drawing/2014/main" id="{9C16303F-5225-4EBA-BB94-C8708365E8C4}"/>
                </a:ext>
              </a:extLst>
            </p:cNvPr>
            <p:cNvSpPr>
              <a:spLocks/>
            </p:cNvSpPr>
            <p:nvPr/>
          </p:nvSpPr>
          <p:spPr bwMode="auto">
            <a:xfrm>
              <a:off x="2264" y="1724"/>
              <a:ext cx="246" cy="328"/>
            </a:xfrm>
            <a:custGeom>
              <a:avLst/>
              <a:gdLst>
                <a:gd name="T0" fmla="*/ 4 w 130"/>
                <a:gd name="T1" fmla="*/ 48 h 173"/>
                <a:gd name="T2" fmla="*/ 56 w 130"/>
                <a:gd name="T3" fmla="*/ 97 h 173"/>
                <a:gd name="T4" fmla="*/ 57 w 130"/>
                <a:gd name="T5" fmla="*/ 98 h 173"/>
                <a:gd name="T6" fmla="*/ 101 w 130"/>
                <a:gd name="T7" fmla="*/ 124 h 173"/>
                <a:gd name="T8" fmla="*/ 66 w 130"/>
                <a:gd name="T9" fmla="*/ 146 h 173"/>
                <a:gd name="T10" fmla="*/ 30 w 130"/>
                <a:gd name="T11" fmla="*/ 118 h 173"/>
                <a:gd name="T12" fmla="*/ 26 w 130"/>
                <a:gd name="T13" fmla="*/ 114 h 173"/>
                <a:gd name="T14" fmla="*/ 5 w 130"/>
                <a:gd name="T15" fmla="*/ 114 h 173"/>
                <a:gd name="T16" fmla="*/ 0 w 130"/>
                <a:gd name="T17" fmla="*/ 118 h 173"/>
                <a:gd name="T18" fmla="*/ 65 w 130"/>
                <a:gd name="T19" fmla="*/ 173 h 173"/>
                <a:gd name="T20" fmla="*/ 130 w 130"/>
                <a:gd name="T21" fmla="*/ 120 h 173"/>
                <a:gd name="T22" fmla="*/ 72 w 130"/>
                <a:gd name="T23" fmla="*/ 74 h 173"/>
                <a:gd name="T24" fmla="*/ 32 w 130"/>
                <a:gd name="T25" fmla="*/ 48 h 173"/>
                <a:gd name="T26" fmla="*/ 63 w 130"/>
                <a:gd name="T27" fmla="*/ 27 h 173"/>
                <a:gd name="T28" fmla="*/ 97 w 130"/>
                <a:gd name="T29" fmla="*/ 49 h 173"/>
                <a:gd name="T30" fmla="*/ 102 w 130"/>
                <a:gd name="T31" fmla="*/ 53 h 173"/>
                <a:gd name="T32" fmla="*/ 120 w 130"/>
                <a:gd name="T33" fmla="*/ 53 h 173"/>
                <a:gd name="T34" fmla="*/ 125 w 130"/>
                <a:gd name="T35" fmla="*/ 48 h 173"/>
                <a:gd name="T36" fmla="*/ 63 w 130"/>
                <a:gd name="T37" fmla="*/ 0 h 173"/>
                <a:gd name="T38" fmla="*/ 4 w 130"/>
                <a:gd name="T39" fmla="*/ 4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173">
                  <a:moveTo>
                    <a:pt x="4" y="48"/>
                  </a:moveTo>
                  <a:cubicBezTo>
                    <a:pt x="4" y="77"/>
                    <a:pt x="19" y="91"/>
                    <a:pt x="56" y="97"/>
                  </a:cubicBezTo>
                  <a:cubicBezTo>
                    <a:pt x="57" y="98"/>
                    <a:pt x="57" y="98"/>
                    <a:pt x="57" y="98"/>
                  </a:cubicBezTo>
                  <a:cubicBezTo>
                    <a:pt x="83" y="102"/>
                    <a:pt x="101" y="105"/>
                    <a:pt x="101" y="124"/>
                  </a:cubicBezTo>
                  <a:cubicBezTo>
                    <a:pt x="101" y="139"/>
                    <a:pt x="83" y="146"/>
                    <a:pt x="66" y="146"/>
                  </a:cubicBezTo>
                  <a:cubicBezTo>
                    <a:pt x="46" y="146"/>
                    <a:pt x="33" y="136"/>
                    <a:pt x="30" y="118"/>
                  </a:cubicBezTo>
                  <a:cubicBezTo>
                    <a:pt x="30" y="116"/>
                    <a:pt x="29" y="114"/>
                    <a:pt x="26" y="114"/>
                  </a:cubicBezTo>
                  <a:cubicBezTo>
                    <a:pt x="5" y="114"/>
                    <a:pt x="5" y="114"/>
                    <a:pt x="5" y="114"/>
                  </a:cubicBezTo>
                  <a:cubicBezTo>
                    <a:pt x="2" y="114"/>
                    <a:pt x="0" y="116"/>
                    <a:pt x="0" y="118"/>
                  </a:cubicBezTo>
                  <a:cubicBezTo>
                    <a:pt x="0" y="150"/>
                    <a:pt x="27" y="173"/>
                    <a:pt x="65" y="173"/>
                  </a:cubicBezTo>
                  <a:cubicBezTo>
                    <a:pt x="104" y="173"/>
                    <a:pt x="130" y="151"/>
                    <a:pt x="130" y="120"/>
                  </a:cubicBezTo>
                  <a:cubicBezTo>
                    <a:pt x="130" y="86"/>
                    <a:pt x="100" y="79"/>
                    <a:pt x="72" y="74"/>
                  </a:cubicBezTo>
                  <a:cubicBezTo>
                    <a:pt x="37" y="68"/>
                    <a:pt x="32" y="58"/>
                    <a:pt x="32" y="48"/>
                  </a:cubicBezTo>
                  <a:cubicBezTo>
                    <a:pt x="32" y="32"/>
                    <a:pt x="49" y="27"/>
                    <a:pt x="63" y="27"/>
                  </a:cubicBezTo>
                  <a:cubicBezTo>
                    <a:pt x="82" y="27"/>
                    <a:pt x="94" y="34"/>
                    <a:pt x="97" y="49"/>
                  </a:cubicBezTo>
                  <a:cubicBezTo>
                    <a:pt x="98" y="51"/>
                    <a:pt x="98" y="53"/>
                    <a:pt x="102" y="53"/>
                  </a:cubicBezTo>
                  <a:cubicBezTo>
                    <a:pt x="120" y="53"/>
                    <a:pt x="120" y="53"/>
                    <a:pt x="120" y="53"/>
                  </a:cubicBezTo>
                  <a:cubicBezTo>
                    <a:pt x="123" y="53"/>
                    <a:pt x="125" y="51"/>
                    <a:pt x="125" y="48"/>
                  </a:cubicBezTo>
                  <a:cubicBezTo>
                    <a:pt x="125" y="19"/>
                    <a:pt x="100" y="0"/>
                    <a:pt x="63" y="0"/>
                  </a:cubicBezTo>
                  <a:cubicBezTo>
                    <a:pt x="22" y="0"/>
                    <a:pt x="4" y="25"/>
                    <a:pt x="4" y="4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a:p>
          </p:txBody>
        </p:sp>
        <p:sp>
          <p:nvSpPr>
            <p:cNvPr id="36" name="Freeform 10">
              <a:extLst>
                <a:ext uri="{FF2B5EF4-FFF2-40B4-BE49-F238E27FC236}">
                  <a16:creationId xmlns:a16="http://schemas.microsoft.com/office/drawing/2014/main" id="{2714D96A-032D-4D6C-AAB4-010FCF551C61}"/>
                </a:ext>
              </a:extLst>
            </p:cNvPr>
            <p:cNvSpPr>
              <a:spLocks/>
            </p:cNvSpPr>
            <p:nvPr/>
          </p:nvSpPr>
          <p:spPr bwMode="auto">
            <a:xfrm>
              <a:off x="3062" y="1722"/>
              <a:ext cx="312" cy="474"/>
            </a:xfrm>
            <a:custGeom>
              <a:avLst/>
              <a:gdLst>
                <a:gd name="T0" fmla="*/ 67 w 165"/>
                <a:gd name="T1" fmla="*/ 0 h 250"/>
                <a:gd name="T2" fmla="*/ 0 w 165"/>
                <a:gd name="T3" fmla="*/ 86 h 250"/>
                <a:gd name="T4" fmla="*/ 82 w 165"/>
                <a:gd name="T5" fmla="*/ 174 h 250"/>
                <a:gd name="T6" fmla="*/ 137 w 165"/>
                <a:gd name="T7" fmla="*/ 152 h 250"/>
                <a:gd name="T8" fmla="*/ 137 w 165"/>
                <a:gd name="T9" fmla="*/ 173 h 250"/>
                <a:gd name="T10" fmla="*/ 89 w 165"/>
                <a:gd name="T11" fmla="*/ 222 h 250"/>
                <a:gd name="T12" fmla="*/ 48 w 165"/>
                <a:gd name="T13" fmla="*/ 194 h 250"/>
                <a:gd name="T14" fmla="*/ 43 w 165"/>
                <a:gd name="T15" fmla="*/ 190 h 250"/>
                <a:gd name="T16" fmla="*/ 24 w 165"/>
                <a:gd name="T17" fmla="*/ 190 h 250"/>
                <a:gd name="T18" fmla="*/ 19 w 165"/>
                <a:gd name="T19" fmla="*/ 195 h 250"/>
                <a:gd name="T20" fmla="*/ 89 w 165"/>
                <a:gd name="T21" fmla="*/ 250 h 250"/>
                <a:gd name="T22" fmla="*/ 165 w 165"/>
                <a:gd name="T23" fmla="*/ 174 h 250"/>
                <a:gd name="T24" fmla="*/ 165 w 165"/>
                <a:gd name="T25" fmla="*/ 7 h 250"/>
                <a:gd name="T26" fmla="*/ 162 w 165"/>
                <a:gd name="T27" fmla="*/ 4 h 250"/>
                <a:gd name="T28" fmla="*/ 140 w 165"/>
                <a:gd name="T29" fmla="*/ 4 h 250"/>
                <a:gd name="T30" fmla="*/ 137 w 165"/>
                <a:gd name="T31" fmla="*/ 7 h 250"/>
                <a:gd name="T32" fmla="*/ 137 w 165"/>
                <a:gd name="T33" fmla="*/ 21 h 250"/>
                <a:gd name="T34" fmla="*/ 99 w 165"/>
                <a:gd name="T35" fmla="*/ 0 h 250"/>
                <a:gd name="T36" fmla="*/ 96 w 165"/>
                <a:gd name="T37" fmla="*/ 3 h 250"/>
                <a:gd name="T38" fmla="*/ 96 w 165"/>
                <a:gd name="T39" fmla="*/ 28 h 250"/>
                <a:gd name="T40" fmla="*/ 97 w 165"/>
                <a:gd name="T41" fmla="*/ 31 h 250"/>
                <a:gd name="T42" fmla="*/ 138 w 165"/>
                <a:gd name="T43" fmla="*/ 87 h 250"/>
                <a:gd name="T44" fmla="*/ 83 w 165"/>
                <a:gd name="T45" fmla="*/ 146 h 250"/>
                <a:gd name="T46" fmla="*/ 29 w 165"/>
                <a:gd name="T47" fmla="*/ 87 h 250"/>
                <a:gd name="T48" fmla="*/ 68 w 165"/>
                <a:gd name="T49" fmla="*/ 31 h 250"/>
                <a:gd name="T50" fmla="*/ 70 w 165"/>
                <a:gd name="T51" fmla="*/ 29 h 250"/>
                <a:gd name="T52" fmla="*/ 70 w 165"/>
                <a:gd name="T53" fmla="*/ 3 h 250"/>
                <a:gd name="T54" fmla="*/ 67 w 165"/>
                <a:gd name="T55" fmla="*/ 0 h 250"/>
                <a:gd name="T56" fmla="*/ 67 w 165"/>
                <a:gd name="T57"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5" h="250">
                  <a:moveTo>
                    <a:pt x="67" y="0"/>
                  </a:moveTo>
                  <a:cubicBezTo>
                    <a:pt x="29" y="8"/>
                    <a:pt x="0" y="44"/>
                    <a:pt x="0" y="86"/>
                  </a:cubicBezTo>
                  <a:cubicBezTo>
                    <a:pt x="0" y="135"/>
                    <a:pt x="37" y="174"/>
                    <a:pt x="82" y="174"/>
                  </a:cubicBezTo>
                  <a:cubicBezTo>
                    <a:pt x="103" y="174"/>
                    <a:pt x="122" y="166"/>
                    <a:pt x="137" y="152"/>
                  </a:cubicBezTo>
                  <a:cubicBezTo>
                    <a:pt x="137" y="173"/>
                    <a:pt x="137" y="173"/>
                    <a:pt x="137" y="173"/>
                  </a:cubicBezTo>
                  <a:cubicBezTo>
                    <a:pt x="137" y="205"/>
                    <a:pt x="120" y="222"/>
                    <a:pt x="89" y="222"/>
                  </a:cubicBezTo>
                  <a:cubicBezTo>
                    <a:pt x="66" y="222"/>
                    <a:pt x="52" y="213"/>
                    <a:pt x="48" y="194"/>
                  </a:cubicBezTo>
                  <a:cubicBezTo>
                    <a:pt x="47" y="192"/>
                    <a:pt x="46" y="190"/>
                    <a:pt x="43" y="190"/>
                  </a:cubicBezTo>
                  <a:cubicBezTo>
                    <a:pt x="24" y="190"/>
                    <a:pt x="24" y="190"/>
                    <a:pt x="24" y="190"/>
                  </a:cubicBezTo>
                  <a:cubicBezTo>
                    <a:pt x="21" y="190"/>
                    <a:pt x="19" y="192"/>
                    <a:pt x="19" y="195"/>
                  </a:cubicBezTo>
                  <a:cubicBezTo>
                    <a:pt x="22" y="228"/>
                    <a:pt x="51" y="250"/>
                    <a:pt x="89" y="250"/>
                  </a:cubicBezTo>
                  <a:cubicBezTo>
                    <a:pt x="135" y="250"/>
                    <a:pt x="165" y="219"/>
                    <a:pt x="165" y="174"/>
                  </a:cubicBezTo>
                  <a:cubicBezTo>
                    <a:pt x="165" y="7"/>
                    <a:pt x="165" y="7"/>
                    <a:pt x="165" y="7"/>
                  </a:cubicBezTo>
                  <a:cubicBezTo>
                    <a:pt x="165" y="5"/>
                    <a:pt x="164" y="4"/>
                    <a:pt x="162" y="4"/>
                  </a:cubicBezTo>
                  <a:cubicBezTo>
                    <a:pt x="140" y="4"/>
                    <a:pt x="140" y="4"/>
                    <a:pt x="140" y="4"/>
                  </a:cubicBezTo>
                  <a:cubicBezTo>
                    <a:pt x="138" y="4"/>
                    <a:pt x="137" y="5"/>
                    <a:pt x="137" y="7"/>
                  </a:cubicBezTo>
                  <a:cubicBezTo>
                    <a:pt x="137" y="21"/>
                    <a:pt x="137" y="21"/>
                    <a:pt x="137" y="21"/>
                  </a:cubicBezTo>
                  <a:cubicBezTo>
                    <a:pt x="126" y="11"/>
                    <a:pt x="113" y="4"/>
                    <a:pt x="99" y="0"/>
                  </a:cubicBezTo>
                  <a:cubicBezTo>
                    <a:pt x="97" y="0"/>
                    <a:pt x="96" y="1"/>
                    <a:pt x="96" y="3"/>
                  </a:cubicBezTo>
                  <a:cubicBezTo>
                    <a:pt x="96" y="28"/>
                    <a:pt x="96" y="28"/>
                    <a:pt x="96" y="28"/>
                  </a:cubicBezTo>
                  <a:cubicBezTo>
                    <a:pt x="96" y="29"/>
                    <a:pt x="96" y="30"/>
                    <a:pt x="97" y="31"/>
                  </a:cubicBezTo>
                  <a:cubicBezTo>
                    <a:pt x="121" y="37"/>
                    <a:pt x="138" y="60"/>
                    <a:pt x="138" y="87"/>
                  </a:cubicBezTo>
                  <a:cubicBezTo>
                    <a:pt x="138" y="119"/>
                    <a:pt x="114" y="146"/>
                    <a:pt x="83" y="146"/>
                  </a:cubicBezTo>
                  <a:cubicBezTo>
                    <a:pt x="53" y="146"/>
                    <a:pt x="29" y="119"/>
                    <a:pt x="29" y="87"/>
                  </a:cubicBezTo>
                  <a:cubicBezTo>
                    <a:pt x="29" y="61"/>
                    <a:pt x="45" y="38"/>
                    <a:pt x="68" y="31"/>
                  </a:cubicBezTo>
                  <a:cubicBezTo>
                    <a:pt x="69" y="31"/>
                    <a:pt x="70" y="30"/>
                    <a:pt x="70" y="29"/>
                  </a:cubicBezTo>
                  <a:cubicBezTo>
                    <a:pt x="70" y="3"/>
                    <a:pt x="70" y="3"/>
                    <a:pt x="70" y="3"/>
                  </a:cubicBezTo>
                  <a:cubicBezTo>
                    <a:pt x="70" y="1"/>
                    <a:pt x="69" y="0"/>
                    <a:pt x="67" y="0"/>
                  </a:cubicBezTo>
                  <a:cubicBezTo>
                    <a:pt x="67" y="0"/>
                    <a:pt x="67" y="0"/>
                    <a:pt x="6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a:p>
          </p:txBody>
        </p:sp>
        <p:sp>
          <p:nvSpPr>
            <p:cNvPr id="37" name="Oval 11">
              <a:extLst>
                <a:ext uri="{FF2B5EF4-FFF2-40B4-BE49-F238E27FC236}">
                  <a16:creationId xmlns:a16="http://schemas.microsoft.com/office/drawing/2014/main" id="{2643B92E-CA00-40CD-B264-A23FBD5909B8}"/>
                </a:ext>
              </a:extLst>
            </p:cNvPr>
            <p:cNvSpPr>
              <a:spLocks noChangeArrowheads="1"/>
            </p:cNvSpPr>
            <p:nvPr/>
          </p:nvSpPr>
          <p:spPr bwMode="auto">
            <a:xfrm>
              <a:off x="284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a:p>
          </p:txBody>
        </p:sp>
        <p:sp>
          <p:nvSpPr>
            <p:cNvPr id="38" name="Oval 12">
              <a:extLst>
                <a:ext uri="{FF2B5EF4-FFF2-40B4-BE49-F238E27FC236}">
                  <a16:creationId xmlns:a16="http://schemas.microsoft.com/office/drawing/2014/main" id="{79F949AC-723F-4C27-B9BB-C3B86D6B9223}"/>
                </a:ext>
              </a:extLst>
            </p:cNvPr>
            <p:cNvSpPr>
              <a:spLocks noChangeArrowheads="1"/>
            </p:cNvSpPr>
            <p:nvPr/>
          </p:nvSpPr>
          <p:spPr bwMode="auto">
            <a:xfrm>
              <a:off x="387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a:p>
          </p:txBody>
        </p:sp>
        <p:sp>
          <p:nvSpPr>
            <p:cNvPr id="39" name="Freeform 13">
              <a:extLst>
                <a:ext uri="{FF2B5EF4-FFF2-40B4-BE49-F238E27FC236}">
                  <a16:creationId xmlns:a16="http://schemas.microsoft.com/office/drawing/2014/main" id="{ADC1A9AD-CEFE-4FA9-8DC2-A82DCA02E18E}"/>
                </a:ext>
              </a:extLst>
            </p:cNvPr>
            <p:cNvSpPr>
              <a:spLocks/>
            </p:cNvSpPr>
            <p:nvPr/>
          </p:nvSpPr>
          <p:spPr bwMode="auto">
            <a:xfrm>
              <a:off x="4062" y="1584"/>
              <a:ext cx="242" cy="462"/>
            </a:xfrm>
            <a:custGeom>
              <a:avLst/>
              <a:gdLst>
                <a:gd name="T0" fmla="*/ 39 w 128"/>
                <a:gd name="T1" fmla="*/ 55 h 244"/>
                <a:gd name="T2" fmla="*/ 39 w 128"/>
                <a:gd name="T3" fmla="*/ 76 h 244"/>
                <a:gd name="T4" fmla="*/ 4 w 128"/>
                <a:gd name="T5" fmla="*/ 76 h 244"/>
                <a:gd name="T6" fmla="*/ 0 w 128"/>
                <a:gd name="T7" fmla="*/ 81 h 244"/>
                <a:gd name="T8" fmla="*/ 0 w 128"/>
                <a:gd name="T9" fmla="*/ 99 h 244"/>
                <a:gd name="T10" fmla="*/ 4 w 128"/>
                <a:gd name="T11" fmla="*/ 103 h 244"/>
                <a:gd name="T12" fmla="*/ 39 w 128"/>
                <a:gd name="T13" fmla="*/ 103 h 244"/>
                <a:gd name="T14" fmla="*/ 39 w 128"/>
                <a:gd name="T15" fmla="*/ 239 h 244"/>
                <a:gd name="T16" fmla="*/ 44 w 128"/>
                <a:gd name="T17" fmla="*/ 244 h 244"/>
                <a:gd name="T18" fmla="*/ 62 w 128"/>
                <a:gd name="T19" fmla="*/ 244 h 244"/>
                <a:gd name="T20" fmla="*/ 67 w 128"/>
                <a:gd name="T21" fmla="*/ 239 h 244"/>
                <a:gd name="T22" fmla="*/ 67 w 128"/>
                <a:gd name="T23" fmla="*/ 103 h 244"/>
                <a:gd name="T24" fmla="*/ 120 w 128"/>
                <a:gd name="T25" fmla="*/ 103 h 244"/>
                <a:gd name="T26" fmla="*/ 125 w 128"/>
                <a:gd name="T27" fmla="*/ 99 h 244"/>
                <a:gd name="T28" fmla="*/ 125 w 128"/>
                <a:gd name="T29" fmla="*/ 81 h 244"/>
                <a:gd name="T30" fmla="*/ 120 w 128"/>
                <a:gd name="T31" fmla="*/ 76 h 244"/>
                <a:gd name="T32" fmla="*/ 67 w 128"/>
                <a:gd name="T33" fmla="*/ 76 h 244"/>
                <a:gd name="T34" fmla="*/ 67 w 128"/>
                <a:gd name="T35" fmla="*/ 55 h 244"/>
                <a:gd name="T36" fmla="*/ 91 w 128"/>
                <a:gd name="T37" fmla="*/ 27 h 244"/>
                <a:gd name="T38" fmla="*/ 122 w 128"/>
                <a:gd name="T39" fmla="*/ 37 h 244"/>
                <a:gd name="T40" fmla="*/ 125 w 128"/>
                <a:gd name="T41" fmla="*/ 38 h 244"/>
                <a:gd name="T42" fmla="*/ 128 w 128"/>
                <a:gd name="T43" fmla="*/ 33 h 244"/>
                <a:gd name="T44" fmla="*/ 128 w 128"/>
                <a:gd name="T45" fmla="*/ 16 h 244"/>
                <a:gd name="T46" fmla="*/ 125 w 128"/>
                <a:gd name="T47" fmla="*/ 9 h 244"/>
                <a:gd name="T48" fmla="*/ 89 w 128"/>
                <a:gd name="T49" fmla="*/ 0 h 244"/>
                <a:gd name="T50" fmla="*/ 39 w 128"/>
                <a:gd name="T51" fmla="*/ 5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244">
                  <a:moveTo>
                    <a:pt x="39" y="55"/>
                  </a:moveTo>
                  <a:cubicBezTo>
                    <a:pt x="39" y="76"/>
                    <a:pt x="39" y="76"/>
                    <a:pt x="39" y="76"/>
                  </a:cubicBezTo>
                  <a:cubicBezTo>
                    <a:pt x="4" y="76"/>
                    <a:pt x="4" y="76"/>
                    <a:pt x="4" y="76"/>
                  </a:cubicBezTo>
                  <a:cubicBezTo>
                    <a:pt x="1" y="76"/>
                    <a:pt x="0" y="78"/>
                    <a:pt x="0" y="81"/>
                  </a:cubicBezTo>
                  <a:cubicBezTo>
                    <a:pt x="0" y="99"/>
                    <a:pt x="0" y="99"/>
                    <a:pt x="0" y="99"/>
                  </a:cubicBezTo>
                  <a:cubicBezTo>
                    <a:pt x="0" y="102"/>
                    <a:pt x="1" y="103"/>
                    <a:pt x="4" y="103"/>
                  </a:cubicBezTo>
                  <a:cubicBezTo>
                    <a:pt x="39" y="103"/>
                    <a:pt x="39" y="103"/>
                    <a:pt x="39" y="103"/>
                  </a:cubicBezTo>
                  <a:cubicBezTo>
                    <a:pt x="39" y="239"/>
                    <a:pt x="39" y="239"/>
                    <a:pt x="39" y="239"/>
                  </a:cubicBezTo>
                  <a:cubicBezTo>
                    <a:pt x="39" y="242"/>
                    <a:pt x="41" y="244"/>
                    <a:pt x="44" y="244"/>
                  </a:cubicBezTo>
                  <a:cubicBezTo>
                    <a:pt x="62" y="244"/>
                    <a:pt x="62" y="244"/>
                    <a:pt x="62" y="244"/>
                  </a:cubicBezTo>
                  <a:cubicBezTo>
                    <a:pt x="65" y="244"/>
                    <a:pt x="67" y="242"/>
                    <a:pt x="67" y="239"/>
                  </a:cubicBezTo>
                  <a:cubicBezTo>
                    <a:pt x="67" y="103"/>
                    <a:pt x="67" y="103"/>
                    <a:pt x="67" y="103"/>
                  </a:cubicBezTo>
                  <a:cubicBezTo>
                    <a:pt x="120" y="103"/>
                    <a:pt x="120" y="103"/>
                    <a:pt x="120" y="103"/>
                  </a:cubicBezTo>
                  <a:cubicBezTo>
                    <a:pt x="123" y="103"/>
                    <a:pt x="125" y="102"/>
                    <a:pt x="125" y="99"/>
                  </a:cubicBezTo>
                  <a:cubicBezTo>
                    <a:pt x="125" y="81"/>
                    <a:pt x="125" y="81"/>
                    <a:pt x="125" y="81"/>
                  </a:cubicBezTo>
                  <a:cubicBezTo>
                    <a:pt x="125" y="78"/>
                    <a:pt x="123" y="76"/>
                    <a:pt x="120" y="76"/>
                  </a:cubicBezTo>
                  <a:cubicBezTo>
                    <a:pt x="67" y="76"/>
                    <a:pt x="67" y="76"/>
                    <a:pt x="67" y="76"/>
                  </a:cubicBezTo>
                  <a:cubicBezTo>
                    <a:pt x="67" y="55"/>
                    <a:pt x="67" y="55"/>
                    <a:pt x="67" y="55"/>
                  </a:cubicBezTo>
                  <a:cubicBezTo>
                    <a:pt x="67" y="38"/>
                    <a:pt x="76" y="27"/>
                    <a:pt x="91" y="27"/>
                  </a:cubicBezTo>
                  <a:cubicBezTo>
                    <a:pt x="102" y="27"/>
                    <a:pt x="110" y="30"/>
                    <a:pt x="122" y="37"/>
                  </a:cubicBezTo>
                  <a:cubicBezTo>
                    <a:pt x="123" y="38"/>
                    <a:pt x="124" y="38"/>
                    <a:pt x="125" y="38"/>
                  </a:cubicBezTo>
                  <a:cubicBezTo>
                    <a:pt x="127" y="38"/>
                    <a:pt x="128" y="36"/>
                    <a:pt x="128" y="33"/>
                  </a:cubicBezTo>
                  <a:cubicBezTo>
                    <a:pt x="128" y="16"/>
                    <a:pt x="128" y="16"/>
                    <a:pt x="128" y="16"/>
                  </a:cubicBezTo>
                  <a:cubicBezTo>
                    <a:pt x="128" y="13"/>
                    <a:pt x="128" y="11"/>
                    <a:pt x="125" y="9"/>
                  </a:cubicBezTo>
                  <a:cubicBezTo>
                    <a:pt x="114" y="3"/>
                    <a:pt x="103" y="0"/>
                    <a:pt x="89" y="0"/>
                  </a:cubicBezTo>
                  <a:cubicBezTo>
                    <a:pt x="54" y="0"/>
                    <a:pt x="39" y="29"/>
                    <a:pt x="39"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a:p>
          </p:txBody>
        </p:sp>
        <p:sp>
          <p:nvSpPr>
            <p:cNvPr id="40" name="Freeform 14">
              <a:extLst>
                <a:ext uri="{FF2B5EF4-FFF2-40B4-BE49-F238E27FC236}">
                  <a16:creationId xmlns:a16="http://schemas.microsoft.com/office/drawing/2014/main" id="{8B916F92-02AF-4075-BEF1-0B5E9C82D987}"/>
                </a:ext>
              </a:extLst>
            </p:cNvPr>
            <p:cNvSpPr>
              <a:spLocks/>
            </p:cNvSpPr>
            <p:nvPr/>
          </p:nvSpPr>
          <p:spPr bwMode="auto">
            <a:xfrm>
              <a:off x="2071" y="1578"/>
              <a:ext cx="632" cy="631"/>
            </a:xfrm>
            <a:custGeom>
              <a:avLst/>
              <a:gdLst>
                <a:gd name="T0" fmla="*/ 181 w 334"/>
                <a:gd name="T1" fmla="*/ 1 h 333"/>
                <a:gd name="T2" fmla="*/ 180 w 334"/>
                <a:gd name="T3" fmla="*/ 4 h 333"/>
                <a:gd name="T4" fmla="*/ 180 w 334"/>
                <a:gd name="T5" fmla="*/ 26 h 333"/>
                <a:gd name="T6" fmla="*/ 180 w 334"/>
                <a:gd name="T7" fmla="*/ 26 h 333"/>
                <a:gd name="T8" fmla="*/ 182 w 334"/>
                <a:gd name="T9" fmla="*/ 28 h 333"/>
                <a:gd name="T10" fmla="*/ 306 w 334"/>
                <a:gd name="T11" fmla="*/ 166 h 333"/>
                <a:gd name="T12" fmla="*/ 167 w 334"/>
                <a:gd name="T13" fmla="*/ 305 h 333"/>
                <a:gd name="T14" fmla="*/ 28 w 334"/>
                <a:gd name="T15" fmla="*/ 166 h 333"/>
                <a:gd name="T16" fmla="*/ 152 w 334"/>
                <a:gd name="T17" fmla="*/ 28 h 333"/>
                <a:gd name="T18" fmla="*/ 154 w 334"/>
                <a:gd name="T19" fmla="*/ 26 h 333"/>
                <a:gd name="T20" fmla="*/ 154 w 334"/>
                <a:gd name="T21" fmla="*/ 26 h 333"/>
                <a:gd name="T22" fmla="*/ 154 w 334"/>
                <a:gd name="T23" fmla="*/ 4 h 333"/>
                <a:gd name="T24" fmla="*/ 153 w 334"/>
                <a:gd name="T25" fmla="*/ 1 h 333"/>
                <a:gd name="T26" fmla="*/ 150 w 334"/>
                <a:gd name="T27" fmla="*/ 0 h 333"/>
                <a:gd name="T28" fmla="*/ 149 w 334"/>
                <a:gd name="T29" fmla="*/ 0 h 333"/>
                <a:gd name="T30" fmla="*/ 149 w 334"/>
                <a:gd name="T31" fmla="*/ 0 h 333"/>
                <a:gd name="T32" fmla="*/ 0 w 334"/>
                <a:gd name="T33" fmla="*/ 166 h 333"/>
                <a:gd name="T34" fmla="*/ 167 w 334"/>
                <a:gd name="T35" fmla="*/ 333 h 333"/>
                <a:gd name="T36" fmla="*/ 334 w 334"/>
                <a:gd name="T37" fmla="*/ 166 h 333"/>
                <a:gd name="T38" fmla="*/ 185 w 334"/>
                <a:gd name="T39" fmla="*/ 0 h 333"/>
                <a:gd name="T40" fmla="*/ 185 w 334"/>
                <a:gd name="T41" fmla="*/ 0 h 333"/>
                <a:gd name="T42" fmla="*/ 184 w 334"/>
                <a:gd name="T43" fmla="*/ 0 h 333"/>
                <a:gd name="T44" fmla="*/ 181 w 334"/>
                <a:gd name="T45" fmla="*/ 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4" h="333">
                  <a:moveTo>
                    <a:pt x="181" y="1"/>
                  </a:moveTo>
                  <a:cubicBezTo>
                    <a:pt x="180" y="2"/>
                    <a:pt x="180" y="3"/>
                    <a:pt x="180" y="4"/>
                  </a:cubicBezTo>
                  <a:cubicBezTo>
                    <a:pt x="180" y="26"/>
                    <a:pt x="180" y="26"/>
                    <a:pt x="180" y="26"/>
                  </a:cubicBezTo>
                  <a:cubicBezTo>
                    <a:pt x="180" y="26"/>
                    <a:pt x="180" y="26"/>
                    <a:pt x="180" y="26"/>
                  </a:cubicBezTo>
                  <a:cubicBezTo>
                    <a:pt x="180" y="27"/>
                    <a:pt x="181" y="28"/>
                    <a:pt x="182" y="28"/>
                  </a:cubicBezTo>
                  <a:cubicBezTo>
                    <a:pt x="251" y="35"/>
                    <a:pt x="306" y="94"/>
                    <a:pt x="306" y="166"/>
                  </a:cubicBezTo>
                  <a:cubicBezTo>
                    <a:pt x="306" y="243"/>
                    <a:pt x="244" y="305"/>
                    <a:pt x="167" y="305"/>
                  </a:cubicBezTo>
                  <a:cubicBezTo>
                    <a:pt x="90" y="305"/>
                    <a:pt x="28" y="243"/>
                    <a:pt x="28" y="166"/>
                  </a:cubicBezTo>
                  <a:cubicBezTo>
                    <a:pt x="28" y="94"/>
                    <a:pt x="82" y="35"/>
                    <a:pt x="152" y="28"/>
                  </a:cubicBezTo>
                  <a:cubicBezTo>
                    <a:pt x="153" y="28"/>
                    <a:pt x="154" y="27"/>
                    <a:pt x="154" y="26"/>
                  </a:cubicBezTo>
                  <a:cubicBezTo>
                    <a:pt x="154" y="26"/>
                    <a:pt x="154" y="26"/>
                    <a:pt x="154" y="26"/>
                  </a:cubicBezTo>
                  <a:cubicBezTo>
                    <a:pt x="154" y="4"/>
                    <a:pt x="154" y="4"/>
                    <a:pt x="154" y="4"/>
                  </a:cubicBezTo>
                  <a:cubicBezTo>
                    <a:pt x="154" y="3"/>
                    <a:pt x="154" y="2"/>
                    <a:pt x="153" y="1"/>
                  </a:cubicBezTo>
                  <a:cubicBezTo>
                    <a:pt x="152" y="0"/>
                    <a:pt x="151" y="0"/>
                    <a:pt x="150" y="0"/>
                  </a:cubicBezTo>
                  <a:cubicBezTo>
                    <a:pt x="149" y="0"/>
                    <a:pt x="149" y="0"/>
                    <a:pt x="149" y="0"/>
                  </a:cubicBezTo>
                  <a:cubicBezTo>
                    <a:pt x="149" y="0"/>
                    <a:pt x="149" y="0"/>
                    <a:pt x="149" y="0"/>
                  </a:cubicBezTo>
                  <a:cubicBezTo>
                    <a:pt x="65" y="9"/>
                    <a:pt x="0" y="80"/>
                    <a:pt x="0" y="166"/>
                  </a:cubicBezTo>
                  <a:cubicBezTo>
                    <a:pt x="0" y="258"/>
                    <a:pt x="75" y="333"/>
                    <a:pt x="167" y="333"/>
                  </a:cubicBezTo>
                  <a:cubicBezTo>
                    <a:pt x="259" y="333"/>
                    <a:pt x="334" y="258"/>
                    <a:pt x="334" y="166"/>
                  </a:cubicBezTo>
                  <a:cubicBezTo>
                    <a:pt x="334" y="80"/>
                    <a:pt x="269" y="9"/>
                    <a:pt x="185" y="0"/>
                  </a:cubicBezTo>
                  <a:cubicBezTo>
                    <a:pt x="185" y="0"/>
                    <a:pt x="185" y="0"/>
                    <a:pt x="185" y="0"/>
                  </a:cubicBezTo>
                  <a:cubicBezTo>
                    <a:pt x="185" y="0"/>
                    <a:pt x="184" y="0"/>
                    <a:pt x="184" y="0"/>
                  </a:cubicBezTo>
                  <a:cubicBezTo>
                    <a:pt x="183" y="0"/>
                    <a:pt x="182" y="0"/>
                    <a:pt x="18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342" noProof="0"/>
            </a:p>
          </p:txBody>
        </p:sp>
      </p:grpSp>
    </p:spTree>
    <p:extLst>
      <p:ext uri="{BB962C8B-B14F-4D97-AF65-F5344CB8AC3E}">
        <p14:creationId xmlns:p14="http://schemas.microsoft.com/office/powerpoint/2010/main" val="110848814"/>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 id="2147483753" r:id="rId20"/>
    <p:sldLayoutId id="2147483754" r:id="rId21"/>
    <p:sldLayoutId id="2147483755" r:id="rId22"/>
    <p:sldLayoutId id="2147483757" r:id="rId23"/>
    <p:sldLayoutId id="2147483759" r:id="rId24"/>
    <p:sldLayoutId id="2147483765" r:id="rId25"/>
    <p:sldLayoutId id="2147483766" r:id="rId26"/>
    <p:sldLayoutId id="2147483767" r:id="rId27"/>
    <p:sldLayoutId id="2147483768" r:id="rId28"/>
    <p:sldLayoutId id="2147483913" r:id="rId29"/>
  </p:sldLayoutIdLst>
  <p:transition>
    <p:fade/>
  </p:transition>
  <p:hf hdr="0" dt="0"/>
  <p:txStyles>
    <p:titleStyle>
      <a:lvl1pPr algn="l" defTabSz="1042512" rtl="0" eaLnBrk="1" latinLnBrk="0" hangingPunct="1">
        <a:lnSpc>
          <a:spcPct val="90000"/>
        </a:lnSpc>
        <a:spcBef>
          <a:spcPct val="0"/>
        </a:spcBef>
        <a:buNone/>
        <a:defRPr sz="2400" b="0" kern="1200">
          <a:solidFill>
            <a:schemeClr val="tx2"/>
          </a:solidFill>
          <a:latin typeface="+mj-lt"/>
          <a:ea typeface="+mj-ea"/>
          <a:cs typeface="+mj-cs"/>
        </a:defRPr>
      </a:lvl1pPr>
    </p:titleStyle>
    <p:bodyStyle>
      <a:lvl1pPr marL="0" indent="0" algn="l" defTabSz="1042512" rtl="0" eaLnBrk="1" latinLnBrk="0" hangingPunct="1">
        <a:lnSpc>
          <a:spcPct val="90000"/>
        </a:lnSpc>
        <a:spcBef>
          <a:spcPts val="0"/>
        </a:spcBef>
        <a:spcAft>
          <a:spcPts val="1027"/>
        </a:spcAft>
        <a:buFont typeface="Arial" panose="020B0604020202020204" pitchFamily="34" charset="0"/>
        <a:buNone/>
        <a:defRPr sz="1597" kern="1200">
          <a:solidFill>
            <a:schemeClr val="tx2"/>
          </a:solidFill>
          <a:latin typeface="+mn-lt"/>
          <a:ea typeface="+mn-ea"/>
          <a:cs typeface="+mn-cs"/>
        </a:defRPr>
      </a:lvl1pPr>
      <a:lvl2pPr marL="0" indent="0" algn="l" defTabSz="1042512" rtl="0" eaLnBrk="1" latinLnBrk="0" hangingPunct="1">
        <a:lnSpc>
          <a:spcPct val="90000"/>
        </a:lnSpc>
        <a:spcBef>
          <a:spcPts val="0"/>
        </a:spcBef>
        <a:spcAft>
          <a:spcPts val="1027"/>
        </a:spcAft>
        <a:buFont typeface="Arial" panose="020B0604020202020204" pitchFamily="34" charset="0"/>
        <a:buNone/>
        <a:defRPr sz="1597" b="0" kern="1200">
          <a:solidFill>
            <a:schemeClr val="tx2"/>
          </a:solidFill>
          <a:latin typeface="Signify Relative Bold" panose="02000806030000020004" pitchFamily="50" charset="0"/>
          <a:ea typeface="+mn-ea"/>
          <a:cs typeface="+mn-cs"/>
        </a:defRPr>
      </a:lvl2pPr>
      <a:lvl3pPr marL="0" indent="0" algn="l" defTabSz="1042512" rtl="0" eaLnBrk="1" latinLnBrk="0" hangingPunct="1">
        <a:lnSpc>
          <a:spcPct val="90000"/>
        </a:lnSpc>
        <a:spcBef>
          <a:spcPts val="0"/>
        </a:spcBef>
        <a:spcAft>
          <a:spcPts val="1027"/>
        </a:spcAft>
        <a:buFont typeface="Arial" panose="020B0604020202020204" pitchFamily="34" charset="0"/>
        <a:buNone/>
        <a:defRPr sz="1597" kern="1200">
          <a:solidFill>
            <a:schemeClr val="accent5"/>
          </a:solidFill>
          <a:latin typeface="+mn-lt"/>
          <a:ea typeface="+mn-ea"/>
          <a:cs typeface="+mn-cs"/>
        </a:defRPr>
      </a:lvl3pPr>
      <a:lvl4pPr marL="290427" indent="-290427" algn="l" defTabSz="1042512" rtl="0" eaLnBrk="1" latinLnBrk="0" hangingPunct="1">
        <a:lnSpc>
          <a:spcPct val="90000"/>
        </a:lnSpc>
        <a:spcBef>
          <a:spcPts val="0"/>
        </a:spcBef>
        <a:spcAft>
          <a:spcPts val="684"/>
        </a:spcAft>
        <a:buClr>
          <a:schemeClr val="accent5"/>
        </a:buClr>
        <a:buFont typeface="Arial" panose="020B0604020202020204" pitchFamily="34" charset="0"/>
        <a:buChar char="•"/>
        <a:defRPr sz="1400" kern="1200">
          <a:solidFill>
            <a:schemeClr val="tx2"/>
          </a:solidFill>
          <a:latin typeface="+mn-lt"/>
          <a:ea typeface="+mn-ea"/>
          <a:cs typeface="+mn-cs"/>
        </a:defRPr>
      </a:lvl4pPr>
      <a:lvl5pPr marL="580854" indent="-290427" algn="l" defTabSz="1042512" rtl="0" eaLnBrk="1" latinLnBrk="0" hangingPunct="1">
        <a:lnSpc>
          <a:spcPct val="90000"/>
        </a:lnSpc>
        <a:spcBef>
          <a:spcPts val="0"/>
        </a:spcBef>
        <a:spcAft>
          <a:spcPts val="684"/>
        </a:spcAft>
        <a:buClr>
          <a:schemeClr val="accent5"/>
        </a:buClr>
        <a:buFont typeface="Arial" panose="020B0604020202020204" pitchFamily="34" charset="0"/>
        <a:buChar char="•"/>
        <a:defRPr sz="1400" kern="1200">
          <a:solidFill>
            <a:schemeClr val="tx2"/>
          </a:solidFill>
          <a:latin typeface="+mn-lt"/>
          <a:ea typeface="+mn-ea"/>
          <a:cs typeface="+mn-cs"/>
        </a:defRPr>
      </a:lvl5pPr>
      <a:lvl6pPr marL="871281" indent="-290427" algn="l" defTabSz="1042512" rtl="0" eaLnBrk="1" latinLnBrk="0" hangingPunct="1">
        <a:lnSpc>
          <a:spcPct val="90000"/>
        </a:lnSpc>
        <a:spcBef>
          <a:spcPts val="0"/>
        </a:spcBef>
        <a:spcAft>
          <a:spcPts val="684"/>
        </a:spcAft>
        <a:buClr>
          <a:schemeClr val="accent5"/>
        </a:buClr>
        <a:buFont typeface="Arial" panose="020B0604020202020204" pitchFamily="34" charset="0"/>
        <a:buChar char="•"/>
        <a:defRPr sz="1400" kern="1200">
          <a:solidFill>
            <a:schemeClr val="tx2"/>
          </a:solidFill>
          <a:latin typeface="+mn-lt"/>
          <a:ea typeface="+mn-ea"/>
          <a:cs typeface="+mn-cs"/>
        </a:defRPr>
      </a:lvl6pPr>
      <a:lvl7pPr marL="1161708" indent="-290427" algn="l" defTabSz="1042512" rtl="0" eaLnBrk="1" latinLnBrk="0" hangingPunct="1">
        <a:lnSpc>
          <a:spcPct val="90000"/>
        </a:lnSpc>
        <a:spcBef>
          <a:spcPts val="0"/>
        </a:spcBef>
        <a:spcAft>
          <a:spcPts val="684"/>
        </a:spcAft>
        <a:buClr>
          <a:schemeClr val="accent5"/>
        </a:buClr>
        <a:buFont typeface="Arial" panose="020B0604020202020204" pitchFamily="34" charset="0"/>
        <a:buChar char="•"/>
        <a:defRPr sz="1400" kern="1200">
          <a:solidFill>
            <a:schemeClr val="tx2"/>
          </a:solidFill>
          <a:latin typeface="+mn-lt"/>
          <a:ea typeface="+mn-ea"/>
          <a:cs typeface="+mn-cs"/>
        </a:defRPr>
      </a:lvl7pPr>
      <a:lvl8pPr marL="1452133" indent="-290427" algn="l" defTabSz="1042512" rtl="0" eaLnBrk="1" latinLnBrk="0" hangingPunct="1">
        <a:lnSpc>
          <a:spcPct val="90000"/>
        </a:lnSpc>
        <a:spcBef>
          <a:spcPts val="0"/>
        </a:spcBef>
        <a:spcAft>
          <a:spcPts val="684"/>
        </a:spcAft>
        <a:buClr>
          <a:schemeClr val="accent5"/>
        </a:buClr>
        <a:buFont typeface="Arial" panose="020B0604020202020204" pitchFamily="34" charset="0"/>
        <a:buChar char="•"/>
        <a:defRPr sz="1400" kern="1200">
          <a:solidFill>
            <a:schemeClr val="tx2"/>
          </a:solidFill>
          <a:latin typeface="+mn-lt"/>
          <a:ea typeface="+mn-ea"/>
          <a:cs typeface="+mn-cs"/>
        </a:defRPr>
      </a:lvl8pPr>
      <a:lvl9pPr marL="1742562" indent="-290427" algn="l" defTabSz="1042512" rtl="0" eaLnBrk="1" latinLnBrk="0" hangingPunct="1">
        <a:lnSpc>
          <a:spcPct val="90000"/>
        </a:lnSpc>
        <a:spcBef>
          <a:spcPts val="0"/>
        </a:spcBef>
        <a:spcAft>
          <a:spcPts val="684"/>
        </a:spcAft>
        <a:buClr>
          <a:schemeClr val="accent5"/>
        </a:buClr>
        <a:buFont typeface="Arial" panose="020B0604020202020204" pitchFamily="34" charset="0"/>
        <a:buChar char="•"/>
        <a:defRPr sz="1400" kern="1200">
          <a:solidFill>
            <a:schemeClr val="tx2"/>
          </a:solidFill>
          <a:latin typeface="+mn-lt"/>
          <a:ea typeface="+mn-ea"/>
          <a:cs typeface="+mn-cs"/>
        </a:defRPr>
      </a:lvl9pPr>
    </p:bodyStyle>
    <p:otherStyle>
      <a:defPPr>
        <a:defRPr lang="en-US"/>
      </a:defPPr>
      <a:lvl1pPr marL="0" algn="l" defTabSz="1042512" rtl="0" eaLnBrk="1" latinLnBrk="0" hangingPunct="1">
        <a:defRPr sz="2052" kern="1200">
          <a:solidFill>
            <a:schemeClr val="tx1"/>
          </a:solidFill>
          <a:latin typeface="+mn-lt"/>
          <a:ea typeface="+mn-ea"/>
          <a:cs typeface="+mn-cs"/>
        </a:defRPr>
      </a:lvl1pPr>
      <a:lvl2pPr marL="521258" algn="l" defTabSz="1042512" rtl="0" eaLnBrk="1" latinLnBrk="0" hangingPunct="1">
        <a:defRPr sz="2052" kern="1200">
          <a:solidFill>
            <a:schemeClr val="tx1"/>
          </a:solidFill>
          <a:latin typeface="+mn-lt"/>
          <a:ea typeface="+mn-ea"/>
          <a:cs typeface="+mn-cs"/>
        </a:defRPr>
      </a:lvl2pPr>
      <a:lvl3pPr marL="1042512" algn="l" defTabSz="1042512" rtl="0" eaLnBrk="1" latinLnBrk="0" hangingPunct="1">
        <a:defRPr sz="2052" kern="1200">
          <a:solidFill>
            <a:schemeClr val="tx1"/>
          </a:solidFill>
          <a:latin typeface="+mn-lt"/>
          <a:ea typeface="+mn-ea"/>
          <a:cs typeface="+mn-cs"/>
        </a:defRPr>
      </a:lvl3pPr>
      <a:lvl4pPr marL="1563773" algn="l" defTabSz="1042512" rtl="0" eaLnBrk="1" latinLnBrk="0" hangingPunct="1">
        <a:defRPr sz="2052" kern="1200">
          <a:solidFill>
            <a:schemeClr val="tx1"/>
          </a:solidFill>
          <a:latin typeface="+mn-lt"/>
          <a:ea typeface="+mn-ea"/>
          <a:cs typeface="+mn-cs"/>
        </a:defRPr>
      </a:lvl4pPr>
      <a:lvl5pPr marL="2085031" algn="l" defTabSz="1042512" rtl="0" eaLnBrk="1" latinLnBrk="0" hangingPunct="1">
        <a:defRPr sz="2052" kern="1200">
          <a:solidFill>
            <a:schemeClr val="tx1"/>
          </a:solidFill>
          <a:latin typeface="+mn-lt"/>
          <a:ea typeface="+mn-ea"/>
          <a:cs typeface="+mn-cs"/>
        </a:defRPr>
      </a:lvl5pPr>
      <a:lvl6pPr marL="2606285" algn="l" defTabSz="1042512" rtl="0" eaLnBrk="1" latinLnBrk="0" hangingPunct="1">
        <a:defRPr sz="2052" kern="1200">
          <a:solidFill>
            <a:schemeClr val="tx1"/>
          </a:solidFill>
          <a:latin typeface="+mn-lt"/>
          <a:ea typeface="+mn-ea"/>
          <a:cs typeface="+mn-cs"/>
        </a:defRPr>
      </a:lvl6pPr>
      <a:lvl7pPr marL="3127543" algn="l" defTabSz="1042512" rtl="0" eaLnBrk="1" latinLnBrk="0" hangingPunct="1">
        <a:defRPr sz="2052" kern="1200">
          <a:solidFill>
            <a:schemeClr val="tx1"/>
          </a:solidFill>
          <a:latin typeface="+mn-lt"/>
          <a:ea typeface="+mn-ea"/>
          <a:cs typeface="+mn-cs"/>
        </a:defRPr>
      </a:lvl7pPr>
      <a:lvl8pPr marL="3648803" algn="l" defTabSz="1042512" rtl="0" eaLnBrk="1" latinLnBrk="0" hangingPunct="1">
        <a:defRPr sz="2052" kern="1200">
          <a:solidFill>
            <a:schemeClr val="tx1"/>
          </a:solidFill>
          <a:latin typeface="+mn-lt"/>
          <a:ea typeface="+mn-ea"/>
          <a:cs typeface="+mn-cs"/>
        </a:defRPr>
      </a:lvl8pPr>
      <a:lvl9pPr marL="4170060" algn="l" defTabSz="1042512" rtl="0" eaLnBrk="1" latinLnBrk="0" hangingPunct="1">
        <a:defRPr sz="2052" kern="1200">
          <a:solidFill>
            <a:schemeClr val="tx1"/>
          </a:solidFill>
          <a:latin typeface="+mn-lt"/>
          <a:ea typeface="+mn-ea"/>
          <a:cs typeface="+mn-cs"/>
        </a:defRPr>
      </a:lvl9pPr>
    </p:otherStyle>
  </p:txStyles>
  <p:extLst>
    <p:ext uri="{27BBF7A9-308A-43DC-89C8-2F10F3537804}">
      <p15:sldGuideLst xmlns:p15="http://schemas.microsoft.com/office/powerpoint/2012/main">
        <p15:guide id="9" orient="horz" pos="2161">
          <p15:clr>
            <a:srgbClr val="F26B43"/>
          </p15:clr>
        </p15:guide>
        <p15:guide id="10" pos="3840">
          <p15:clr>
            <a:srgbClr val="F26B43"/>
          </p15:clr>
        </p15:guide>
        <p15:guide id="11" pos="260">
          <p15:clr>
            <a:srgbClr val="F26B43"/>
          </p15:clr>
        </p15:guide>
        <p15:guide id="12" pos="7420">
          <p15:clr>
            <a:srgbClr val="F26B43"/>
          </p15:clr>
        </p15:guide>
        <p15:guide id="13" orient="horz" pos="259">
          <p15:clr>
            <a:srgbClr val="F26B43"/>
          </p15:clr>
        </p15:guide>
        <p15:guide id="14" orient="horz" pos="958">
          <p15:clr>
            <a:srgbClr val="F26B43"/>
          </p15:clr>
        </p15:guide>
        <p15:guide id="15" orient="horz" pos="3989">
          <p15:clr>
            <a:srgbClr val="F26B43"/>
          </p15:clr>
        </p15:guide>
        <p15:guide id="16" orient="horz" pos="379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0879" y="410669"/>
            <a:ext cx="11368018" cy="776038"/>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3" name="Text Placeholder 2"/>
          <p:cNvSpPr>
            <a:spLocks noGrp="1"/>
          </p:cNvSpPr>
          <p:nvPr>
            <p:ph type="body" idx="1"/>
          </p:nvPr>
        </p:nvSpPr>
        <p:spPr>
          <a:xfrm>
            <a:off x="410879" y="1521182"/>
            <a:ext cx="11368018" cy="4494734"/>
          </a:xfrm>
          <a:prstGeom prst="rect">
            <a:avLst/>
          </a:prstGeom>
        </p:spPr>
        <p:txBody>
          <a:bodyPr vert="horz" lIns="0" tIns="0" rIns="0" bIns="0" rtlCol="0" anchor="t" anchorCtr="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Date Placeholder 3"/>
          <p:cNvSpPr>
            <a:spLocks noGrp="1"/>
          </p:cNvSpPr>
          <p:nvPr>
            <p:ph type="dt" sz="half" idx="2"/>
          </p:nvPr>
        </p:nvSpPr>
        <p:spPr>
          <a:xfrm>
            <a:off x="6096910" y="6332830"/>
            <a:ext cx="1194866" cy="273450"/>
          </a:xfrm>
          <a:prstGeom prst="rect">
            <a:avLst/>
          </a:prstGeom>
        </p:spPr>
        <p:txBody>
          <a:bodyPr vert="horz" lIns="0" tIns="0" rIns="0" bIns="0" rtlCol="0" anchor="t" anchorCtr="0">
            <a:noAutofit/>
          </a:bodyPr>
          <a:lstStyle>
            <a:lvl1pPr algn="l">
              <a:defRPr sz="1100">
                <a:solidFill>
                  <a:schemeClr val="accent5"/>
                </a:solidFill>
              </a:defRPr>
            </a:lvl1pPr>
          </a:lstStyle>
          <a:p>
            <a:endParaRPr lang="en-US" dirty="0"/>
          </a:p>
        </p:txBody>
      </p:sp>
      <p:sp>
        <p:nvSpPr>
          <p:cNvPr id="5" name="Footer Placeholder 4"/>
          <p:cNvSpPr>
            <a:spLocks noGrp="1"/>
          </p:cNvSpPr>
          <p:nvPr>
            <p:ph type="ftr" sz="quarter" idx="3"/>
          </p:nvPr>
        </p:nvSpPr>
        <p:spPr>
          <a:xfrm>
            <a:off x="920368" y="6332830"/>
            <a:ext cx="4784400" cy="273450"/>
          </a:xfrm>
          <a:prstGeom prst="rect">
            <a:avLst/>
          </a:prstGeom>
        </p:spPr>
        <p:txBody>
          <a:bodyPr vert="horz" lIns="0" tIns="0" rIns="0" bIns="0" rtlCol="0" anchor="t" anchorCtr="0">
            <a:noAutofit/>
          </a:bodyPr>
          <a:lstStyle>
            <a:lvl1pPr algn="l">
              <a:defRPr sz="1100">
                <a:solidFill>
                  <a:schemeClr val="accent5"/>
                </a:solidFill>
              </a:defRPr>
            </a:lvl1pPr>
          </a:lstStyle>
          <a:p>
            <a:r>
              <a:rPr lang="en-GB"/>
              <a:t>Document Name</a:t>
            </a:r>
            <a:endParaRPr lang="en-US" dirty="0"/>
          </a:p>
        </p:txBody>
      </p:sp>
      <p:sp>
        <p:nvSpPr>
          <p:cNvPr id="6" name="Slide Number Placeholder 5"/>
          <p:cNvSpPr>
            <a:spLocks noGrp="1"/>
          </p:cNvSpPr>
          <p:nvPr>
            <p:ph type="sldNum" sz="quarter" idx="4"/>
          </p:nvPr>
        </p:nvSpPr>
        <p:spPr>
          <a:xfrm>
            <a:off x="410882" y="6332830"/>
            <a:ext cx="507262" cy="273450"/>
          </a:xfrm>
          <a:prstGeom prst="rect">
            <a:avLst/>
          </a:prstGeom>
        </p:spPr>
        <p:txBody>
          <a:bodyPr vert="horz" lIns="0" tIns="0" rIns="0" bIns="0" rtlCol="0" anchor="t" anchorCtr="0">
            <a:noAutofit/>
          </a:bodyPr>
          <a:lstStyle>
            <a:lvl1pPr algn="l">
              <a:defRPr sz="1100">
                <a:solidFill>
                  <a:schemeClr val="accent5"/>
                </a:solidFill>
              </a:defRPr>
            </a:lvl1pPr>
          </a:lstStyle>
          <a:p>
            <a:fld id="{32B354EE-31EA-4FC2-9496-7B6202183237}" type="slidenum">
              <a:rPr lang="en-US" smtClean="0"/>
              <a:pPr/>
              <a:t>‹#›</a:t>
            </a:fld>
            <a:endParaRPr lang="en-US" dirty="0"/>
          </a:p>
        </p:txBody>
      </p:sp>
      <p:sp>
        <p:nvSpPr>
          <p:cNvPr id="18" name="Freeform 5">
            <a:extLst>
              <a:ext uri="{FF2B5EF4-FFF2-40B4-BE49-F238E27FC236}">
                <a16:creationId xmlns:a16="http://schemas.microsoft.com/office/drawing/2014/main" id="{932C11A5-A03B-4075-B595-9FA95A8BD6D8}"/>
              </a:ext>
            </a:extLst>
          </p:cNvPr>
          <p:cNvSpPr>
            <a:spLocks noChangeAspect="1" noEditPoints="1"/>
          </p:cNvSpPr>
          <p:nvPr/>
        </p:nvSpPr>
        <p:spPr bwMode="auto">
          <a:xfrm>
            <a:off x="11163612" y="6336092"/>
            <a:ext cx="612000" cy="106642"/>
          </a:xfrm>
          <a:custGeom>
            <a:avLst/>
            <a:gdLst>
              <a:gd name="T0" fmla="*/ 2108 w 2301"/>
              <a:gd name="T1" fmla="*/ 43 h 400"/>
              <a:gd name="T2" fmla="*/ 2257 w 2301"/>
              <a:gd name="T3" fmla="*/ 121 h 400"/>
              <a:gd name="T4" fmla="*/ 2154 w 2301"/>
              <a:gd name="T5" fmla="*/ 289 h 400"/>
              <a:gd name="T6" fmla="*/ 2261 w 2301"/>
              <a:gd name="T7" fmla="*/ 295 h 400"/>
              <a:gd name="T8" fmla="*/ 2301 w 2301"/>
              <a:gd name="T9" fmla="*/ 300 h 400"/>
              <a:gd name="T10" fmla="*/ 2108 w 2301"/>
              <a:gd name="T11" fmla="*/ 167 h 400"/>
              <a:gd name="T12" fmla="*/ 548 w 2301"/>
              <a:gd name="T13" fmla="*/ 121 h 400"/>
              <a:gd name="T14" fmla="*/ 643 w 2301"/>
              <a:gd name="T15" fmla="*/ 43 h 400"/>
              <a:gd name="T16" fmla="*/ 746 w 2301"/>
              <a:gd name="T17" fmla="*/ 167 h 400"/>
              <a:gd name="T18" fmla="*/ 729 w 2301"/>
              <a:gd name="T19" fmla="*/ 342 h 400"/>
              <a:gd name="T20" fmla="*/ 789 w 2301"/>
              <a:gd name="T21" fmla="*/ 296 h 400"/>
              <a:gd name="T22" fmla="*/ 622 w 2301"/>
              <a:gd name="T23" fmla="*/ 371 h 400"/>
              <a:gd name="T24" fmla="*/ 1997 w 2301"/>
              <a:gd name="T25" fmla="*/ 297 h 400"/>
              <a:gd name="T26" fmla="*/ 1822 w 2301"/>
              <a:gd name="T27" fmla="*/ 327 h 400"/>
              <a:gd name="T28" fmla="*/ 1954 w 2301"/>
              <a:gd name="T29" fmla="*/ 213 h 400"/>
              <a:gd name="T30" fmla="*/ 1962 w 2301"/>
              <a:gd name="T31" fmla="*/ 141 h 400"/>
              <a:gd name="T32" fmla="*/ 1885 w 2301"/>
              <a:gd name="T33" fmla="*/ 400 h 400"/>
              <a:gd name="T34" fmla="*/ 0 w 2301"/>
              <a:gd name="T35" fmla="*/ 389 h 400"/>
              <a:gd name="T36" fmla="*/ 19 w 2301"/>
              <a:gd name="T37" fmla="*/ 167 h 400"/>
              <a:gd name="T38" fmla="*/ 125 w 2301"/>
              <a:gd name="T39" fmla="*/ 126 h 400"/>
              <a:gd name="T40" fmla="*/ 206 w 2301"/>
              <a:gd name="T41" fmla="*/ 395 h 400"/>
              <a:gd name="T42" fmla="*/ 381 w 2301"/>
              <a:gd name="T43" fmla="*/ 116 h 400"/>
              <a:gd name="T44" fmla="*/ 266 w 2301"/>
              <a:gd name="T45" fmla="*/ 126 h 400"/>
              <a:gd name="T46" fmla="*/ 272 w 2301"/>
              <a:gd name="T47" fmla="*/ 395 h 400"/>
              <a:gd name="T48" fmla="*/ 312 w 2301"/>
              <a:gd name="T49" fmla="*/ 250 h 400"/>
              <a:gd name="T50" fmla="*/ 313 w 2301"/>
              <a:gd name="T51" fmla="*/ 228 h 400"/>
              <a:gd name="T52" fmla="*/ 313 w 2301"/>
              <a:gd name="T53" fmla="*/ 215 h 400"/>
              <a:gd name="T54" fmla="*/ 316 w 2301"/>
              <a:gd name="T55" fmla="*/ 206 h 400"/>
              <a:gd name="T56" fmla="*/ 319 w 2301"/>
              <a:gd name="T57" fmla="*/ 197 h 400"/>
              <a:gd name="T58" fmla="*/ 327 w 2301"/>
              <a:gd name="T59" fmla="*/ 186 h 400"/>
              <a:gd name="T60" fmla="*/ 447 w 2301"/>
              <a:gd name="T61" fmla="*/ 389 h 400"/>
              <a:gd name="T62" fmla="*/ 493 w 2301"/>
              <a:gd name="T63" fmla="*/ 228 h 400"/>
              <a:gd name="T64" fmla="*/ 142 w 2301"/>
              <a:gd name="T65" fmla="*/ 38 h 400"/>
              <a:gd name="T66" fmla="*/ 1292 w 2301"/>
              <a:gd name="T67" fmla="*/ 116 h 400"/>
              <a:gd name="T68" fmla="*/ 1177 w 2301"/>
              <a:gd name="T69" fmla="*/ 126 h 400"/>
              <a:gd name="T70" fmla="*/ 1183 w 2301"/>
              <a:gd name="T71" fmla="*/ 395 h 400"/>
              <a:gd name="T72" fmla="*/ 1223 w 2301"/>
              <a:gd name="T73" fmla="*/ 250 h 400"/>
              <a:gd name="T74" fmla="*/ 1224 w 2301"/>
              <a:gd name="T75" fmla="*/ 228 h 400"/>
              <a:gd name="T76" fmla="*/ 1224 w 2301"/>
              <a:gd name="T77" fmla="*/ 215 h 400"/>
              <a:gd name="T78" fmla="*/ 1227 w 2301"/>
              <a:gd name="T79" fmla="*/ 206 h 400"/>
              <a:gd name="T80" fmla="*/ 1230 w 2301"/>
              <a:gd name="T81" fmla="*/ 197 h 400"/>
              <a:gd name="T82" fmla="*/ 1238 w 2301"/>
              <a:gd name="T83" fmla="*/ 186 h 400"/>
              <a:gd name="T84" fmla="*/ 1386 w 2301"/>
              <a:gd name="T85" fmla="*/ 179 h 400"/>
              <a:gd name="T86" fmla="*/ 1002 w 2301"/>
              <a:gd name="T87" fmla="*/ 126 h 400"/>
              <a:gd name="T88" fmla="*/ 956 w 2301"/>
              <a:gd name="T89" fmla="*/ 170 h 400"/>
              <a:gd name="T90" fmla="*/ 981 w 2301"/>
              <a:gd name="T91" fmla="*/ 400 h 400"/>
              <a:gd name="T92" fmla="*/ 981 w 2301"/>
              <a:gd name="T93" fmla="*/ 354 h 400"/>
              <a:gd name="T94" fmla="*/ 1692 w 2301"/>
              <a:gd name="T95" fmla="*/ 232 h 400"/>
              <a:gd name="T96" fmla="*/ 1646 w 2301"/>
              <a:gd name="T97" fmla="*/ 149 h 400"/>
              <a:gd name="T98" fmla="*/ 1648 w 2301"/>
              <a:gd name="T99" fmla="*/ 258 h 400"/>
              <a:gd name="T100" fmla="*/ 1536 w 2301"/>
              <a:gd name="T101" fmla="*/ 120 h 400"/>
              <a:gd name="T102" fmla="*/ 1646 w 2301"/>
              <a:gd name="T103" fmla="*/ 390 h 400"/>
              <a:gd name="T104" fmla="*/ 1692 w 2301"/>
              <a:gd name="T105" fmla="*/ 242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01" h="400">
                <a:moveTo>
                  <a:pt x="2054" y="162"/>
                </a:moveTo>
                <a:cubicBezTo>
                  <a:pt x="2054" y="126"/>
                  <a:pt x="2054" y="126"/>
                  <a:pt x="2054" y="126"/>
                </a:cubicBezTo>
                <a:cubicBezTo>
                  <a:pt x="2054" y="122"/>
                  <a:pt x="2055" y="121"/>
                  <a:pt x="2059" y="121"/>
                </a:cubicBezTo>
                <a:cubicBezTo>
                  <a:pt x="2108" y="121"/>
                  <a:pt x="2108" y="121"/>
                  <a:pt x="2108" y="121"/>
                </a:cubicBezTo>
                <a:cubicBezTo>
                  <a:pt x="2108" y="43"/>
                  <a:pt x="2108" y="43"/>
                  <a:pt x="2108" y="43"/>
                </a:cubicBezTo>
                <a:cubicBezTo>
                  <a:pt x="2108" y="39"/>
                  <a:pt x="2110" y="38"/>
                  <a:pt x="2113" y="38"/>
                </a:cubicBezTo>
                <a:cubicBezTo>
                  <a:pt x="2149" y="38"/>
                  <a:pt x="2149" y="38"/>
                  <a:pt x="2149" y="38"/>
                </a:cubicBezTo>
                <a:cubicBezTo>
                  <a:pt x="2152" y="38"/>
                  <a:pt x="2154" y="39"/>
                  <a:pt x="2154" y="43"/>
                </a:cubicBezTo>
                <a:cubicBezTo>
                  <a:pt x="2154" y="121"/>
                  <a:pt x="2154" y="121"/>
                  <a:pt x="2154" y="121"/>
                </a:cubicBezTo>
                <a:cubicBezTo>
                  <a:pt x="2257" y="121"/>
                  <a:pt x="2257" y="121"/>
                  <a:pt x="2257" y="121"/>
                </a:cubicBezTo>
                <a:cubicBezTo>
                  <a:pt x="2260" y="121"/>
                  <a:pt x="2262" y="122"/>
                  <a:pt x="2262" y="126"/>
                </a:cubicBezTo>
                <a:cubicBezTo>
                  <a:pt x="2262" y="162"/>
                  <a:pt x="2262" y="162"/>
                  <a:pt x="2262" y="162"/>
                </a:cubicBezTo>
                <a:cubicBezTo>
                  <a:pt x="2262" y="165"/>
                  <a:pt x="2260" y="167"/>
                  <a:pt x="2257" y="167"/>
                </a:cubicBezTo>
                <a:cubicBezTo>
                  <a:pt x="2154" y="167"/>
                  <a:pt x="2154" y="167"/>
                  <a:pt x="2154" y="167"/>
                </a:cubicBezTo>
                <a:cubicBezTo>
                  <a:pt x="2154" y="289"/>
                  <a:pt x="2154" y="289"/>
                  <a:pt x="2154" y="289"/>
                </a:cubicBezTo>
                <a:cubicBezTo>
                  <a:pt x="2154" y="311"/>
                  <a:pt x="2158" y="326"/>
                  <a:pt x="2166" y="336"/>
                </a:cubicBezTo>
                <a:cubicBezTo>
                  <a:pt x="2174" y="348"/>
                  <a:pt x="2186" y="353"/>
                  <a:pt x="2204" y="353"/>
                </a:cubicBezTo>
                <a:cubicBezTo>
                  <a:pt x="2221" y="353"/>
                  <a:pt x="2232" y="351"/>
                  <a:pt x="2240" y="342"/>
                </a:cubicBezTo>
                <a:cubicBezTo>
                  <a:pt x="2248" y="333"/>
                  <a:pt x="2252" y="319"/>
                  <a:pt x="2255" y="300"/>
                </a:cubicBezTo>
                <a:cubicBezTo>
                  <a:pt x="2255" y="297"/>
                  <a:pt x="2257" y="295"/>
                  <a:pt x="2261" y="295"/>
                </a:cubicBezTo>
                <a:cubicBezTo>
                  <a:pt x="2296" y="295"/>
                  <a:pt x="2296" y="295"/>
                  <a:pt x="2296" y="295"/>
                </a:cubicBezTo>
                <a:cubicBezTo>
                  <a:pt x="2298" y="295"/>
                  <a:pt x="2298" y="295"/>
                  <a:pt x="2298" y="295"/>
                </a:cubicBezTo>
                <a:cubicBezTo>
                  <a:pt x="2298" y="295"/>
                  <a:pt x="2299" y="295"/>
                  <a:pt x="2300" y="296"/>
                </a:cubicBezTo>
                <a:cubicBezTo>
                  <a:pt x="2300" y="296"/>
                  <a:pt x="2301" y="297"/>
                  <a:pt x="2301" y="297"/>
                </a:cubicBezTo>
                <a:cubicBezTo>
                  <a:pt x="2301" y="298"/>
                  <a:pt x="2301" y="299"/>
                  <a:pt x="2301" y="300"/>
                </a:cubicBezTo>
                <a:cubicBezTo>
                  <a:pt x="2301" y="327"/>
                  <a:pt x="2295" y="350"/>
                  <a:pt x="2276" y="371"/>
                </a:cubicBezTo>
                <a:cubicBezTo>
                  <a:pt x="2259" y="390"/>
                  <a:pt x="2235" y="400"/>
                  <a:pt x="2205" y="400"/>
                </a:cubicBezTo>
                <a:cubicBezTo>
                  <a:pt x="2173" y="400"/>
                  <a:pt x="2149" y="390"/>
                  <a:pt x="2133" y="371"/>
                </a:cubicBezTo>
                <a:cubicBezTo>
                  <a:pt x="2116" y="353"/>
                  <a:pt x="2108" y="325"/>
                  <a:pt x="2108" y="289"/>
                </a:cubicBezTo>
                <a:cubicBezTo>
                  <a:pt x="2108" y="167"/>
                  <a:pt x="2108" y="167"/>
                  <a:pt x="2108" y="167"/>
                </a:cubicBezTo>
                <a:cubicBezTo>
                  <a:pt x="2059" y="167"/>
                  <a:pt x="2059" y="167"/>
                  <a:pt x="2059" y="167"/>
                </a:cubicBezTo>
                <a:cubicBezTo>
                  <a:pt x="2055" y="167"/>
                  <a:pt x="2054" y="165"/>
                  <a:pt x="2054" y="162"/>
                </a:cubicBezTo>
                <a:moveTo>
                  <a:pt x="543" y="162"/>
                </a:moveTo>
                <a:cubicBezTo>
                  <a:pt x="543" y="126"/>
                  <a:pt x="543" y="126"/>
                  <a:pt x="543" y="126"/>
                </a:cubicBezTo>
                <a:cubicBezTo>
                  <a:pt x="543" y="122"/>
                  <a:pt x="545" y="121"/>
                  <a:pt x="548" y="121"/>
                </a:cubicBezTo>
                <a:cubicBezTo>
                  <a:pt x="597" y="121"/>
                  <a:pt x="597" y="121"/>
                  <a:pt x="597" y="121"/>
                </a:cubicBezTo>
                <a:cubicBezTo>
                  <a:pt x="597" y="43"/>
                  <a:pt x="597" y="43"/>
                  <a:pt x="597" y="43"/>
                </a:cubicBezTo>
                <a:cubicBezTo>
                  <a:pt x="597" y="39"/>
                  <a:pt x="599" y="38"/>
                  <a:pt x="603" y="38"/>
                </a:cubicBezTo>
                <a:cubicBezTo>
                  <a:pt x="638" y="38"/>
                  <a:pt x="638" y="38"/>
                  <a:pt x="638" y="38"/>
                </a:cubicBezTo>
                <a:cubicBezTo>
                  <a:pt x="642" y="38"/>
                  <a:pt x="643" y="39"/>
                  <a:pt x="643" y="43"/>
                </a:cubicBezTo>
                <a:cubicBezTo>
                  <a:pt x="643" y="121"/>
                  <a:pt x="643" y="121"/>
                  <a:pt x="643" y="121"/>
                </a:cubicBezTo>
                <a:cubicBezTo>
                  <a:pt x="746" y="121"/>
                  <a:pt x="746" y="121"/>
                  <a:pt x="746" y="121"/>
                </a:cubicBezTo>
                <a:cubicBezTo>
                  <a:pt x="750" y="121"/>
                  <a:pt x="751" y="122"/>
                  <a:pt x="751" y="126"/>
                </a:cubicBezTo>
                <a:cubicBezTo>
                  <a:pt x="751" y="162"/>
                  <a:pt x="751" y="162"/>
                  <a:pt x="751" y="162"/>
                </a:cubicBezTo>
                <a:cubicBezTo>
                  <a:pt x="751" y="165"/>
                  <a:pt x="750" y="167"/>
                  <a:pt x="746" y="167"/>
                </a:cubicBezTo>
                <a:cubicBezTo>
                  <a:pt x="644" y="167"/>
                  <a:pt x="644" y="167"/>
                  <a:pt x="644" y="167"/>
                </a:cubicBezTo>
                <a:cubicBezTo>
                  <a:pt x="644" y="289"/>
                  <a:pt x="644" y="289"/>
                  <a:pt x="644" y="289"/>
                </a:cubicBezTo>
                <a:cubicBezTo>
                  <a:pt x="644" y="311"/>
                  <a:pt x="648" y="326"/>
                  <a:pt x="655" y="336"/>
                </a:cubicBezTo>
                <a:cubicBezTo>
                  <a:pt x="663" y="348"/>
                  <a:pt x="675" y="353"/>
                  <a:pt x="694" y="353"/>
                </a:cubicBezTo>
                <a:cubicBezTo>
                  <a:pt x="711" y="353"/>
                  <a:pt x="721" y="351"/>
                  <a:pt x="729" y="342"/>
                </a:cubicBezTo>
                <a:cubicBezTo>
                  <a:pt x="737" y="333"/>
                  <a:pt x="741" y="319"/>
                  <a:pt x="744" y="300"/>
                </a:cubicBezTo>
                <a:cubicBezTo>
                  <a:pt x="745" y="297"/>
                  <a:pt x="746" y="295"/>
                  <a:pt x="750" y="295"/>
                </a:cubicBezTo>
                <a:cubicBezTo>
                  <a:pt x="785" y="295"/>
                  <a:pt x="785" y="295"/>
                  <a:pt x="785" y="295"/>
                </a:cubicBezTo>
                <a:cubicBezTo>
                  <a:pt x="787" y="295"/>
                  <a:pt x="787" y="295"/>
                  <a:pt x="787" y="295"/>
                </a:cubicBezTo>
                <a:cubicBezTo>
                  <a:pt x="788" y="295"/>
                  <a:pt x="788" y="295"/>
                  <a:pt x="789" y="296"/>
                </a:cubicBezTo>
                <a:cubicBezTo>
                  <a:pt x="790" y="296"/>
                  <a:pt x="790" y="297"/>
                  <a:pt x="790" y="297"/>
                </a:cubicBezTo>
                <a:cubicBezTo>
                  <a:pt x="790" y="298"/>
                  <a:pt x="790" y="299"/>
                  <a:pt x="790" y="300"/>
                </a:cubicBezTo>
                <a:cubicBezTo>
                  <a:pt x="790" y="327"/>
                  <a:pt x="784" y="350"/>
                  <a:pt x="765" y="371"/>
                </a:cubicBezTo>
                <a:cubicBezTo>
                  <a:pt x="748" y="390"/>
                  <a:pt x="725" y="400"/>
                  <a:pt x="694" y="400"/>
                </a:cubicBezTo>
                <a:cubicBezTo>
                  <a:pt x="662" y="400"/>
                  <a:pt x="639" y="390"/>
                  <a:pt x="622" y="371"/>
                </a:cubicBezTo>
                <a:cubicBezTo>
                  <a:pt x="606" y="353"/>
                  <a:pt x="597" y="325"/>
                  <a:pt x="597" y="289"/>
                </a:cubicBezTo>
                <a:cubicBezTo>
                  <a:pt x="597" y="167"/>
                  <a:pt x="597" y="167"/>
                  <a:pt x="597" y="167"/>
                </a:cubicBezTo>
                <a:cubicBezTo>
                  <a:pt x="548" y="167"/>
                  <a:pt x="548" y="167"/>
                  <a:pt x="548" y="167"/>
                </a:cubicBezTo>
                <a:cubicBezTo>
                  <a:pt x="545" y="167"/>
                  <a:pt x="543" y="165"/>
                  <a:pt x="543" y="162"/>
                </a:cubicBezTo>
                <a:moveTo>
                  <a:pt x="1997" y="297"/>
                </a:moveTo>
                <a:cubicBezTo>
                  <a:pt x="1965" y="297"/>
                  <a:pt x="1965" y="297"/>
                  <a:pt x="1965" y="297"/>
                </a:cubicBezTo>
                <a:cubicBezTo>
                  <a:pt x="1958" y="297"/>
                  <a:pt x="1956" y="301"/>
                  <a:pt x="1955" y="304"/>
                </a:cubicBezTo>
                <a:cubicBezTo>
                  <a:pt x="1950" y="319"/>
                  <a:pt x="1942" y="331"/>
                  <a:pt x="1929" y="340"/>
                </a:cubicBezTo>
                <a:cubicBezTo>
                  <a:pt x="1917" y="349"/>
                  <a:pt x="1902" y="354"/>
                  <a:pt x="1885" y="354"/>
                </a:cubicBezTo>
                <a:cubicBezTo>
                  <a:pt x="1860" y="354"/>
                  <a:pt x="1837" y="345"/>
                  <a:pt x="1822" y="327"/>
                </a:cubicBezTo>
                <a:cubicBezTo>
                  <a:pt x="1807" y="309"/>
                  <a:pt x="1799" y="286"/>
                  <a:pt x="1799" y="258"/>
                </a:cubicBezTo>
                <a:cubicBezTo>
                  <a:pt x="1799" y="230"/>
                  <a:pt x="1807" y="206"/>
                  <a:pt x="1822" y="188"/>
                </a:cubicBezTo>
                <a:cubicBezTo>
                  <a:pt x="1837" y="170"/>
                  <a:pt x="1860" y="162"/>
                  <a:pt x="1885" y="162"/>
                </a:cubicBezTo>
                <a:cubicBezTo>
                  <a:pt x="1902" y="162"/>
                  <a:pt x="1916" y="166"/>
                  <a:pt x="1928" y="175"/>
                </a:cubicBezTo>
                <a:cubicBezTo>
                  <a:pt x="1941" y="184"/>
                  <a:pt x="1949" y="197"/>
                  <a:pt x="1954" y="213"/>
                </a:cubicBezTo>
                <a:cubicBezTo>
                  <a:pt x="1955" y="215"/>
                  <a:pt x="1957" y="219"/>
                  <a:pt x="1964" y="219"/>
                </a:cubicBezTo>
                <a:cubicBezTo>
                  <a:pt x="1996" y="219"/>
                  <a:pt x="1996" y="219"/>
                  <a:pt x="1996" y="219"/>
                </a:cubicBezTo>
                <a:cubicBezTo>
                  <a:pt x="1999" y="219"/>
                  <a:pt x="2002" y="217"/>
                  <a:pt x="2002" y="213"/>
                </a:cubicBezTo>
                <a:cubicBezTo>
                  <a:pt x="2002" y="211"/>
                  <a:pt x="2002" y="209"/>
                  <a:pt x="2001" y="207"/>
                </a:cubicBezTo>
                <a:cubicBezTo>
                  <a:pt x="1994" y="179"/>
                  <a:pt x="1982" y="157"/>
                  <a:pt x="1962" y="141"/>
                </a:cubicBezTo>
                <a:cubicBezTo>
                  <a:pt x="1942" y="125"/>
                  <a:pt x="1916" y="117"/>
                  <a:pt x="1885" y="117"/>
                </a:cubicBezTo>
                <a:cubicBezTo>
                  <a:pt x="1845" y="117"/>
                  <a:pt x="1812" y="130"/>
                  <a:pt x="1788" y="157"/>
                </a:cubicBezTo>
                <a:cubicBezTo>
                  <a:pt x="1765" y="183"/>
                  <a:pt x="1753" y="217"/>
                  <a:pt x="1753" y="258"/>
                </a:cubicBezTo>
                <a:cubicBezTo>
                  <a:pt x="1753" y="299"/>
                  <a:pt x="1765" y="333"/>
                  <a:pt x="1789" y="360"/>
                </a:cubicBezTo>
                <a:cubicBezTo>
                  <a:pt x="1812" y="386"/>
                  <a:pt x="1845" y="400"/>
                  <a:pt x="1885" y="400"/>
                </a:cubicBezTo>
                <a:cubicBezTo>
                  <a:pt x="1916" y="400"/>
                  <a:pt x="1942" y="392"/>
                  <a:pt x="1962" y="376"/>
                </a:cubicBezTo>
                <a:cubicBezTo>
                  <a:pt x="1982" y="360"/>
                  <a:pt x="1995" y="337"/>
                  <a:pt x="2003" y="309"/>
                </a:cubicBezTo>
                <a:cubicBezTo>
                  <a:pt x="2003" y="307"/>
                  <a:pt x="2003" y="305"/>
                  <a:pt x="2003" y="303"/>
                </a:cubicBezTo>
                <a:cubicBezTo>
                  <a:pt x="2003" y="300"/>
                  <a:pt x="2002" y="297"/>
                  <a:pt x="1997" y="297"/>
                </a:cubicBezTo>
                <a:moveTo>
                  <a:pt x="0" y="389"/>
                </a:moveTo>
                <a:cubicBezTo>
                  <a:pt x="0" y="354"/>
                  <a:pt x="0" y="354"/>
                  <a:pt x="0" y="354"/>
                </a:cubicBezTo>
                <a:cubicBezTo>
                  <a:pt x="0" y="351"/>
                  <a:pt x="2" y="349"/>
                  <a:pt x="6" y="349"/>
                </a:cubicBezTo>
                <a:cubicBezTo>
                  <a:pt x="78" y="349"/>
                  <a:pt x="78" y="349"/>
                  <a:pt x="78" y="349"/>
                </a:cubicBezTo>
                <a:cubicBezTo>
                  <a:pt x="78" y="167"/>
                  <a:pt x="78" y="167"/>
                  <a:pt x="78" y="167"/>
                </a:cubicBezTo>
                <a:cubicBezTo>
                  <a:pt x="19" y="167"/>
                  <a:pt x="19" y="167"/>
                  <a:pt x="19" y="167"/>
                </a:cubicBezTo>
                <a:cubicBezTo>
                  <a:pt x="16" y="167"/>
                  <a:pt x="14" y="165"/>
                  <a:pt x="14" y="162"/>
                </a:cubicBezTo>
                <a:cubicBezTo>
                  <a:pt x="14" y="126"/>
                  <a:pt x="14" y="126"/>
                  <a:pt x="14" y="126"/>
                </a:cubicBezTo>
                <a:cubicBezTo>
                  <a:pt x="14" y="122"/>
                  <a:pt x="16" y="121"/>
                  <a:pt x="19" y="121"/>
                </a:cubicBezTo>
                <a:cubicBezTo>
                  <a:pt x="119" y="121"/>
                  <a:pt x="119" y="121"/>
                  <a:pt x="119" y="121"/>
                </a:cubicBezTo>
                <a:cubicBezTo>
                  <a:pt x="122" y="121"/>
                  <a:pt x="124" y="122"/>
                  <a:pt x="125" y="126"/>
                </a:cubicBezTo>
                <a:cubicBezTo>
                  <a:pt x="125" y="349"/>
                  <a:pt x="125" y="349"/>
                  <a:pt x="125" y="349"/>
                </a:cubicBezTo>
                <a:cubicBezTo>
                  <a:pt x="206" y="349"/>
                  <a:pt x="206" y="349"/>
                  <a:pt x="206" y="349"/>
                </a:cubicBezTo>
                <a:cubicBezTo>
                  <a:pt x="209" y="349"/>
                  <a:pt x="211" y="351"/>
                  <a:pt x="211" y="354"/>
                </a:cubicBezTo>
                <a:cubicBezTo>
                  <a:pt x="211" y="389"/>
                  <a:pt x="211" y="389"/>
                  <a:pt x="211" y="389"/>
                </a:cubicBezTo>
                <a:cubicBezTo>
                  <a:pt x="211" y="393"/>
                  <a:pt x="210" y="395"/>
                  <a:pt x="206" y="395"/>
                </a:cubicBezTo>
                <a:cubicBezTo>
                  <a:pt x="6" y="395"/>
                  <a:pt x="6" y="395"/>
                  <a:pt x="6" y="395"/>
                </a:cubicBezTo>
                <a:cubicBezTo>
                  <a:pt x="2" y="395"/>
                  <a:pt x="0" y="393"/>
                  <a:pt x="0" y="389"/>
                </a:cubicBezTo>
                <a:moveTo>
                  <a:pt x="493" y="227"/>
                </a:moveTo>
                <a:cubicBezTo>
                  <a:pt x="493" y="199"/>
                  <a:pt x="485" y="173"/>
                  <a:pt x="463" y="149"/>
                </a:cubicBezTo>
                <a:cubicBezTo>
                  <a:pt x="444" y="128"/>
                  <a:pt x="411" y="116"/>
                  <a:pt x="381" y="116"/>
                </a:cubicBezTo>
                <a:cubicBezTo>
                  <a:pt x="332" y="116"/>
                  <a:pt x="312" y="150"/>
                  <a:pt x="312" y="150"/>
                </a:cubicBezTo>
                <a:cubicBezTo>
                  <a:pt x="312" y="126"/>
                  <a:pt x="312" y="126"/>
                  <a:pt x="312" y="126"/>
                </a:cubicBezTo>
                <a:cubicBezTo>
                  <a:pt x="312" y="122"/>
                  <a:pt x="311" y="121"/>
                  <a:pt x="307" y="121"/>
                </a:cubicBezTo>
                <a:cubicBezTo>
                  <a:pt x="272" y="121"/>
                  <a:pt x="272" y="121"/>
                  <a:pt x="272" y="121"/>
                </a:cubicBezTo>
                <a:cubicBezTo>
                  <a:pt x="268" y="121"/>
                  <a:pt x="266" y="122"/>
                  <a:pt x="266" y="126"/>
                </a:cubicBezTo>
                <a:cubicBezTo>
                  <a:pt x="266" y="231"/>
                  <a:pt x="266" y="231"/>
                  <a:pt x="266" y="231"/>
                </a:cubicBezTo>
                <a:cubicBezTo>
                  <a:pt x="266" y="235"/>
                  <a:pt x="266" y="238"/>
                  <a:pt x="266" y="242"/>
                </a:cubicBezTo>
                <a:cubicBezTo>
                  <a:pt x="266" y="244"/>
                  <a:pt x="266" y="247"/>
                  <a:pt x="266" y="250"/>
                </a:cubicBezTo>
                <a:cubicBezTo>
                  <a:pt x="266" y="389"/>
                  <a:pt x="266" y="389"/>
                  <a:pt x="266" y="389"/>
                </a:cubicBezTo>
                <a:cubicBezTo>
                  <a:pt x="266" y="393"/>
                  <a:pt x="268" y="395"/>
                  <a:pt x="272" y="395"/>
                </a:cubicBezTo>
                <a:cubicBezTo>
                  <a:pt x="307" y="395"/>
                  <a:pt x="307" y="395"/>
                  <a:pt x="307" y="395"/>
                </a:cubicBezTo>
                <a:cubicBezTo>
                  <a:pt x="311" y="395"/>
                  <a:pt x="312" y="393"/>
                  <a:pt x="312" y="389"/>
                </a:cubicBezTo>
                <a:cubicBezTo>
                  <a:pt x="312" y="251"/>
                  <a:pt x="312" y="251"/>
                  <a:pt x="312" y="251"/>
                </a:cubicBezTo>
                <a:cubicBezTo>
                  <a:pt x="312" y="250"/>
                  <a:pt x="312" y="250"/>
                  <a:pt x="312" y="250"/>
                </a:cubicBezTo>
                <a:cubicBezTo>
                  <a:pt x="312" y="250"/>
                  <a:pt x="312" y="250"/>
                  <a:pt x="312" y="250"/>
                </a:cubicBezTo>
                <a:cubicBezTo>
                  <a:pt x="312" y="243"/>
                  <a:pt x="312" y="241"/>
                  <a:pt x="312" y="236"/>
                </a:cubicBezTo>
                <a:cubicBezTo>
                  <a:pt x="312" y="235"/>
                  <a:pt x="312" y="235"/>
                  <a:pt x="312" y="235"/>
                </a:cubicBezTo>
                <a:cubicBezTo>
                  <a:pt x="312" y="234"/>
                  <a:pt x="312" y="233"/>
                  <a:pt x="312" y="232"/>
                </a:cubicBezTo>
                <a:cubicBezTo>
                  <a:pt x="312" y="232"/>
                  <a:pt x="312" y="231"/>
                  <a:pt x="312" y="231"/>
                </a:cubicBezTo>
                <a:cubicBezTo>
                  <a:pt x="312" y="230"/>
                  <a:pt x="313" y="229"/>
                  <a:pt x="313" y="228"/>
                </a:cubicBezTo>
                <a:cubicBezTo>
                  <a:pt x="313" y="228"/>
                  <a:pt x="313" y="224"/>
                  <a:pt x="313" y="223"/>
                </a:cubicBezTo>
                <a:cubicBezTo>
                  <a:pt x="313" y="222"/>
                  <a:pt x="313" y="222"/>
                  <a:pt x="313" y="221"/>
                </a:cubicBezTo>
                <a:cubicBezTo>
                  <a:pt x="313" y="220"/>
                  <a:pt x="313" y="220"/>
                  <a:pt x="313" y="219"/>
                </a:cubicBezTo>
                <a:cubicBezTo>
                  <a:pt x="313" y="218"/>
                  <a:pt x="313" y="218"/>
                  <a:pt x="313" y="217"/>
                </a:cubicBezTo>
                <a:cubicBezTo>
                  <a:pt x="313" y="216"/>
                  <a:pt x="313" y="216"/>
                  <a:pt x="313" y="215"/>
                </a:cubicBezTo>
                <a:cubicBezTo>
                  <a:pt x="314" y="215"/>
                  <a:pt x="314" y="214"/>
                  <a:pt x="314" y="213"/>
                </a:cubicBezTo>
                <a:cubicBezTo>
                  <a:pt x="314" y="213"/>
                  <a:pt x="314" y="212"/>
                  <a:pt x="314" y="211"/>
                </a:cubicBezTo>
                <a:cubicBezTo>
                  <a:pt x="314" y="211"/>
                  <a:pt x="314" y="210"/>
                  <a:pt x="315" y="210"/>
                </a:cubicBezTo>
                <a:cubicBezTo>
                  <a:pt x="315" y="209"/>
                  <a:pt x="315" y="208"/>
                  <a:pt x="315" y="208"/>
                </a:cubicBezTo>
                <a:cubicBezTo>
                  <a:pt x="315" y="207"/>
                  <a:pt x="315" y="207"/>
                  <a:pt x="316" y="206"/>
                </a:cubicBezTo>
                <a:cubicBezTo>
                  <a:pt x="316" y="205"/>
                  <a:pt x="316" y="205"/>
                  <a:pt x="316" y="204"/>
                </a:cubicBezTo>
                <a:cubicBezTo>
                  <a:pt x="316" y="203"/>
                  <a:pt x="317" y="203"/>
                  <a:pt x="317" y="202"/>
                </a:cubicBezTo>
                <a:cubicBezTo>
                  <a:pt x="317" y="202"/>
                  <a:pt x="317" y="201"/>
                  <a:pt x="318" y="200"/>
                </a:cubicBezTo>
                <a:cubicBezTo>
                  <a:pt x="318" y="200"/>
                  <a:pt x="318" y="199"/>
                  <a:pt x="319" y="199"/>
                </a:cubicBezTo>
                <a:cubicBezTo>
                  <a:pt x="319" y="198"/>
                  <a:pt x="319" y="197"/>
                  <a:pt x="319" y="197"/>
                </a:cubicBezTo>
                <a:cubicBezTo>
                  <a:pt x="320" y="196"/>
                  <a:pt x="320" y="195"/>
                  <a:pt x="321" y="195"/>
                </a:cubicBezTo>
                <a:cubicBezTo>
                  <a:pt x="321" y="194"/>
                  <a:pt x="321" y="194"/>
                  <a:pt x="322" y="193"/>
                </a:cubicBezTo>
                <a:cubicBezTo>
                  <a:pt x="322" y="192"/>
                  <a:pt x="323" y="192"/>
                  <a:pt x="323" y="191"/>
                </a:cubicBezTo>
                <a:cubicBezTo>
                  <a:pt x="323" y="190"/>
                  <a:pt x="324" y="190"/>
                  <a:pt x="324" y="189"/>
                </a:cubicBezTo>
                <a:cubicBezTo>
                  <a:pt x="325" y="188"/>
                  <a:pt x="326" y="187"/>
                  <a:pt x="327" y="186"/>
                </a:cubicBezTo>
                <a:cubicBezTo>
                  <a:pt x="342" y="168"/>
                  <a:pt x="360" y="162"/>
                  <a:pt x="380" y="162"/>
                </a:cubicBezTo>
                <a:cubicBezTo>
                  <a:pt x="398" y="162"/>
                  <a:pt x="416" y="169"/>
                  <a:pt x="427" y="180"/>
                </a:cubicBezTo>
                <a:cubicBezTo>
                  <a:pt x="439" y="192"/>
                  <a:pt x="447" y="210"/>
                  <a:pt x="447" y="229"/>
                </a:cubicBezTo>
                <a:cubicBezTo>
                  <a:pt x="447" y="254"/>
                  <a:pt x="447" y="254"/>
                  <a:pt x="447" y="254"/>
                </a:cubicBezTo>
                <a:cubicBezTo>
                  <a:pt x="447" y="389"/>
                  <a:pt x="447" y="389"/>
                  <a:pt x="447" y="389"/>
                </a:cubicBezTo>
                <a:cubicBezTo>
                  <a:pt x="447" y="393"/>
                  <a:pt x="449" y="395"/>
                  <a:pt x="453" y="395"/>
                </a:cubicBezTo>
                <a:cubicBezTo>
                  <a:pt x="488" y="395"/>
                  <a:pt x="488" y="395"/>
                  <a:pt x="488" y="395"/>
                </a:cubicBezTo>
                <a:cubicBezTo>
                  <a:pt x="492" y="395"/>
                  <a:pt x="493" y="393"/>
                  <a:pt x="493" y="389"/>
                </a:cubicBezTo>
                <a:cubicBezTo>
                  <a:pt x="493" y="254"/>
                  <a:pt x="493" y="254"/>
                  <a:pt x="493" y="254"/>
                </a:cubicBezTo>
                <a:cubicBezTo>
                  <a:pt x="493" y="228"/>
                  <a:pt x="493" y="228"/>
                  <a:pt x="493" y="228"/>
                </a:cubicBezTo>
                <a:cubicBezTo>
                  <a:pt x="493" y="227"/>
                  <a:pt x="493" y="227"/>
                  <a:pt x="493" y="227"/>
                </a:cubicBezTo>
                <a:close/>
                <a:moveTo>
                  <a:pt x="105" y="0"/>
                </a:moveTo>
                <a:cubicBezTo>
                  <a:pt x="84" y="0"/>
                  <a:pt x="67" y="17"/>
                  <a:pt x="67" y="38"/>
                </a:cubicBezTo>
                <a:cubicBezTo>
                  <a:pt x="67" y="58"/>
                  <a:pt x="84" y="75"/>
                  <a:pt x="105" y="75"/>
                </a:cubicBezTo>
                <a:cubicBezTo>
                  <a:pt x="125" y="75"/>
                  <a:pt x="142" y="58"/>
                  <a:pt x="142" y="38"/>
                </a:cubicBezTo>
                <a:cubicBezTo>
                  <a:pt x="142" y="17"/>
                  <a:pt x="125" y="0"/>
                  <a:pt x="105" y="0"/>
                </a:cubicBezTo>
                <a:moveTo>
                  <a:pt x="1386" y="179"/>
                </a:moveTo>
                <a:cubicBezTo>
                  <a:pt x="1390" y="177"/>
                  <a:pt x="1391" y="173"/>
                  <a:pt x="1389" y="169"/>
                </a:cubicBezTo>
                <a:cubicBezTo>
                  <a:pt x="1385" y="162"/>
                  <a:pt x="1380" y="156"/>
                  <a:pt x="1374" y="149"/>
                </a:cubicBezTo>
                <a:cubicBezTo>
                  <a:pt x="1355" y="128"/>
                  <a:pt x="1322" y="116"/>
                  <a:pt x="1292" y="116"/>
                </a:cubicBezTo>
                <a:cubicBezTo>
                  <a:pt x="1243" y="116"/>
                  <a:pt x="1223" y="150"/>
                  <a:pt x="1223" y="150"/>
                </a:cubicBezTo>
                <a:cubicBezTo>
                  <a:pt x="1223" y="126"/>
                  <a:pt x="1223" y="126"/>
                  <a:pt x="1223" y="126"/>
                </a:cubicBezTo>
                <a:cubicBezTo>
                  <a:pt x="1223" y="123"/>
                  <a:pt x="1221" y="121"/>
                  <a:pt x="1218" y="121"/>
                </a:cubicBezTo>
                <a:cubicBezTo>
                  <a:pt x="1183" y="121"/>
                  <a:pt x="1183" y="121"/>
                  <a:pt x="1183" y="121"/>
                </a:cubicBezTo>
                <a:cubicBezTo>
                  <a:pt x="1179" y="121"/>
                  <a:pt x="1177" y="122"/>
                  <a:pt x="1177" y="126"/>
                </a:cubicBezTo>
                <a:cubicBezTo>
                  <a:pt x="1177" y="231"/>
                  <a:pt x="1177" y="231"/>
                  <a:pt x="1177" y="231"/>
                </a:cubicBezTo>
                <a:cubicBezTo>
                  <a:pt x="1177" y="235"/>
                  <a:pt x="1177" y="238"/>
                  <a:pt x="1177" y="242"/>
                </a:cubicBezTo>
                <a:cubicBezTo>
                  <a:pt x="1177" y="244"/>
                  <a:pt x="1177" y="247"/>
                  <a:pt x="1177" y="250"/>
                </a:cubicBezTo>
                <a:cubicBezTo>
                  <a:pt x="1177" y="389"/>
                  <a:pt x="1177" y="389"/>
                  <a:pt x="1177" y="389"/>
                </a:cubicBezTo>
                <a:cubicBezTo>
                  <a:pt x="1177" y="393"/>
                  <a:pt x="1179" y="395"/>
                  <a:pt x="1183" y="395"/>
                </a:cubicBezTo>
                <a:cubicBezTo>
                  <a:pt x="1218" y="395"/>
                  <a:pt x="1218" y="395"/>
                  <a:pt x="1218" y="395"/>
                </a:cubicBezTo>
                <a:cubicBezTo>
                  <a:pt x="1221" y="395"/>
                  <a:pt x="1223" y="392"/>
                  <a:pt x="1223" y="389"/>
                </a:cubicBezTo>
                <a:cubicBezTo>
                  <a:pt x="1223" y="251"/>
                  <a:pt x="1223" y="251"/>
                  <a:pt x="1223" y="251"/>
                </a:cubicBezTo>
                <a:cubicBezTo>
                  <a:pt x="1223" y="250"/>
                  <a:pt x="1223" y="250"/>
                  <a:pt x="1223" y="250"/>
                </a:cubicBezTo>
                <a:cubicBezTo>
                  <a:pt x="1223" y="250"/>
                  <a:pt x="1223" y="250"/>
                  <a:pt x="1223" y="250"/>
                </a:cubicBezTo>
                <a:cubicBezTo>
                  <a:pt x="1223" y="243"/>
                  <a:pt x="1223" y="241"/>
                  <a:pt x="1223" y="236"/>
                </a:cubicBezTo>
                <a:cubicBezTo>
                  <a:pt x="1223" y="236"/>
                  <a:pt x="1223" y="235"/>
                  <a:pt x="1223" y="235"/>
                </a:cubicBezTo>
                <a:cubicBezTo>
                  <a:pt x="1223" y="234"/>
                  <a:pt x="1223" y="233"/>
                  <a:pt x="1223" y="232"/>
                </a:cubicBezTo>
                <a:cubicBezTo>
                  <a:pt x="1223" y="232"/>
                  <a:pt x="1223" y="231"/>
                  <a:pt x="1223" y="231"/>
                </a:cubicBezTo>
                <a:cubicBezTo>
                  <a:pt x="1223" y="230"/>
                  <a:pt x="1223" y="229"/>
                  <a:pt x="1224" y="228"/>
                </a:cubicBezTo>
                <a:cubicBezTo>
                  <a:pt x="1224" y="228"/>
                  <a:pt x="1224" y="224"/>
                  <a:pt x="1224" y="223"/>
                </a:cubicBezTo>
                <a:cubicBezTo>
                  <a:pt x="1224" y="222"/>
                  <a:pt x="1224" y="222"/>
                  <a:pt x="1224" y="221"/>
                </a:cubicBezTo>
                <a:cubicBezTo>
                  <a:pt x="1224" y="220"/>
                  <a:pt x="1224" y="220"/>
                  <a:pt x="1224" y="219"/>
                </a:cubicBezTo>
                <a:cubicBezTo>
                  <a:pt x="1224" y="218"/>
                  <a:pt x="1224" y="218"/>
                  <a:pt x="1224" y="217"/>
                </a:cubicBezTo>
                <a:cubicBezTo>
                  <a:pt x="1224" y="216"/>
                  <a:pt x="1224" y="216"/>
                  <a:pt x="1224" y="215"/>
                </a:cubicBezTo>
                <a:cubicBezTo>
                  <a:pt x="1225" y="215"/>
                  <a:pt x="1225" y="214"/>
                  <a:pt x="1225" y="213"/>
                </a:cubicBezTo>
                <a:cubicBezTo>
                  <a:pt x="1225" y="213"/>
                  <a:pt x="1225" y="212"/>
                  <a:pt x="1225" y="211"/>
                </a:cubicBezTo>
                <a:cubicBezTo>
                  <a:pt x="1225" y="211"/>
                  <a:pt x="1225" y="210"/>
                  <a:pt x="1226" y="210"/>
                </a:cubicBezTo>
                <a:cubicBezTo>
                  <a:pt x="1226" y="209"/>
                  <a:pt x="1226" y="208"/>
                  <a:pt x="1226" y="208"/>
                </a:cubicBezTo>
                <a:cubicBezTo>
                  <a:pt x="1226" y="207"/>
                  <a:pt x="1226" y="207"/>
                  <a:pt x="1227" y="206"/>
                </a:cubicBezTo>
                <a:cubicBezTo>
                  <a:pt x="1227" y="205"/>
                  <a:pt x="1227" y="205"/>
                  <a:pt x="1227" y="204"/>
                </a:cubicBezTo>
                <a:cubicBezTo>
                  <a:pt x="1227" y="203"/>
                  <a:pt x="1228" y="203"/>
                  <a:pt x="1228" y="202"/>
                </a:cubicBezTo>
                <a:cubicBezTo>
                  <a:pt x="1228" y="202"/>
                  <a:pt x="1228" y="201"/>
                  <a:pt x="1229" y="200"/>
                </a:cubicBezTo>
                <a:cubicBezTo>
                  <a:pt x="1229" y="200"/>
                  <a:pt x="1229" y="199"/>
                  <a:pt x="1230" y="199"/>
                </a:cubicBezTo>
                <a:cubicBezTo>
                  <a:pt x="1230" y="198"/>
                  <a:pt x="1230" y="197"/>
                  <a:pt x="1230" y="197"/>
                </a:cubicBezTo>
                <a:cubicBezTo>
                  <a:pt x="1231" y="196"/>
                  <a:pt x="1231" y="195"/>
                  <a:pt x="1232" y="195"/>
                </a:cubicBezTo>
                <a:cubicBezTo>
                  <a:pt x="1232" y="194"/>
                  <a:pt x="1232" y="194"/>
                  <a:pt x="1232" y="193"/>
                </a:cubicBezTo>
                <a:cubicBezTo>
                  <a:pt x="1233" y="192"/>
                  <a:pt x="1233" y="192"/>
                  <a:pt x="1234" y="191"/>
                </a:cubicBezTo>
                <a:cubicBezTo>
                  <a:pt x="1234" y="190"/>
                  <a:pt x="1235" y="190"/>
                  <a:pt x="1235" y="189"/>
                </a:cubicBezTo>
                <a:cubicBezTo>
                  <a:pt x="1236" y="188"/>
                  <a:pt x="1237" y="187"/>
                  <a:pt x="1238" y="186"/>
                </a:cubicBezTo>
                <a:cubicBezTo>
                  <a:pt x="1253" y="168"/>
                  <a:pt x="1271" y="162"/>
                  <a:pt x="1291" y="162"/>
                </a:cubicBezTo>
                <a:cubicBezTo>
                  <a:pt x="1308" y="162"/>
                  <a:pt x="1328" y="169"/>
                  <a:pt x="1338" y="180"/>
                </a:cubicBezTo>
                <a:cubicBezTo>
                  <a:pt x="1341" y="184"/>
                  <a:pt x="1345" y="188"/>
                  <a:pt x="1348" y="192"/>
                </a:cubicBezTo>
                <a:cubicBezTo>
                  <a:pt x="1350" y="196"/>
                  <a:pt x="1354" y="197"/>
                  <a:pt x="1357" y="195"/>
                </a:cubicBezTo>
                <a:lnTo>
                  <a:pt x="1386" y="179"/>
                </a:lnTo>
                <a:close/>
                <a:moveTo>
                  <a:pt x="1106" y="268"/>
                </a:moveTo>
                <a:cubicBezTo>
                  <a:pt x="1109" y="268"/>
                  <a:pt x="1112" y="265"/>
                  <a:pt x="1112" y="262"/>
                </a:cubicBezTo>
                <a:cubicBezTo>
                  <a:pt x="1112" y="256"/>
                  <a:pt x="1112" y="249"/>
                  <a:pt x="1112" y="246"/>
                </a:cubicBezTo>
                <a:cubicBezTo>
                  <a:pt x="1107" y="184"/>
                  <a:pt x="1065" y="133"/>
                  <a:pt x="1010" y="120"/>
                </a:cubicBezTo>
                <a:cubicBezTo>
                  <a:pt x="1006" y="119"/>
                  <a:pt x="1002" y="122"/>
                  <a:pt x="1002" y="126"/>
                </a:cubicBezTo>
                <a:cubicBezTo>
                  <a:pt x="1002" y="164"/>
                  <a:pt x="1002" y="164"/>
                  <a:pt x="1002" y="164"/>
                </a:cubicBezTo>
                <a:cubicBezTo>
                  <a:pt x="1002" y="166"/>
                  <a:pt x="1004" y="169"/>
                  <a:pt x="1006" y="170"/>
                </a:cubicBezTo>
                <a:cubicBezTo>
                  <a:pt x="1032" y="179"/>
                  <a:pt x="1053" y="201"/>
                  <a:pt x="1062" y="229"/>
                </a:cubicBezTo>
                <a:cubicBezTo>
                  <a:pt x="900" y="229"/>
                  <a:pt x="900" y="229"/>
                  <a:pt x="900" y="229"/>
                </a:cubicBezTo>
                <a:cubicBezTo>
                  <a:pt x="909" y="201"/>
                  <a:pt x="930" y="179"/>
                  <a:pt x="956" y="170"/>
                </a:cubicBezTo>
                <a:cubicBezTo>
                  <a:pt x="958" y="169"/>
                  <a:pt x="960" y="166"/>
                  <a:pt x="960" y="164"/>
                </a:cubicBezTo>
                <a:cubicBezTo>
                  <a:pt x="960" y="126"/>
                  <a:pt x="960" y="126"/>
                  <a:pt x="960" y="126"/>
                </a:cubicBezTo>
                <a:cubicBezTo>
                  <a:pt x="960" y="122"/>
                  <a:pt x="956" y="119"/>
                  <a:pt x="952" y="120"/>
                </a:cubicBezTo>
                <a:cubicBezTo>
                  <a:pt x="893" y="134"/>
                  <a:pt x="850" y="191"/>
                  <a:pt x="850" y="258"/>
                </a:cubicBezTo>
                <a:cubicBezTo>
                  <a:pt x="850" y="337"/>
                  <a:pt x="908" y="400"/>
                  <a:pt x="981" y="400"/>
                </a:cubicBezTo>
                <a:cubicBezTo>
                  <a:pt x="1032" y="400"/>
                  <a:pt x="1076" y="369"/>
                  <a:pt x="1098" y="322"/>
                </a:cubicBezTo>
                <a:cubicBezTo>
                  <a:pt x="1100" y="318"/>
                  <a:pt x="1097" y="313"/>
                  <a:pt x="1092" y="313"/>
                </a:cubicBezTo>
                <a:cubicBezTo>
                  <a:pt x="1055" y="313"/>
                  <a:pt x="1055" y="313"/>
                  <a:pt x="1055" y="313"/>
                </a:cubicBezTo>
                <a:cubicBezTo>
                  <a:pt x="1053" y="313"/>
                  <a:pt x="1051" y="314"/>
                  <a:pt x="1049" y="316"/>
                </a:cubicBezTo>
                <a:cubicBezTo>
                  <a:pt x="1034" y="339"/>
                  <a:pt x="1009" y="354"/>
                  <a:pt x="981" y="354"/>
                </a:cubicBezTo>
                <a:cubicBezTo>
                  <a:pt x="936" y="354"/>
                  <a:pt x="900" y="316"/>
                  <a:pt x="896" y="268"/>
                </a:cubicBezTo>
                <a:cubicBezTo>
                  <a:pt x="1066" y="268"/>
                  <a:pt x="1066" y="268"/>
                  <a:pt x="1066" y="268"/>
                </a:cubicBezTo>
                <a:cubicBezTo>
                  <a:pt x="1066" y="268"/>
                  <a:pt x="1066" y="268"/>
                  <a:pt x="1066" y="268"/>
                </a:cubicBezTo>
                <a:lnTo>
                  <a:pt x="1106" y="268"/>
                </a:lnTo>
                <a:close/>
                <a:moveTo>
                  <a:pt x="1692" y="232"/>
                </a:moveTo>
                <a:cubicBezTo>
                  <a:pt x="1692" y="126"/>
                  <a:pt x="1692" y="126"/>
                  <a:pt x="1692" y="126"/>
                </a:cubicBezTo>
                <a:cubicBezTo>
                  <a:pt x="1692" y="123"/>
                  <a:pt x="1690" y="121"/>
                  <a:pt x="1686" y="121"/>
                </a:cubicBezTo>
                <a:cubicBezTo>
                  <a:pt x="1651" y="121"/>
                  <a:pt x="1651" y="121"/>
                  <a:pt x="1651" y="121"/>
                </a:cubicBezTo>
                <a:cubicBezTo>
                  <a:pt x="1648" y="121"/>
                  <a:pt x="1646" y="123"/>
                  <a:pt x="1646" y="126"/>
                </a:cubicBezTo>
                <a:cubicBezTo>
                  <a:pt x="1646" y="149"/>
                  <a:pt x="1646" y="149"/>
                  <a:pt x="1646" y="149"/>
                </a:cubicBezTo>
                <a:cubicBezTo>
                  <a:pt x="1628" y="133"/>
                  <a:pt x="1607" y="121"/>
                  <a:pt x="1583" y="116"/>
                </a:cubicBezTo>
                <a:cubicBezTo>
                  <a:pt x="1580" y="115"/>
                  <a:pt x="1578" y="117"/>
                  <a:pt x="1578" y="120"/>
                </a:cubicBezTo>
                <a:cubicBezTo>
                  <a:pt x="1578" y="161"/>
                  <a:pt x="1578" y="161"/>
                  <a:pt x="1578" y="161"/>
                </a:cubicBezTo>
                <a:cubicBezTo>
                  <a:pt x="1578" y="163"/>
                  <a:pt x="1579" y="165"/>
                  <a:pt x="1581" y="165"/>
                </a:cubicBezTo>
                <a:cubicBezTo>
                  <a:pt x="1619" y="176"/>
                  <a:pt x="1648" y="213"/>
                  <a:pt x="1648" y="258"/>
                </a:cubicBezTo>
                <a:cubicBezTo>
                  <a:pt x="1648" y="311"/>
                  <a:pt x="1608" y="354"/>
                  <a:pt x="1558" y="354"/>
                </a:cubicBezTo>
                <a:cubicBezTo>
                  <a:pt x="1509" y="354"/>
                  <a:pt x="1469" y="311"/>
                  <a:pt x="1469" y="258"/>
                </a:cubicBezTo>
                <a:cubicBezTo>
                  <a:pt x="1469" y="214"/>
                  <a:pt x="1496" y="178"/>
                  <a:pt x="1533" y="166"/>
                </a:cubicBezTo>
                <a:cubicBezTo>
                  <a:pt x="1535" y="165"/>
                  <a:pt x="1536" y="164"/>
                  <a:pt x="1536" y="162"/>
                </a:cubicBezTo>
                <a:cubicBezTo>
                  <a:pt x="1536" y="120"/>
                  <a:pt x="1536" y="120"/>
                  <a:pt x="1536" y="120"/>
                </a:cubicBezTo>
                <a:cubicBezTo>
                  <a:pt x="1536" y="117"/>
                  <a:pt x="1534" y="115"/>
                  <a:pt x="1531" y="116"/>
                </a:cubicBezTo>
                <a:cubicBezTo>
                  <a:pt x="1469" y="128"/>
                  <a:pt x="1422" y="187"/>
                  <a:pt x="1422" y="257"/>
                </a:cubicBezTo>
                <a:cubicBezTo>
                  <a:pt x="1422" y="336"/>
                  <a:pt x="1482" y="400"/>
                  <a:pt x="1557" y="400"/>
                </a:cubicBezTo>
                <a:cubicBezTo>
                  <a:pt x="1591" y="400"/>
                  <a:pt x="1622" y="386"/>
                  <a:pt x="1646" y="364"/>
                </a:cubicBezTo>
                <a:cubicBezTo>
                  <a:pt x="1646" y="390"/>
                  <a:pt x="1646" y="390"/>
                  <a:pt x="1646" y="390"/>
                </a:cubicBezTo>
                <a:cubicBezTo>
                  <a:pt x="1646" y="393"/>
                  <a:pt x="1648" y="395"/>
                  <a:pt x="1651" y="395"/>
                </a:cubicBezTo>
                <a:cubicBezTo>
                  <a:pt x="1686" y="395"/>
                  <a:pt x="1686" y="395"/>
                  <a:pt x="1686" y="395"/>
                </a:cubicBezTo>
                <a:cubicBezTo>
                  <a:pt x="1690" y="395"/>
                  <a:pt x="1692" y="393"/>
                  <a:pt x="1692" y="390"/>
                </a:cubicBezTo>
                <a:cubicBezTo>
                  <a:pt x="1692" y="250"/>
                  <a:pt x="1692" y="250"/>
                  <a:pt x="1692" y="250"/>
                </a:cubicBezTo>
                <a:cubicBezTo>
                  <a:pt x="1692" y="247"/>
                  <a:pt x="1692" y="245"/>
                  <a:pt x="1692" y="242"/>
                </a:cubicBezTo>
                <a:cubicBezTo>
                  <a:pt x="1692" y="239"/>
                  <a:pt x="1692" y="235"/>
                  <a:pt x="1692" y="232"/>
                </a:cubicBezTo>
              </a:path>
            </a:pathLst>
          </a:custGeom>
          <a:solidFill>
            <a:srgbClr val="FF37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4074273292"/>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 id="2147483781" r:id="rId12"/>
    <p:sldLayoutId id="2147483782" r:id="rId13"/>
    <p:sldLayoutId id="2147483783" r:id="rId14"/>
    <p:sldLayoutId id="2147483784" r:id="rId15"/>
    <p:sldLayoutId id="2147483785" r:id="rId16"/>
    <p:sldLayoutId id="2147483786" r:id="rId17"/>
    <p:sldLayoutId id="2147483787" r:id="rId18"/>
    <p:sldLayoutId id="2147483788" r:id="rId19"/>
    <p:sldLayoutId id="2147483789" r:id="rId20"/>
    <p:sldLayoutId id="2147483790" r:id="rId21"/>
    <p:sldLayoutId id="2147483791" r:id="rId22"/>
  </p:sldLayoutIdLst>
  <p:transition>
    <p:fade/>
  </p:transition>
  <p:hf hdr="0" dt="0"/>
  <p:txStyles>
    <p:titleStyle>
      <a:lvl1pPr algn="l" defTabSz="1042512" rtl="0" eaLnBrk="1" latinLnBrk="0" hangingPunct="1">
        <a:lnSpc>
          <a:spcPct val="90000"/>
        </a:lnSpc>
        <a:spcBef>
          <a:spcPct val="0"/>
        </a:spcBef>
        <a:buNone/>
        <a:defRPr sz="2400" b="0" kern="1200">
          <a:solidFill>
            <a:schemeClr val="tx2"/>
          </a:solidFill>
          <a:latin typeface="+mj-lt"/>
          <a:ea typeface="+mj-ea"/>
          <a:cs typeface="+mj-cs"/>
        </a:defRPr>
      </a:lvl1pPr>
    </p:titleStyle>
    <p:bodyStyle>
      <a:lvl1pPr marL="0" indent="0" algn="l" defTabSz="1042512" rtl="0" eaLnBrk="1" latinLnBrk="0" hangingPunct="1">
        <a:lnSpc>
          <a:spcPct val="90000"/>
        </a:lnSpc>
        <a:spcBef>
          <a:spcPts val="0"/>
        </a:spcBef>
        <a:spcAft>
          <a:spcPts val="1027"/>
        </a:spcAft>
        <a:buFont typeface="Arial" panose="020B0604020202020204" pitchFamily="34" charset="0"/>
        <a:buNone/>
        <a:defRPr sz="1597" kern="1200">
          <a:solidFill>
            <a:schemeClr val="tx2"/>
          </a:solidFill>
          <a:latin typeface="+mn-lt"/>
          <a:ea typeface="+mn-ea"/>
          <a:cs typeface="+mn-cs"/>
        </a:defRPr>
      </a:lvl1pPr>
      <a:lvl2pPr marL="0" indent="0" algn="l" defTabSz="1042512" rtl="0" eaLnBrk="1" latinLnBrk="0" hangingPunct="1">
        <a:lnSpc>
          <a:spcPct val="90000"/>
        </a:lnSpc>
        <a:spcBef>
          <a:spcPts val="0"/>
        </a:spcBef>
        <a:spcAft>
          <a:spcPts val="1027"/>
        </a:spcAft>
        <a:buFont typeface="Arial" panose="020B0604020202020204" pitchFamily="34" charset="0"/>
        <a:buNone/>
        <a:defRPr sz="1597" b="0" kern="1200">
          <a:solidFill>
            <a:schemeClr val="tx2"/>
          </a:solidFill>
          <a:latin typeface="Signify Relative Bold" panose="02000806030000020004" pitchFamily="50" charset="0"/>
          <a:ea typeface="+mn-ea"/>
          <a:cs typeface="+mn-cs"/>
        </a:defRPr>
      </a:lvl2pPr>
      <a:lvl3pPr marL="0" indent="0" algn="l" defTabSz="1042512" rtl="0" eaLnBrk="1" latinLnBrk="0" hangingPunct="1">
        <a:lnSpc>
          <a:spcPct val="90000"/>
        </a:lnSpc>
        <a:spcBef>
          <a:spcPts val="0"/>
        </a:spcBef>
        <a:spcAft>
          <a:spcPts val="1027"/>
        </a:spcAft>
        <a:buFont typeface="Arial" panose="020B0604020202020204" pitchFamily="34" charset="0"/>
        <a:buNone/>
        <a:defRPr sz="1597" kern="1200">
          <a:solidFill>
            <a:schemeClr val="accent5"/>
          </a:solidFill>
          <a:latin typeface="+mn-lt"/>
          <a:ea typeface="+mn-ea"/>
          <a:cs typeface="+mn-cs"/>
        </a:defRPr>
      </a:lvl3pPr>
      <a:lvl4pPr marL="290427" indent="-290427" algn="l" defTabSz="1042512" rtl="0" eaLnBrk="1" latinLnBrk="0" hangingPunct="1">
        <a:lnSpc>
          <a:spcPct val="90000"/>
        </a:lnSpc>
        <a:spcBef>
          <a:spcPts val="0"/>
        </a:spcBef>
        <a:spcAft>
          <a:spcPts val="684"/>
        </a:spcAft>
        <a:buClr>
          <a:schemeClr val="accent5"/>
        </a:buClr>
        <a:buFont typeface="Arial" panose="020B0604020202020204" pitchFamily="34" charset="0"/>
        <a:buChar char="•"/>
        <a:defRPr sz="1400" kern="1200">
          <a:solidFill>
            <a:schemeClr val="tx2"/>
          </a:solidFill>
          <a:latin typeface="+mn-lt"/>
          <a:ea typeface="+mn-ea"/>
          <a:cs typeface="+mn-cs"/>
        </a:defRPr>
      </a:lvl4pPr>
      <a:lvl5pPr marL="580854" indent="-290427" algn="l" defTabSz="1042512" rtl="0" eaLnBrk="1" latinLnBrk="0" hangingPunct="1">
        <a:lnSpc>
          <a:spcPct val="90000"/>
        </a:lnSpc>
        <a:spcBef>
          <a:spcPts val="0"/>
        </a:spcBef>
        <a:spcAft>
          <a:spcPts val="684"/>
        </a:spcAft>
        <a:buClr>
          <a:schemeClr val="accent5"/>
        </a:buClr>
        <a:buFont typeface="Arial" panose="020B0604020202020204" pitchFamily="34" charset="0"/>
        <a:buChar char="•"/>
        <a:defRPr sz="1400" kern="1200">
          <a:solidFill>
            <a:schemeClr val="tx2"/>
          </a:solidFill>
          <a:latin typeface="+mn-lt"/>
          <a:ea typeface="+mn-ea"/>
          <a:cs typeface="+mn-cs"/>
        </a:defRPr>
      </a:lvl5pPr>
      <a:lvl6pPr marL="871281" indent="-290427" algn="l" defTabSz="1042512" rtl="0" eaLnBrk="1" latinLnBrk="0" hangingPunct="1">
        <a:lnSpc>
          <a:spcPct val="90000"/>
        </a:lnSpc>
        <a:spcBef>
          <a:spcPts val="0"/>
        </a:spcBef>
        <a:spcAft>
          <a:spcPts val="684"/>
        </a:spcAft>
        <a:buClr>
          <a:schemeClr val="accent5"/>
        </a:buClr>
        <a:buFont typeface="Arial" panose="020B0604020202020204" pitchFamily="34" charset="0"/>
        <a:buChar char="•"/>
        <a:defRPr sz="1400" kern="1200">
          <a:solidFill>
            <a:schemeClr val="tx2"/>
          </a:solidFill>
          <a:latin typeface="+mn-lt"/>
          <a:ea typeface="+mn-ea"/>
          <a:cs typeface="+mn-cs"/>
        </a:defRPr>
      </a:lvl6pPr>
      <a:lvl7pPr marL="1161708" indent="-290427" algn="l" defTabSz="1042512" rtl="0" eaLnBrk="1" latinLnBrk="0" hangingPunct="1">
        <a:lnSpc>
          <a:spcPct val="90000"/>
        </a:lnSpc>
        <a:spcBef>
          <a:spcPts val="0"/>
        </a:spcBef>
        <a:spcAft>
          <a:spcPts val="684"/>
        </a:spcAft>
        <a:buClr>
          <a:schemeClr val="accent5"/>
        </a:buClr>
        <a:buFont typeface="Arial" panose="020B0604020202020204" pitchFamily="34" charset="0"/>
        <a:buChar char="•"/>
        <a:defRPr sz="1400" kern="1200">
          <a:solidFill>
            <a:schemeClr val="tx2"/>
          </a:solidFill>
          <a:latin typeface="+mn-lt"/>
          <a:ea typeface="+mn-ea"/>
          <a:cs typeface="+mn-cs"/>
        </a:defRPr>
      </a:lvl7pPr>
      <a:lvl8pPr marL="1452133" indent="-290427" algn="l" defTabSz="1042512" rtl="0" eaLnBrk="1" latinLnBrk="0" hangingPunct="1">
        <a:lnSpc>
          <a:spcPct val="90000"/>
        </a:lnSpc>
        <a:spcBef>
          <a:spcPts val="0"/>
        </a:spcBef>
        <a:spcAft>
          <a:spcPts val="684"/>
        </a:spcAft>
        <a:buClr>
          <a:schemeClr val="accent5"/>
        </a:buClr>
        <a:buFont typeface="Arial" panose="020B0604020202020204" pitchFamily="34" charset="0"/>
        <a:buChar char="•"/>
        <a:defRPr sz="1400" kern="1200">
          <a:solidFill>
            <a:schemeClr val="tx2"/>
          </a:solidFill>
          <a:latin typeface="+mn-lt"/>
          <a:ea typeface="+mn-ea"/>
          <a:cs typeface="+mn-cs"/>
        </a:defRPr>
      </a:lvl8pPr>
      <a:lvl9pPr marL="1742562" indent="-290427" algn="l" defTabSz="1042512" rtl="0" eaLnBrk="1" latinLnBrk="0" hangingPunct="1">
        <a:lnSpc>
          <a:spcPct val="90000"/>
        </a:lnSpc>
        <a:spcBef>
          <a:spcPts val="0"/>
        </a:spcBef>
        <a:spcAft>
          <a:spcPts val="684"/>
        </a:spcAft>
        <a:buClr>
          <a:schemeClr val="accent5"/>
        </a:buClr>
        <a:buFont typeface="Arial" panose="020B0604020202020204" pitchFamily="34" charset="0"/>
        <a:buChar char="•"/>
        <a:defRPr sz="1400" kern="1200">
          <a:solidFill>
            <a:schemeClr val="tx2"/>
          </a:solidFill>
          <a:latin typeface="+mn-lt"/>
          <a:ea typeface="+mn-ea"/>
          <a:cs typeface="+mn-cs"/>
        </a:defRPr>
      </a:lvl9pPr>
    </p:bodyStyle>
    <p:otherStyle>
      <a:defPPr>
        <a:defRPr lang="en-US"/>
      </a:defPPr>
      <a:lvl1pPr marL="0" algn="l" defTabSz="1042512" rtl="0" eaLnBrk="1" latinLnBrk="0" hangingPunct="1">
        <a:defRPr sz="2052" kern="1200">
          <a:solidFill>
            <a:schemeClr val="tx1"/>
          </a:solidFill>
          <a:latin typeface="+mn-lt"/>
          <a:ea typeface="+mn-ea"/>
          <a:cs typeface="+mn-cs"/>
        </a:defRPr>
      </a:lvl1pPr>
      <a:lvl2pPr marL="521258" algn="l" defTabSz="1042512" rtl="0" eaLnBrk="1" latinLnBrk="0" hangingPunct="1">
        <a:defRPr sz="2052" kern="1200">
          <a:solidFill>
            <a:schemeClr val="tx1"/>
          </a:solidFill>
          <a:latin typeface="+mn-lt"/>
          <a:ea typeface="+mn-ea"/>
          <a:cs typeface="+mn-cs"/>
        </a:defRPr>
      </a:lvl2pPr>
      <a:lvl3pPr marL="1042512" algn="l" defTabSz="1042512" rtl="0" eaLnBrk="1" latinLnBrk="0" hangingPunct="1">
        <a:defRPr sz="2052" kern="1200">
          <a:solidFill>
            <a:schemeClr val="tx1"/>
          </a:solidFill>
          <a:latin typeface="+mn-lt"/>
          <a:ea typeface="+mn-ea"/>
          <a:cs typeface="+mn-cs"/>
        </a:defRPr>
      </a:lvl3pPr>
      <a:lvl4pPr marL="1563773" algn="l" defTabSz="1042512" rtl="0" eaLnBrk="1" latinLnBrk="0" hangingPunct="1">
        <a:defRPr sz="2052" kern="1200">
          <a:solidFill>
            <a:schemeClr val="tx1"/>
          </a:solidFill>
          <a:latin typeface="+mn-lt"/>
          <a:ea typeface="+mn-ea"/>
          <a:cs typeface="+mn-cs"/>
        </a:defRPr>
      </a:lvl4pPr>
      <a:lvl5pPr marL="2085031" algn="l" defTabSz="1042512" rtl="0" eaLnBrk="1" latinLnBrk="0" hangingPunct="1">
        <a:defRPr sz="2052" kern="1200">
          <a:solidFill>
            <a:schemeClr val="tx1"/>
          </a:solidFill>
          <a:latin typeface="+mn-lt"/>
          <a:ea typeface="+mn-ea"/>
          <a:cs typeface="+mn-cs"/>
        </a:defRPr>
      </a:lvl5pPr>
      <a:lvl6pPr marL="2606285" algn="l" defTabSz="1042512" rtl="0" eaLnBrk="1" latinLnBrk="0" hangingPunct="1">
        <a:defRPr sz="2052" kern="1200">
          <a:solidFill>
            <a:schemeClr val="tx1"/>
          </a:solidFill>
          <a:latin typeface="+mn-lt"/>
          <a:ea typeface="+mn-ea"/>
          <a:cs typeface="+mn-cs"/>
        </a:defRPr>
      </a:lvl6pPr>
      <a:lvl7pPr marL="3127543" algn="l" defTabSz="1042512" rtl="0" eaLnBrk="1" latinLnBrk="0" hangingPunct="1">
        <a:defRPr sz="2052" kern="1200">
          <a:solidFill>
            <a:schemeClr val="tx1"/>
          </a:solidFill>
          <a:latin typeface="+mn-lt"/>
          <a:ea typeface="+mn-ea"/>
          <a:cs typeface="+mn-cs"/>
        </a:defRPr>
      </a:lvl7pPr>
      <a:lvl8pPr marL="3648803" algn="l" defTabSz="1042512" rtl="0" eaLnBrk="1" latinLnBrk="0" hangingPunct="1">
        <a:defRPr sz="2052" kern="1200">
          <a:solidFill>
            <a:schemeClr val="tx1"/>
          </a:solidFill>
          <a:latin typeface="+mn-lt"/>
          <a:ea typeface="+mn-ea"/>
          <a:cs typeface="+mn-cs"/>
        </a:defRPr>
      </a:lvl8pPr>
      <a:lvl9pPr marL="4170060" algn="l" defTabSz="1042512" rtl="0" eaLnBrk="1" latinLnBrk="0" hangingPunct="1">
        <a:defRPr sz="205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1">
          <p15:clr>
            <a:srgbClr val="F26B43"/>
          </p15:clr>
        </p15:guide>
        <p15:guide id="2" pos="3840">
          <p15:clr>
            <a:srgbClr val="F26B43"/>
          </p15:clr>
        </p15:guide>
        <p15:guide id="3" pos="260">
          <p15:clr>
            <a:srgbClr val="F26B43"/>
          </p15:clr>
        </p15:guide>
        <p15:guide id="4" pos="7420">
          <p15:clr>
            <a:srgbClr val="F26B43"/>
          </p15:clr>
        </p15:guide>
        <p15:guide id="5" orient="horz" pos="259">
          <p15:clr>
            <a:srgbClr val="F26B43"/>
          </p15:clr>
        </p15:guide>
        <p15:guide id="6" orient="horz" pos="958">
          <p15:clr>
            <a:srgbClr val="F26B43"/>
          </p15:clr>
        </p15:guide>
        <p15:guide id="7" orient="horz" pos="3989">
          <p15:clr>
            <a:srgbClr val="F26B43"/>
          </p15:clr>
        </p15:guide>
        <p15:guide id="8" orient="horz" pos="379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0879" y="410669"/>
            <a:ext cx="11368018" cy="776038"/>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3" name="Text Placeholder 2"/>
          <p:cNvSpPr>
            <a:spLocks noGrp="1"/>
          </p:cNvSpPr>
          <p:nvPr>
            <p:ph type="body" idx="1"/>
          </p:nvPr>
        </p:nvSpPr>
        <p:spPr>
          <a:xfrm>
            <a:off x="410879" y="1521182"/>
            <a:ext cx="11368018" cy="4494734"/>
          </a:xfrm>
          <a:prstGeom prst="rect">
            <a:avLst/>
          </a:prstGeom>
        </p:spPr>
        <p:txBody>
          <a:bodyPr vert="horz" lIns="0" tIns="0" rIns="0" bIns="0" rtlCol="0" anchor="t" anchorCtr="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Date Placeholder 3"/>
          <p:cNvSpPr>
            <a:spLocks noGrp="1"/>
          </p:cNvSpPr>
          <p:nvPr>
            <p:ph type="dt" sz="half" idx="2"/>
          </p:nvPr>
        </p:nvSpPr>
        <p:spPr>
          <a:xfrm>
            <a:off x="6096910" y="6332830"/>
            <a:ext cx="1194866" cy="273450"/>
          </a:xfrm>
          <a:prstGeom prst="rect">
            <a:avLst/>
          </a:prstGeom>
        </p:spPr>
        <p:txBody>
          <a:bodyPr vert="horz" lIns="0" tIns="0" rIns="0" bIns="0" rtlCol="0" anchor="t" anchorCtr="0">
            <a:noAutofit/>
          </a:bodyPr>
          <a:lstStyle>
            <a:lvl1pPr algn="l">
              <a:defRPr sz="1100">
                <a:solidFill>
                  <a:schemeClr val="tx1"/>
                </a:solidFill>
              </a:defRPr>
            </a:lvl1pPr>
          </a:lstStyle>
          <a:p>
            <a:endParaRPr lang="en-US" dirty="0"/>
          </a:p>
        </p:txBody>
      </p:sp>
      <p:sp>
        <p:nvSpPr>
          <p:cNvPr id="5" name="Footer Placeholder 4"/>
          <p:cNvSpPr>
            <a:spLocks noGrp="1"/>
          </p:cNvSpPr>
          <p:nvPr>
            <p:ph type="ftr" sz="quarter" idx="3"/>
          </p:nvPr>
        </p:nvSpPr>
        <p:spPr>
          <a:xfrm>
            <a:off x="920368" y="6332830"/>
            <a:ext cx="4784400" cy="273450"/>
          </a:xfrm>
          <a:prstGeom prst="rect">
            <a:avLst/>
          </a:prstGeom>
        </p:spPr>
        <p:txBody>
          <a:bodyPr vert="horz" lIns="0" tIns="0" rIns="0" bIns="0" rtlCol="0" anchor="t" anchorCtr="0">
            <a:noAutofit/>
          </a:bodyPr>
          <a:lstStyle>
            <a:lvl1pPr algn="l">
              <a:defRPr sz="1100">
                <a:solidFill>
                  <a:schemeClr val="tx1"/>
                </a:solidFill>
              </a:defRPr>
            </a:lvl1pPr>
          </a:lstStyle>
          <a:p>
            <a:r>
              <a:rPr lang="en-US"/>
              <a:t>Document Name</a:t>
            </a:r>
            <a:endParaRPr lang="en-US" dirty="0"/>
          </a:p>
        </p:txBody>
      </p:sp>
      <p:sp>
        <p:nvSpPr>
          <p:cNvPr id="6" name="Slide Number Placeholder 5"/>
          <p:cNvSpPr>
            <a:spLocks noGrp="1"/>
          </p:cNvSpPr>
          <p:nvPr>
            <p:ph type="sldNum" sz="quarter" idx="4"/>
          </p:nvPr>
        </p:nvSpPr>
        <p:spPr>
          <a:xfrm>
            <a:off x="410882" y="6332830"/>
            <a:ext cx="507262" cy="273450"/>
          </a:xfrm>
          <a:prstGeom prst="rect">
            <a:avLst/>
          </a:prstGeom>
        </p:spPr>
        <p:txBody>
          <a:bodyPr vert="horz" lIns="0" tIns="0" rIns="0" bIns="0" rtlCol="0" anchor="t" anchorCtr="0">
            <a:noAutofit/>
          </a:bodyPr>
          <a:lstStyle>
            <a:lvl1pPr algn="l">
              <a:defRPr sz="1100">
                <a:solidFill>
                  <a:schemeClr val="tx1"/>
                </a:solidFill>
              </a:defRPr>
            </a:lvl1pPr>
          </a:lstStyle>
          <a:p>
            <a:fld id="{32B354EE-31EA-4FC2-9496-7B6202183237}" type="slidenum">
              <a:rPr lang="en-US" smtClean="0"/>
              <a:pPr/>
              <a:t>‹#›</a:t>
            </a:fld>
            <a:endParaRPr lang="en-US" dirty="0"/>
          </a:p>
        </p:txBody>
      </p:sp>
      <p:grpSp>
        <p:nvGrpSpPr>
          <p:cNvPr id="18" name="Group 4">
            <a:extLst>
              <a:ext uri="{FF2B5EF4-FFF2-40B4-BE49-F238E27FC236}">
                <a16:creationId xmlns:a16="http://schemas.microsoft.com/office/drawing/2014/main" id="{5B8134DB-A8C2-4E81-8AE1-923CCD50B69B}"/>
              </a:ext>
            </a:extLst>
          </p:cNvPr>
          <p:cNvGrpSpPr>
            <a:grpSpLocks noChangeAspect="1"/>
          </p:cNvGrpSpPr>
          <p:nvPr/>
        </p:nvGrpSpPr>
        <p:grpSpPr bwMode="auto">
          <a:xfrm>
            <a:off x="10432850" y="6330937"/>
            <a:ext cx="1346400" cy="188639"/>
            <a:chOff x="0" y="1622"/>
            <a:chExt cx="7680" cy="1076"/>
          </a:xfrm>
          <a:solidFill>
            <a:schemeClr val="tx1"/>
          </a:solidFill>
        </p:grpSpPr>
        <p:sp>
          <p:nvSpPr>
            <p:cNvPr id="19" name="Freeform 5">
              <a:extLst>
                <a:ext uri="{FF2B5EF4-FFF2-40B4-BE49-F238E27FC236}">
                  <a16:creationId xmlns:a16="http://schemas.microsoft.com/office/drawing/2014/main" id="{1C914F38-7391-4125-9EBB-90D545A14D37}"/>
                </a:ext>
              </a:extLst>
            </p:cNvPr>
            <p:cNvSpPr>
              <a:spLocks/>
            </p:cNvSpPr>
            <p:nvPr/>
          </p:nvSpPr>
          <p:spPr bwMode="auto">
            <a:xfrm>
              <a:off x="1489" y="1874"/>
              <a:ext cx="479" cy="565"/>
            </a:xfrm>
            <a:custGeom>
              <a:avLst/>
              <a:gdLst>
                <a:gd name="T0" fmla="*/ 766 w 766"/>
                <a:gd name="T1" fmla="*/ 745 h 903"/>
                <a:gd name="T2" fmla="*/ 447 w 766"/>
                <a:gd name="T3" fmla="*/ 903 h 903"/>
                <a:gd name="T4" fmla="*/ 0 w 766"/>
                <a:gd name="T5" fmla="*/ 452 h 903"/>
                <a:gd name="T6" fmla="*/ 447 w 766"/>
                <a:gd name="T7" fmla="*/ 0 h 903"/>
                <a:gd name="T8" fmla="*/ 745 w 766"/>
                <a:gd name="T9" fmla="*/ 136 h 903"/>
                <a:gd name="T10" fmla="*/ 668 w 766"/>
                <a:gd name="T11" fmla="*/ 193 h 903"/>
                <a:gd name="T12" fmla="*/ 447 w 766"/>
                <a:gd name="T13" fmla="*/ 80 h 903"/>
                <a:gd name="T14" fmla="*/ 94 w 766"/>
                <a:gd name="T15" fmla="*/ 452 h 903"/>
                <a:gd name="T16" fmla="*/ 447 w 766"/>
                <a:gd name="T17" fmla="*/ 823 h 903"/>
                <a:gd name="T18" fmla="*/ 694 w 766"/>
                <a:gd name="T19" fmla="*/ 694 h 903"/>
                <a:gd name="T20" fmla="*/ 766 w 766"/>
                <a:gd name="T21" fmla="*/ 745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6" h="903">
                  <a:moveTo>
                    <a:pt x="766" y="745"/>
                  </a:moveTo>
                  <a:cubicBezTo>
                    <a:pt x="708" y="834"/>
                    <a:pt x="590" y="903"/>
                    <a:pt x="447" y="903"/>
                  </a:cubicBezTo>
                  <a:cubicBezTo>
                    <a:pt x="192" y="903"/>
                    <a:pt x="0" y="713"/>
                    <a:pt x="0" y="452"/>
                  </a:cubicBezTo>
                  <a:cubicBezTo>
                    <a:pt x="0" y="191"/>
                    <a:pt x="192" y="0"/>
                    <a:pt x="447" y="0"/>
                  </a:cubicBezTo>
                  <a:cubicBezTo>
                    <a:pt x="554" y="0"/>
                    <a:pt x="670" y="40"/>
                    <a:pt x="745" y="136"/>
                  </a:cubicBezTo>
                  <a:cubicBezTo>
                    <a:pt x="668" y="193"/>
                    <a:pt x="668" y="193"/>
                    <a:pt x="668" y="193"/>
                  </a:cubicBezTo>
                  <a:cubicBezTo>
                    <a:pt x="634" y="137"/>
                    <a:pt x="539" y="80"/>
                    <a:pt x="447" y="80"/>
                  </a:cubicBezTo>
                  <a:cubicBezTo>
                    <a:pt x="226" y="80"/>
                    <a:pt x="94" y="254"/>
                    <a:pt x="94" y="452"/>
                  </a:cubicBezTo>
                  <a:cubicBezTo>
                    <a:pt x="94" y="650"/>
                    <a:pt x="226" y="823"/>
                    <a:pt x="447" y="823"/>
                  </a:cubicBezTo>
                  <a:cubicBezTo>
                    <a:pt x="537" y="823"/>
                    <a:pt x="630" y="793"/>
                    <a:pt x="694" y="694"/>
                  </a:cubicBezTo>
                  <a:lnTo>
                    <a:pt x="766" y="7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21" name="Freeform 6">
              <a:extLst>
                <a:ext uri="{FF2B5EF4-FFF2-40B4-BE49-F238E27FC236}">
                  <a16:creationId xmlns:a16="http://schemas.microsoft.com/office/drawing/2014/main" id="{D2C1C3AD-5877-4211-8B98-0118B501CB73}"/>
                </a:ext>
              </a:extLst>
            </p:cNvPr>
            <p:cNvSpPr>
              <a:spLocks noEditPoints="1"/>
            </p:cNvSpPr>
            <p:nvPr/>
          </p:nvSpPr>
          <p:spPr bwMode="auto">
            <a:xfrm>
              <a:off x="2014" y="1874"/>
              <a:ext cx="560" cy="565"/>
            </a:xfrm>
            <a:custGeom>
              <a:avLst/>
              <a:gdLst>
                <a:gd name="T0" fmla="*/ 448 w 896"/>
                <a:gd name="T1" fmla="*/ 80 h 903"/>
                <a:gd name="T2" fmla="*/ 95 w 896"/>
                <a:gd name="T3" fmla="*/ 452 h 903"/>
                <a:gd name="T4" fmla="*/ 448 w 896"/>
                <a:gd name="T5" fmla="*/ 823 h 903"/>
                <a:gd name="T6" fmla="*/ 801 w 896"/>
                <a:gd name="T7" fmla="*/ 452 h 903"/>
                <a:gd name="T8" fmla="*/ 448 w 896"/>
                <a:gd name="T9" fmla="*/ 80 h 903"/>
                <a:gd name="T10" fmla="*/ 448 w 896"/>
                <a:gd name="T11" fmla="*/ 903 h 903"/>
                <a:gd name="T12" fmla="*/ 0 w 896"/>
                <a:gd name="T13" fmla="*/ 452 h 903"/>
                <a:gd name="T14" fmla="*/ 448 w 896"/>
                <a:gd name="T15" fmla="*/ 0 h 903"/>
                <a:gd name="T16" fmla="*/ 896 w 896"/>
                <a:gd name="T17" fmla="*/ 452 h 903"/>
                <a:gd name="T18" fmla="*/ 448 w 896"/>
                <a:gd name="T19" fmla="*/ 903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6" h="903">
                  <a:moveTo>
                    <a:pt x="448" y="80"/>
                  </a:moveTo>
                  <a:cubicBezTo>
                    <a:pt x="227" y="80"/>
                    <a:pt x="95" y="254"/>
                    <a:pt x="95" y="452"/>
                  </a:cubicBezTo>
                  <a:cubicBezTo>
                    <a:pt x="95" y="649"/>
                    <a:pt x="227" y="823"/>
                    <a:pt x="448" y="823"/>
                  </a:cubicBezTo>
                  <a:cubicBezTo>
                    <a:pt x="669" y="823"/>
                    <a:pt x="801" y="649"/>
                    <a:pt x="801" y="452"/>
                  </a:cubicBezTo>
                  <a:cubicBezTo>
                    <a:pt x="801" y="254"/>
                    <a:pt x="669" y="80"/>
                    <a:pt x="448" y="80"/>
                  </a:cubicBezTo>
                  <a:moveTo>
                    <a:pt x="448" y="903"/>
                  </a:moveTo>
                  <a:cubicBezTo>
                    <a:pt x="192" y="903"/>
                    <a:pt x="0" y="712"/>
                    <a:pt x="0" y="452"/>
                  </a:cubicBezTo>
                  <a:cubicBezTo>
                    <a:pt x="0" y="191"/>
                    <a:pt x="192" y="0"/>
                    <a:pt x="448" y="0"/>
                  </a:cubicBezTo>
                  <a:cubicBezTo>
                    <a:pt x="704" y="0"/>
                    <a:pt x="896" y="191"/>
                    <a:pt x="896" y="452"/>
                  </a:cubicBezTo>
                  <a:cubicBezTo>
                    <a:pt x="896" y="712"/>
                    <a:pt x="704" y="903"/>
                    <a:pt x="448" y="90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32" name="Freeform 7">
              <a:extLst>
                <a:ext uri="{FF2B5EF4-FFF2-40B4-BE49-F238E27FC236}">
                  <a16:creationId xmlns:a16="http://schemas.microsoft.com/office/drawing/2014/main" id="{8162402E-6173-4B7E-9508-BD1D30AA7E79}"/>
                </a:ext>
              </a:extLst>
            </p:cNvPr>
            <p:cNvSpPr>
              <a:spLocks/>
            </p:cNvSpPr>
            <p:nvPr/>
          </p:nvSpPr>
          <p:spPr bwMode="auto">
            <a:xfrm>
              <a:off x="2672" y="1888"/>
              <a:ext cx="305" cy="538"/>
            </a:xfrm>
            <a:custGeom>
              <a:avLst/>
              <a:gdLst>
                <a:gd name="T0" fmla="*/ 0 w 305"/>
                <a:gd name="T1" fmla="*/ 0 h 538"/>
                <a:gd name="T2" fmla="*/ 0 w 305"/>
                <a:gd name="T3" fmla="*/ 538 h 538"/>
                <a:gd name="T4" fmla="*/ 305 w 305"/>
                <a:gd name="T5" fmla="*/ 538 h 538"/>
                <a:gd name="T6" fmla="*/ 305 w 305"/>
                <a:gd name="T7" fmla="*/ 488 h 538"/>
                <a:gd name="T8" fmla="*/ 55 w 305"/>
                <a:gd name="T9" fmla="*/ 488 h 538"/>
                <a:gd name="T10" fmla="*/ 55 w 305"/>
                <a:gd name="T11" fmla="*/ 0 h 538"/>
                <a:gd name="T12" fmla="*/ 0 w 305"/>
                <a:gd name="T13" fmla="*/ 0 h 538"/>
              </a:gdLst>
              <a:ahLst/>
              <a:cxnLst>
                <a:cxn ang="0">
                  <a:pos x="T0" y="T1"/>
                </a:cxn>
                <a:cxn ang="0">
                  <a:pos x="T2" y="T3"/>
                </a:cxn>
                <a:cxn ang="0">
                  <a:pos x="T4" y="T5"/>
                </a:cxn>
                <a:cxn ang="0">
                  <a:pos x="T6" y="T7"/>
                </a:cxn>
                <a:cxn ang="0">
                  <a:pos x="T8" y="T9"/>
                </a:cxn>
                <a:cxn ang="0">
                  <a:pos x="T10" y="T11"/>
                </a:cxn>
                <a:cxn ang="0">
                  <a:pos x="T12" y="T13"/>
                </a:cxn>
              </a:cxnLst>
              <a:rect l="0" t="0" r="r" b="b"/>
              <a:pathLst>
                <a:path w="305" h="538">
                  <a:moveTo>
                    <a:pt x="0" y="0"/>
                  </a:moveTo>
                  <a:lnTo>
                    <a:pt x="0" y="538"/>
                  </a:lnTo>
                  <a:lnTo>
                    <a:pt x="305" y="538"/>
                  </a:lnTo>
                  <a:lnTo>
                    <a:pt x="305" y="488"/>
                  </a:lnTo>
                  <a:lnTo>
                    <a:pt x="55" y="488"/>
                  </a:lnTo>
                  <a:lnTo>
                    <a:pt x="55"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33" name="Freeform 8">
              <a:extLst>
                <a:ext uri="{FF2B5EF4-FFF2-40B4-BE49-F238E27FC236}">
                  <a16:creationId xmlns:a16="http://schemas.microsoft.com/office/drawing/2014/main" id="{720A2039-3F7C-4D05-A0A2-24EB50AC50AB}"/>
                </a:ext>
              </a:extLst>
            </p:cNvPr>
            <p:cNvSpPr>
              <a:spLocks noEditPoints="1"/>
            </p:cNvSpPr>
            <p:nvPr/>
          </p:nvSpPr>
          <p:spPr bwMode="auto">
            <a:xfrm>
              <a:off x="2997" y="1874"/>
              <a:ext cx="561" cy="565"/>
            </a:xfrm>
            <a:custGeom>
              <a:avLst/>
              <a:gdLst>
                <a:gd name="T0" fmla="*/ 448 w 896"/>
                <a:gd name="T1" fmla="*/ 80 h 903"/>
                <a:gd name="T2" fmla="*/ 95 w 896"/>
                <a:gd name="T3" fmla="*/ 452 h 903"/>
                <a:gd name="T4" fmla="*/ 448 w 896"/>
                <a:gd name="T5" fmla="*/ 823 h 903"/>
                <a:gd name="T6" fmla="*/ 801 w 896"/>
                <a:gd name="T7" fmla="*/ 452 h 903"/>
                <a:gd name="T8" fmla="*/ 448 w 896"/>
                <a:gd name="T9" fmla="*/ 80 h 903"/>
                <a:gd name="T10" fmla="*/ 448 w 896"/>
                <a:gd name="T11" fmla="*/ 903 h 903"/>
                <a:gd name="T12" fmla="*/ 0 w 896"/>
                <a:gd name="T13" fmla="*/ 452 h 903"/>
                <a:gd name="T14" fmla="*/ 448 w 896"/>
                <a:gd name="T15" fmla="*/ 0 h 903"/>
                <a:gd name="T16" fmla="*/ 896 w 896"/>
                <a:gd name="T17" fmla="*/ 452 h 903"/>
                <a:gd name="T18" fmla="*/ 448 w 896"/>
                <a:gd name="T19" fmla="*/ 903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6" h="903">
                  <a:moveTo>
                    <a:pt x="448" y="80"/>
                  </a:moveTo>
                  <a:cubicBezTo>
                    <a:pt x="227" y="80"/>
                    <a:pt x="95" y="254"/>
                    <a:pt x="95" y="452"/>
                  </a:cubicBezTo>
                  <a:cubicBezTo>
                    <a:pt x="95" y="649"/>
                    <a:pt x="227" y="823"/>
                    <a:pt x="448" y="823"/>
                  </a:cubicBezTo>
                  <a:cubicBezTo>
                    <a:pt x="669" y="823"/>
                    <a:pt x="801" y="649"/>
                    <a:pt x="801" y="452"/>
                  </a:cubicBezTo>
                  <a:cubicBezTo>
                    <a:pt x="801" y="254"/>
                    <a:pt x="669" y="80"/>
                    <a:pt x="448" y="80"/>
                  </a:cubicBezTo>
                  <a:moveTo>
                    <a:pt x="448" y="903"/>
                  </a:moveTo>
                  <a:cubicBezTo>
                    <a:pt x="192" y="903"/>
                    <a:pt x="0" y="712"/>
                    <a:pt x="0" y="452"/>
                  </a:cubicBezTo>
                  <a:cubicBezTo>
                    <a:pt x="0" y="191"/>
                    <a:pt x="192" y="0"/>
                    <a:pt x="448" y="0"/>
                  </a:cubicBezTo>
                  <a:cubicBezTo>
                    <a:pt x="704" y="0"/>
                    <a:pt x="896" y="191"/>
                    <a:pt x="896" y="452"/>
                  </a:cubicBezTo>
                  <a:cubicBezTo>
                    <a:pt x="896" y="712"/>
                    <a:pt x="704" y="903"/>
                    <a:pt x="448" y="90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34" name="Freeform 9">
              <a:extLst>
                <a:ext uri="{FF2B5EF4-FFF2-40B4-BE49-F238E27FC236}">
                  <a16:creationId xmlns:a16="http://schemas.microsoft.com/office/drawing/2014/main" id="{5306C40F-EB9D-4A40-94F5-AA8243CC0E96}"/>
                </a:ext>
              </a:extLst>
            </p:cNvPr>
            <p:cNvSpPr>
              <a:spLocks/>
            </p:cNvSpPr>
            <p:nvPr/>
          </p:nvSpPr>
          <p:spPr bwMode="auto">
            <a:xfrm>
              <a:off x="4182" y="1888"/>
              <a:ext cx="503" cy="538"/>
            </a:xfrm>
            <a:custGeom>
              <a:avLst/>
              <a:gdLst>
                <a:gd name="T0" fmla="*/ 0 w 503"/>
                <a:gd name="T1" fmla="*/ 0 h 538"/>
                <a:gd name="T2" fmla="*/ 119 w 503"/>
                <a:gd name="T3" fmla="*/ 0 h 538"/>
                <a:gd name="T4" fmla="*/ 119 w 503"/>
                <a:gd name="T5" fmla="*/ 243 h 538"/>
                <a:gd name="T6" fmla="*/ 327 w 503"/>
                <a:gd name="T7" fmla="*/ 0 h 538"/>
                <a:gd name="T8" fmla="*/ 482 w 503"/>
                <a:gd name="T9" fmla="*/ 0 h 538"/>
                <a:gd name="T10" fmla="*/ 243 w 503"/>
                <a:gd name="T11" fmla="*/ 270 h 538"/>
                <a:gd name="T12" fmla="*/ 503 w 503"/>
                <a:gd name="T13" fmla="*/ 538 h 538"/>
                <a:gd name="T14" fmla="*/ 337 w 503"/>
                <a:gd name="T15" fmla="*/ 538 h 538"/>
                <a:gd name="T16" fmla="*/ 119 w 503"/>
                <a:gd name="T17" fmla="*/ 302 h 538"/>
                <a:gd name="T18" fmla="*/ 119 w 503"/>
                <a:gd name="T19" fmla="*/ 538 h 538"/>
                <a:gd name="T20" fmla="*/ 0 w 503"/>
                <a:gd name="T21" fmla="*/ 538 h 538"/>
                <a:gd name="T22" fmla="*/ 0 w 503"/>
                <a:gd name="T23"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3" h="538">
                  <a:moveTo>
                    <a:pt x="0" y="0"/>
                  </a:moveTo>
                  <a:lnTo>
                    <a:pt x="119" y="0"/>
                  </a:lnTo>
                  <a:lnTo>
                    <a:pt x="119" y="243"/>
                  </a:lnTo>
                  <a:lnTo>
                    <a:pt x="327" y="0"/>
                  </a:lnTo>
                  <a:lnTo>
                    <a:pt x="482" y="0"/>
                  </a:lnTo>
                  <a:lnTo>
                    <a:pt x="243" y="270"/>
                  </a:lnTo>
                  <a:lnTo>
                    <a:pt x="503" y="538"/>
                  </a:lnTo>
                  <a:lnTo>
                    <a:pt x="337" y="538"/>
                  </a:lnTo>
                  <a:lnTo>
                    <a:pt x="119" y="302"/>
                  </a:lnTo>
                  <a:lnTo>
                    <a:pt x="119" y="538"/>
                  </a:lnTo>
                  <a:lnTo>
                    <a:pt x="0" y="53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35" name="Rectangle 10">
              <a:extLst>
                <a:ext uri="{FF2B5EF4-FFF2-40B4-BE49-F238E27FC236}">
                  <a16:creationId xmlns:a16="http://schemas.microsoft.com/office/drawing/2014/main" id="{9ED9191C-1524-47EB-A75D-ADCF3CC1B25C}"/>
                </a:ext>
              </a:extLst>
            </p:cNvPr>
            <p:cNvSpPr>
              <a:spLocks noChangeArrowheads="1"/>
            </p:cNvSpPr>
            <p:nvPr/>
          </p:nvSpPr>
          <p:spPr bwMode="auto">
            <a:xfrm>
              <a:off x="4743" y="1888"/>
              <a:ext cx="118" cy="5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36" name="Freeform 11">
              <a:extLst>
                <a:ext uri="{FF2B5EF4-FFF2-40B4-BE49-F238E27FC236}">
                  <a16:creationId xmlns:a16="http://schemas.microsoft.com/office/drawing/2014/main" id="{1C9AC858-EBCE-4646-A3E7-8EF43EF4B9C4}"/>
                </a:ext>
              </a:extLst>
            </p:cNvPr>
            <p:cNvSpPr>
              <a:spLocks/>
            </p:cNvSpPr>
            <p:nvPr/>
          </p:nvSpPr>
          <p:spPr bwMode="auto">
            <a:xfrm>
              <a:off x="4980" y="1888"/>
              <a:ext cx="509" cy="538"/>
            </a:xfrm>
            <a:custGeom>
              <a:avLst/>
              <a:gdLst>
                <a:gd name="T0" fmla="*/ 0 w 509"/>
                <a:gd name="T1" fmla="*/ 0 h 538"/>
                <a:gd name="T2" fmla="*/ 160 w 509"/>
                <a:gd name="T3" fmla="*/ 0 h 538"/>
                <a:gd name="T4" fmla="*/ 389 w 509"/>
                <a:gd name="T5" fmla="*/ 374 h 538"/>
                <a:gd name="T6" fmla="*/ 391 w 509"/>
                <a:gd name="T7" fmla="*/ 374 h 538"/>
                <a:gd name="T8" fmla="*/ 391 w 509"/>
                <a:gd name="T9" fmla="*/ 0 h 538"/>
                <a:gd name="T10" fmla="*/ 509 w 509"/>
                <a:gd name="T11" fmla="*/ 0 h 538"/>
                <a:gd name="T12" fmla="*/ 509 w 509"/>
                <a:gd name="T13" fmla="*/ 538 h 538"/>
                <a:gd name="T14" fmla="*/ 354 w 509"/>
                <a:gd name="T15" fmla="*/ 538 h 538"/>
                <a:gd name="T16" fmla="*/ 120 w 509"/>
                <a:gd name="T17" fmla="*/ 155 h 538"/>
                <a:gd name="T18" fmla="*/ 118 w 509"/>
                <a:gd name="T19" fmla="*/ 155 h 538"/>
                <a:gd name="T20" fmla="*/ 118 w 509"/>
                <a:gd name="T21" fmla="*/ 538 h 538"/>
                <a:gd name="T22" fmla="*/ 0 w 509"/>
                <a:gd name="T23" fmla="*/ 538 h 538"/>
                <a:gd name="T24" fmla="*/ 0 w 509"/>
                <a:gd name="T25"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9" h="538">
                  <a:moveTo>
                    <a:pt x="0" y="0"/>
                  </a:moveTo>
                  <a:lnTo>
                    <a:pt x="160" y="0"/>
                  </a:lnTo>
                  <a:lnTo>
                    <a:pt x="389" y="374"/>
                  </a:lnTo>
                  <a:lnTo>
                    <a:pt x="391" y="374"/>
                  </a:lnTo>
                  <a:lnTo>
                    <a:pt x="391" y="0"/>
                  </a:lnTo>
                  <a:lnTo>
                    <a:pt x="509" y="0"/>
                  </a:lnTo>
                  <a:lnTo>
                    <a:pt x="509" y="538"/>
                  </a:lnTo>
                  <a:lnTo>
                    <a:pt x="354" y="538"/>
                  </a:lnTo>
                  <a:lnTo>
                    <a:pt x="120" y="155"/>
                  </a:lnTo>
                  <a:lnTo>
                    <a:pt x="118" y="155"/>
                  </a:lnTo>
                  <a:lnTo>
                    <a:pt x="118" y="538"/>
                  </a:lnTo>
                  <a:lnTo>
                    <a:pt x="0" y="53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37" name="Freeform 12">
              <a:extLst>
                <a:ext uri="{FF2B5EF4-FFF2-40B4-BE49-F238E27FC236}">
                  <a16:creationId xmlns:a16="http://schemas.microsoft.com/office/drawing/2014/main" id="{6DC829C8-8E2B-4048-A182-90E4A649B8FE}"/>
                </a:ext>
              </a:extLst>
            </p:cNvPr>
            <p:cNvSpPr>
              <a:spLocks/>
            </p:cNvSpPr>
            <p:nvPr/>
          </p:nvSpPr>
          <p:spPr bwMode="auto">
            <a:xfrm>
              <a:off x="5608" y="1888"/>
              <a:ext cx="378" cy="538"/>
            </a:xfrm>
            <a:custGeom>
              <a:avLst/>
              <a:gdLst>
                <a:gd name="T0" fmla="*/ 0 w 378"/>
                <a:gd name="T1" fmla="*/ 0 h 538"/>
                <a:gd name="T2" fmla="*/ 0 w 378"/>
                <a:gd name="T3" fmla="*/ 538 h 538"/>
                <a:gd name="T4" fmla="*/ 378 w 378"/>
                <a:gd name="T5" fmla="*/ 538 h 538"/>
                <a:gd name="T6" fmla="*/ 378 w 378"/>
                <a:gd name="T7" fmla="*/ 433 h 538"/>
                <a:gd name="T8" fmla="*/ 118 w 378"/>
                <a:gd name="T9" fmla="*/ 433 h 538"/>
                <a:gd name="T10" fmla="*/ 118 w 378"/>
                <a:gd name="T11" fmla="*/ 319 h 538"/>
                <a:gd name="T12" fmla="*/ 351 w 378"/>
                <a:gd name="T13" fmla="*/ 319 h 538"/>
                <a:gd name="T14" fmla="*/ 351 w 378"/>
                <a:gd name="T15" fmla="*/ 210 h 538"/>
                <a:gd name="T16" fmla="*/ 118 w 378"/>
                <a:gd name="T17" fmla="*/ 210 h 538"/>
                <a:gd name="T18" fmla="*/ 118 w 378"/>
                <a:gd name="T19" fmla="*/ 105 h 538"/>
                <a:gd name="T20" fmla="*/ 364 w 378"/>
                <a:gd name="T21" fmla="*/ 105 h 538"/>
                <a:gd name="T22" fmla="*/ 364 w 378"/>
                <a:gd name="T23" fmla="*/ 0 h 538"/>
                <a:gd name="T24" fmla="*/ 0 w 378"/>
                <a:gd name="T25"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8" h="538">
                  <a:moveTo>
                    <a:pt x="0" y="0"/>
                  </a:moveTo>
                  <a:lnTo>
                    <a:pt x="0" y="538"/>
                  </a:lnTo>
                  <a:lnTo>
                    <a:pt x="378" y="538"/>
                  </a:lnTo>
                  <a:lnTo>
                    <a:pt x="378" y="433"/>
                  </a:lnTo>
                  <a:lnTo>
                    <a:pt x="118" y="433"/>
                  </a:lnTo>
                  <a:lnTo>
                    <a:pt x="118" y="319"/>
                  </a:lnTo>
                  <a:lnTo>
                    <a:pt x="351" y="319"/>
                  </a:lnTo>
                  <a:lnTo>
                    <a:pt x="351" y="210"/>
                  </a:lnTo>
                  <a:lnTo>
                    <a:pt x="118" y="210"/>
                  </a:lnTo>
                  <a:lnTo>
                    <a:pt x="118" y="105"/>
                  </a:lnTo>
                  <a:lnTo>
                    <a:pt x="364" y="105"/>
                  </a:lnTo>
                  <a:lnTo>
                    <a:pt x="364"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38" name="Freeform 13">
              <a:extLst>
                <a:ext uri="{FF2B5EF4-FFF2-40B4-BE49-F238E27FC236}">
                  <a16:creationId xmlns:a16="http://schemas.microsoft.com/office/drawing/2014/main" id="{0794883E-CEF5-4DEE-A5B7-2C5E3042DF27}"/>
                </a:ext>
              </a:extLst>
            </p:cNvPr>
            <p:cNvSpPr>
              <a:spLocks/>
            </p:cNvSpPr>
            <p:nvPr/>
          </p:nvSpPr>
          <p:spPr bwMode="auto">
            <a:xfrm>
              <a:off x="6052" y="1888"/>
              <a:ext cx="424" cy="538"/>
            </a:xfrm>
            <a:custGeom>
              <a:avLst/>
              <a:gdLst>
                <a:gd name="T0" fmla="*/ 0 w 424"/>
                <a:gd name="T1" fmla="*/ 0 h 538"/>
                <a:gd name="T2" fmla="*/ 0 w 424"/>
                <a:gd name="T3" fmla="*/ 105 h 538"/>
                <a:gd name="T4" fmla="*/ 152 w 424"/>
                <a:gd name="T5" fmla="*/ 105 h 538"/>
                <a:gd name="T6" fmla="*/ 152 w 424"/>
                <a:gd name="T7" fmla="*/ 538 h 538"/>
                <a:gd name="T8" fmla="*/ 271 w 424"/>
                <a:gd name="T9" fmla="*/ 538 h 538"/>
                <a:gd name="T10" fmla="*/ 271 w 424"/>
                <a:gd name="T11" fmla="*/ 105 h 538"/>
                <a:gd name="T12" fmla="*/ 424 w 424"/>
                <a:gd name="T13" fmla="*/ 105 h 538"/>
                <a:gd name="T14" fmla="*/ 424 w 424"/>
                <a:gd name="T15" fmla="*/ 0 h 538"/>
                <a:gd name="T16" fmla="*/ 0 w 424"/>
                <a:gd name="T17"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4" h="538">
                  <a:moveTo>
                    <a:pt x="0" y="0"/>
                  </a:moveTo>
                  <a:lnTo>
                    <a:pt x="0" y="105"/>
                  </a:lnTo>
                  <a:lnTo>
                    <a:pt x="152" y="105"/>
                  </a:lnTo>
                  <a:lnTo>
                    <a:pt x="152" y="538"/>
                  </a:lnTo>
                  <a:lnTo>
                    <a:pt x="271" y="538"/>
                  </a:lnTo>
                  <a:lnTo>
                    <a:pt x="271" y="105"/>
                  </a:lnTo>
                  <a:lnTo>
                    <a:pt x="424" y="105"/>
                  </a:lnTo>
                  <a:lnTo>
                    <a:pt x="424"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39" name="Rectangle 14">
              <a:extLst>
                <a:ext uri="{FF2B5EF4-FFF2-40B4-BE49-F238E27FC236}">
                  <a16:creationId xmlns:a16="http://schemas.microsoft.com/office/drawing/2014/main" id="{59E0625E-B331-4799-B210-DA885FAA0119}"/>
                </a:ext>
              </a:extLst>
            </p:cNvPr>
            <p:cNvSpPr>
              <a:spLocks noChangeArrowheads="1"/>
            </p:cNvSpPr>
            <p:nvPr/>
          </p:nvSpPr>
          <p:spPr bwMode="auto">
            <a:xfrm>
              <a:off x="6554" y="1888"/>
              <a:ext cx="119" cy="5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40" name="Freeform 15">
              <a:extLst>
                <a:ext uri="{FF2B5EF4-FFF2-40B4-BE49-F238E27FC236}">
                  <a16:creationId xmlns:a16="http://schemas.microsoft.com/office/drawing/2014/main" id="{476937B9-6866-4A77-96CD-5873A088258B}"/>
                </a:ext>
              </a:extLst>
            </p:cNvPr>
            <p:cNvSpPr>
              <a:spLocks noEditPoints="1"/>
            </p:cNvSpPr>
            <p:nvPr/>
          </p:nvSpPr>
          <p:spPr bwMode="auto">
            <a:xfrm>
              <a:off x="3658" y="1888"/>
              <a:ext cx="383" cy="538"/>
            </a:xfrm>
            <a:custGeom>
              <a:avLst/>
              <a:gdLst>
                <a:gd name="T0" fmla="*/ 87 w 613"/>
                <a:gd name="T1" fmla="*/ 376 h 859"/>
                <a:gd name="T2" fmla="*/ 278 w 613"/>
                <a:gd name="T3" fmla="*/ 376 h 859"/>
                <a:gd name="T4" fmla="*/ 462 w 613"/>
                <a:gd name="T5" fmla="*/ 228 h 859"/>
                <a:gd name="T6" fmla="*/ 278 w 613"/>
                <a:gd name="T7" fmla="*/ 82 h 859"/>
                <a:gd name="T8" fmla="*/ 87 w 613"/>
                <a:gd name="T9" fmla="*/ 82 h 859"/>
                <a:gd name="T10" fmla="*/ 87 w 613"/>
                <a:gd name="T11" fmla="*/ 376 h 859"/>
                <a:gd name="T12" fmla="*/ 497 w 613"/>
                <a:gd name="T13" fmla="*/ 859 h 859"/>
                <a:gd name="T14" fmla="*/ 87 w 613"/>
                <a:gd name="T15" fmla="*/ 428 h 859"/>
                <a:gd name="T16" fmla="*/ 87 w 613"/>
                <a:gd name="T17" fmla="*/ 859 h 859"/>
                <a:gd name="T18" fmla="*/ 0 w 613"/>
                <a:gd name="T19" fmla="*/ 859 h 859"/>
                <a:gd name="T20" fmla="*/ 0 w 613"/>
                <a:gd name="T21" fmla="*/ 0 h 859"/>
                <a:gd name="T22" fmla="*/ 270 w 613"/>
                <a:gd name="T23" fmla="*/ 0 h 859"/>
                <a:gd name="T24" fmla="*/ 555 w 613"/>
                <a:gd name="T25" fmla="*/ 228 h 859"/>
                <a:gd name="T26" fmla="*/ 270 w 613"/>
                <a:gd name="T27" fmla="*/ 453 h 859"/>
                <a:gd name="T28" fmla="*/ 222 w 613"/>
                <a:gd name="T29" fmla="*/ 453 h 859"/>
                <a:gd name="T30" fmla="*/ 613 w 613"/>
                <a:gd name="T31" fmla="*/ 859 h 859"/>
                <a:gd name="T32" fmla="*/ 497 w 613"/>
                <a:gd name="T33" fmla="*/ 859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13" h="859">
                  <a:moveTo>
                    <a:pt x="87" y="376"/>
                  </a:moveTo>
                  <a:cubicBezTo>
                    <a:pt x="278" y="376"/>
                    <a:pt x="278" y="376"/>
                    <a:pt x="278" y="376"/>
                  </a:cubicBezTo>
                  <a:cubicBezTo>
                    <a:pt x="396" y="376"/>
                    <a:pt x="462" y="328"/>
                    <a:pt x="462" y="228"/>
                  </a:cubicBezTo>
                  <a:cubicBezTo>
                    <a:pt x="462" y="129"/>
                    <a:pt x="396" y="82"/>
                    <a:pt x="278" y="82"/>
                  </a:cubicBezTo>
                  <a:cubicBezTo>
                    <a:pt x="87" y="82"/>
                    <a:pt x="87" y="82"/>
                    <a:pt x="87" y="82"/>
                  </a:cubicBezTo>
                  <a:lnTo>
                    <a:pt x="87" y="376"/>
                  </a:lnTo>
                  <a:close/>
                  <a:moveTo>
                    <a:pt x="497" y="859"/>
                  </a:moveTo>
                  <a:cubicBezTo>
                    <a:pt x="87" y="428"/>
                    <a:pt x="87" y="428"/>
                    <a:pt x="87" y="428"/>
                  </a:cubicBezTo>
                  <a:cubicBezTo>
                    <a:pt x="87" y="859"/>
                    <a:pt x="87" y="859"/>
                    <a:pt x="87" y="859"/>
                  </a:cubicBezTo>
                  <a:cubicBezTo>
                    <a:pt x="0" y="859"/>
                    <a:pt x="0" y="859"/>
                    <a:pt x="0" y="859"/>
                  </a:cubicBezTo>
                  <a:cubicBezTo>
                    <a:pt x="0" y="0"/>
                    <a:pt x="0" y="0"/>
                    <a:pt x="0" y="0"/>
                  </a:cubicBezTo>
                  <a:cubicBezTo>
                    <a:pt x="270" y="0"/>
                    <a:pt x="270" y="0"/>
                    <a:pt x="270" y="0"/>
                  </a:cubicBezTo>
                  <a:cubicBezTo>
                    <a:pt x="457" y="0"/>
                    <a:pt x="555" y="91"/>
                    <a:pt x="555" y="228"/>
                  </a:cubicBezTo>
                  <a:cubicBezTo>
                    <a:pt x="555" y="367"/>
                    <a:pt x="457" y="453"/>
                    <a:pt x="270" y="453"/>
                  </a:cubicBezTo>
                  <a:cubicBezTo>
                    <a:pt x="222" y="453"/>
                    <a:pt x="222" y="453"/>
                    <a:pt x="222" y="453"/>
                  </a:cubicBezTo>
                  <a:cubicBezTo>
                    <a:pt x="613" y="859"/>
                    <a:pt x="613" y="859"/>
                    <a:pt x="613" y="859"/>
                  </a:cubicBezTo>
                  <a:lnTo>
                    <a:pt x="497" y="8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41" name="Freeform 16">
              <a:extLst>
                <a:ext uri="{FF2B5EF4-FFF2-40B4-BE49-F238E27FC236}">
                  <a16:creationId xmlns:a16="http://schemas.microsoft.com/office/drawing/2014/main" id="{77873E51-7147-4F48-B2BF-3906C2465DBB}"/>
                </a:ext>
              </a:extLst>
            </p:cNvPr>
            <p:cNvSpPr>
              <a:spLocks/>
            </p:cNvSpPr>
            <p:nvPr/>
          </p:nvSpPr>
          <p:spPr bwMode="auto">
            <a:xfrm>
              <a:off x="6752" y="1881"/>
              <a:ext cx="476" cy="558"/>
            </a:xfrm>
            <a:custGeom>
              <a:avLst/>
              <a:gdLst>
                <a:gd name="T0" fmla="*/ 0 w 761"/>
                <a:gd name="T1" fmla="*/ 447 h 893"/>
                <a:gd name="T2" fmla="*/ 417 w 761"/>
                <a:gd name="T3" fmla="*/ 0 h 893"/>
                <a:gd name="T4" fmla="*/ 747 w 761"/>
                <a:gd name="T5" fmla="*/ 181 h 893"/>
                <a:gd name="T6" fmla="*/ 614 w 761"/>
                <a:gd name="T7" fmla="*/ 285 h 893"/>
                <a:gd name="T8" fmla="*/ 421 w 761"/>
                <a:gd name="T9" fmla="*/ 178 h 893"/>
                <a:gd name="T10" fmla="*/ 197 w 761"/>
                <a:gd name="T11" fmla="*/ 447 h 893"/>
                <a:gd name="T12" fmla="*/ 427 w 761"/>
                <a:gd name="T13" fmla="*/ 715 h 893"/>
                <a:gd name="T14" fmla="*/ 623 w 761"/>
                <a:gd name="T15" fmla="*/ 608 h 893"/>
                <a:gd name="T16" fmla="*/ 761 w 761"/>
                <a:gd name="T17" fmla="*/ 715 h 893"/>
                <a:gd name="T18" fmla="*/ 423 w 761"/>
                <a:gd name="T19" fmla="*/ 893 h 893"/>
                <a:gd name="T20" fmla="*/ 0 w 761"/>
                <a:gd name="T21" fmla="*/ 447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1" h="893">
                  <a:moveTo>
                    <a:pt x="0" y="447"/>
                  </a:moveTo>
                  <a:cubicBezTo>
                    <a:pt x="0" y="177"/>
                    <a:pt x="160" y="0"/>
                    <a:pt x="417" y="0"/>
                  </a:cubicBezTo>
                  <a:cubicBezTo>
                    <a:pt x="582" y="0"/>
                    <a:pt x="698" y="79"/>
                    <a:pt x="747" y="181"/>
                  </a:cubicBezTo>
                  <a:cubicBezTo>
                    <a:pt x="614" y="285"/>
                    <a:pt x="614" y="285"/>
                    <a:pt x="614" y="285"/>
                  </a:cubicBezTo>
                  <a:cubicBezTo>
                    <a:pt x="570" y="211"/>
                    <a:pt x="493" y="178"/>
                    <a:pt x="421" y="178"/>
                  </a:cubicBezTo>
                  <a:cubicBezTo>
                    <a:pt x="295" y="178"/>
                    <a:pt x="197" y="269"/>
                    <a:pt x="197" y="447"/>
                  </a:cubicBezTo>
                  <a:cubicBezTo>
                    <a:pt x="197" y="614"/>
                    <a:pt x="300" y="715"/>
                    <a:pt x="427" y="715"/>
                  </a:cubicBezTo>
                  <a:cubicBezTo>
                    <a:pt x="500" y="715"/>
                    <a:pt x="579" y="682"/>
                    <a:pt x="623" y="608"/>
                  </a:cubicBezTo>
                  <a:cubicBezTo>
                    <a:pt x="761" y="715"/>
                    <a:pt x="761" y="715"/>
                    <a:pt x="761" y="715"/>
                  </a:cubicBezTo>
                  <a:cubicBezTo>
                    <a:pt x="699" y="819"/>
                    <a:pt x="590" y="893"/>
                    <a:pt x="423" y="893"/>
                  </a:cubicBezTo>
                  <a:cubicBezTo>
                    <a:pt x="163" y="893"/>
                    <a:pt x="0" y="716"/>
                    <a:pt x="0" y="44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42" name="Freeform 17">
              <a:extLst>
                <a:ext uri="{FF2B5EF4-FFF2-40B4-BE49-F238E27FC236}">
                  <a16:creationId xmlns:a16="http://schemas.microsoft.com/office/drawing/2014/main" id="{2E67FC8D-2C9A-4035-B791-CE50093680B5}"/>
                </a:ext>
              </a:extLst>
            </p:cNvPr>
            <p:cNvSpPr>
              <a:spLocks/>
            </p:cNvSpPr>
            <p:nvPr/>
          </p:nvSpPr>
          <p:spPr bwMode="auto">
            <a:xfrm>
              <a:off x="7271" y="1874"/>
              <a:ext cx="409" cy="565"/>
            </a:xfrm>
            <a:custGeom>
              <a:avLst/>
              <a:gdLst>
                <a:gd name="T0" fmla="*/ 404 w 654"/>
                <a:gd name="T1" fmla="*/ 376 h 903"/>
                <a:gd name="T2" fmla="*/ 287 w 654"/>
                <a:gd name="T3" fmla="*/ 354 h 903"/>
                <a:gd name="T4" fmla="*/ 202 w 654"/>
                <a:gd name="T5" fmla="*/ 264 h 903"/>
                <a:gd name="T6" fmla="*/ 321 w 654"/>
                <a:gd name="T7" fmla="*/ 171 h 903"/>
                <a:gd name="T8" fmla="*/ 478 w 654"/>
                <a:gd name="T9" fmla="*/ 270 h 903"/>
                <a:gd name="T10" fmla="*/ 617 w 654"/>
                <a:gd name="T11" fmla="*/ 163 h 903"/>
                <a:gd name="T12" fmla="*/ 322 w 654"/>
                <a:gd name="T13" fmla="*/ 0 h 903"/>
                <a:gd name="T14" fmla="*/ 12 w 654"/>
                <a:gd name="T15" fmla="*/ 279 h 903"/>
                <a:gd name="T16" fmla="*/ 247 w 654"/>
                <a:gd name="T17" fmla="*/ 523 h 903"/>
                <a:gd name="T18" fmla="*/ 366 w 654"/>
                <a:gd name="T19" fmla="*/ 546 h 903"/>
                <a:gd name="T20" fmla="*/ 459 w 654"/>
                <a:gd name="T21" fmla="*/ 642 h 903"/>
                <a:gd name="T22" fmla="*/ 336 w 654"/>
                <a:gd name="T23" fmla="*/ 734 h 903"/>
                <a:gd name="T24" fmla="*/ 143 w 654"/>
                <a:gd name="T25" fmla="*/ 594 h 903"/>
                <a:gd name="T26" fmla="*/ 0 w 654"/>
                <a:gd name="T27" fmla="*/ 704 h 903"/>
                <a:gd name="T28" fmla="*/ 334 w 654"/>
                <a:gd name="T29" fmla="*/ 903 h 903"/>
                <a:gd name="T30" fmla="*/ 654 w 654"/>
                <a:gd name="T31" fmla="*/ 629 h 903"/>
                <a:gd name="T32" fmla="*/ 404 w 654"/>
                <a:gd name="T33" fmla="*/ 376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4" h="903">
                  <a:moveTo>
                    <a:pt x="404" y="376"/>
                  </a:moveTo>
                  <a:cubicBezTo>
                    <a:pt x="287" y="354"/>
                    <a:pt x="287" y="354"/>
                    <a:pt x="287" y="354"/>
                  </a:cubicBezTo>
                  <a:cubicBezTo>
                    <a:pt x="228" y="344"/>
                    <a:pt x="202" y="305"/>
                    <a:pt x="202" y="264"/>
                  </a:cubicBezTo>
                  <a:cubicBezTo>
                    <a:pt x="202" y="216"/>
                    <a:pt x="249" y="171"/>
                    <a:pt x="321" y="171"/>
                  </a:cubicBezTo>
                  <a:cubicBezTo>
                    <a:pt x="403" y="171"/>
                    <a:pt x="451" y="222"/>
                    <a:pt x="478" y="270"/>
                  </a:cubicBezTo>
                  <a:cubicBezTo>
                    <a:pt x="617" y="163"/>
                    <a:pt x="617" y="163"/>
                    <a:pt x="617" y="163"/>
                  </a:cubicBezTo>
                  <a:cubicBezTo>
                    <a:pt x="578" y="79"/>
                    <a:pt x="491" y="0"/>
                    <a:pt x="322" y="0"/>
                  </a:cubicBezTo>
                  <a:cubicBezTo>
                    <a:pt x="156" y="0"/>
                    <a:pt x="12" y="115"/>
                    <a:pt x="12" y="279"/>
                  </a:cubicBezTo>
                  <a:cubicBezTo>
                    <a:pt x="12" y="407"/>
                    <a:pt x="101" y="496"/>
                    <a:pt x="247" y="523"/>
                  </a:cubicBezTo>
                  <a:cubicBezTo>
                    <a:pt x="366" y="546"/>
                    <a:pt x="366" y="546"/>
                    <a:pt x="366" y="546"/>
                  </a:cubicBezTo>
                  <a:cubicBezTo>
                    <a:pt x="423" y="557"/>
                    <a:pt x="459" y="597"/>
                    <a:pt x="459" y="642"/>
                  </a:cubicBezTo>
                  <a:cubicBezTo>
                    <a:pt x="459" y="695"/>
                    <a:pt x="413" y="734"/>
                    <a:pt x="336" y="734"/>
                  </a:cubicBezTo>
                  <a:cubicBezTo>
                    <a:pt x="219" y="734"/>
                    <a:pt x="161" y="649"/>
                    <a:pt x="143" y="594"/>
                  </a:cubicBezTo>
                  <a:cubicBezTo>
                    <a:pt x="0" y="704"/>
                    <a:pt x="0" y="704"/>
                    <a:pt x="0" y="704"/>
                  </a:cubicBezTo>
                  <a:cubicBezTo>
                    <a:pt x="41" y="806"/>
                    <a:pt x="144" y="903"/>
                    <a:pt x="334" y="903"/>
                  </a:cubicBezTo>
                  <a:cubicBezTo>
                    <a:pt x="541" y="903"/>
                    <a:pt x="654" y="765"/>
                    <a:pt x="654" y="629"/>
                  </a:cubicBezTo>
                  <a:cubicBezTo>
                    <a:pt x="654" y="506"/>
                    <a:pt x="569" y="407"/>
                    <a:pt x="404" y="37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43" name="Freeform 18">
              <a:extLst>
                <a:ext uri="{FF2B5EF4-FFF2-40B4-BE49-F238E27FC236}">
                  <a16:creationId xmlns:a16="http://schemas.microsoft.com/office/drawing/2014/main" id="{48CCA399-B5B4-4E88-8297-0959871846F3}"/>
                </a:ext>
              </a:extLst>
            </p:cNvPr>
            <p:cNvSpPr>
              <a:spLocks/>
            </p:cNvSpPr>
            <p:nvPr/>
          </p:nvSpPr>
          <p:spPr bwMode="auto">
            <a:xfrm>
              <a:off x="0" y="1622"/>
              <a:ext cx="857" cy="1076"/>
            </a:xfrm>
            <a:custGeom>
              <a:avLst/>
              <a:gdLst>
                <a:gd name="T0" fmla="*/ 859 w 1370"/>
                <a:gd name="T1" fmla="*/ 1020 h 1719"/>
                <a:gd name="T2" fmla="*/ 859 w 1370"/>
                <a:gd name="T3" fmla="*/ 1336 h 1719"/>
                <a:gd name="T4" fmla="*/ 383 w 1370"/>
                <a:gd name="T5" fmla="*/ 860 h 1719"/>
                <a:gd name="T6" fmla="*/ 859 w 1370"/>
                <a:gd name="T7" fmla="*/ 384 h 1719"/>
                <a:gd name="T8" fmla="*/ 859 w 1370"/>
                <a:gd name="T9" fmla="*/ 714 h 1719"/>
                <a:gd name="T10" fmla="*/ 1370 w 1370"/>
                <a:gd name="T11" fmla="*/ 169 h 1719"/>
                <a:gd name="T12" fmla="*/ 859 w 1370"/>
                <a:gd name="T13" fmla="*/ 0 h 1719"/>
                <a:gd name="T14" fmla="*/ 0 w 1370"/>
                <a:gd name="T15" fmla="*/ 860 h 1719"/>
                <a:gd name="T16" fmla="*/ 859 w 1370"/>
                <a:gd name="T17" fmla="*/ 1719 h 1719"/>
                <a:gd name="T18" fmla="*/ 1335 w 1370"/>
                <a:gd name="T19" fmla="*/ 1575 h 1719"/>
                <a:gd name="T20" fmla="*/ 859 w 1370"/>
                <a:gd name="T21" fmla="*/ 1020 h 1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70" h="1719">
                  <a:moveTo>
                    <a:pt x="859" y="1020"/>
                  </a:moveTo>
                  <a:cubicBezTo>
                    <a:pt x="859" y="1336"/>
                    <a:pt x="859" y="1336"/>
                    <a:pt x="859" y="1336"/>
                  </a:cubicBezTo>
                  <a:cubicBezTo>
                    <a:pt x="596" y="1336"/>
                    <a:pt x="383" y="1122"/>
                    <a:pt x="383" y="860"/>
                  </a:cubicBezTo>
                  <a:cubicBezTo>
                    <a:pt x="383" y="596"/>
                    <a:pt x="596" y="384"/>
                    <a:pt x="859" y="384"/>
                  </a:cubicBezTo>
                  <a:cubicBezTo>
                    <a:pt x="859" y="714"/>
                    <a:pt x="859" y="714"/>
                    <a:pt x="859" y="714"/>
                  </a:cubicBezTo>
                  <a:cubicBezTo>
                    <a:pt x="1370" y="169"/>
                    <a:pt x="1370" y="169"/>
                    <a:pt x="1370" y="169"/>
                  </a:cubicBezTo>
                  <a:cubicBezTo>
                    <a:pt x="1227" y="63"/>
                    <a:pt x="1051" y="0"/>
                    <a:pt x="859" y="0"/>
                  </a:cubicBezTo>
                  <a:cubicBezTo>
                    <a:pt x="385" y="0"/>
                    <a:pt x="0" y="385"/>
                    <a:pt x="0" y="860"/>
                  </a:cubicBezTo>
                  <a:cubicBezTo>
                    <a:pt x="0" y="1334"/>
                    <a:pt x="385" y="1719"/>
                    <a:pt x="859" y="1719"/>
                  </a:cubicBezTo>
                  <a:cubicBezTo>
                    <a:pt x="1035" y="1719"/>
                    <a:pt x="1199" y="1666"/>
                    <a:pt x="1335" y="1575"/>
                  </a:cubicBezTo>
                  <a:lnTo>
                    <a:pt x="859" y="10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44" name="Freeform 19">
              <a:extLst>
                <a:ext uri="{FF2B5EF4-FFF2-40B4-BE49-F238E27FC236}">
                  <a16:creationId xmlns:a16="http://schemas.microsoft.com/office/drawing/2014/main" id="{19DCE4FC-BFCB-40F1-BB85-91F645EEB1B7}"/>
                </a:ext>
              </a:extLst>
            </p:cNvPr>
            <p:cNvSpPr>
              <a:spLocks/>
            </p:cNvSpPr>
            <p:nvPr/>
          </p:nvSpPr>
          <p:spPr bwMode="auto">
            <a:xfrm>
              <a:off x="583" y="1854"/>
              <a:ext cx="491" cy="612"/>
            </a:xfrm>
            <a:custGeom>
              <a:avLst/>
              <a:gdLst>
                <a:gd name="T0" fmla="*/ 634 w 786"/>
                <a:gd name="T1" fmla="*/ 0 h 979"/>
                <a:gd name="T2" fmla="*/ 0 w 786"/>
                <a:gd name="T3" fmla="*/ 490 h 979"/>
                <a:gd name="T4" fmla="*/ 634 w 786"/>
                <a:gd name="T5" fmla="*/ 979 h 979"/>
                <a:gd name="T6" fmla="*/ 786 w 786"/>
                <a:gd name="T7" fmla="*/ 490 h 979"/>
                <a:gd name="T8" fmla="*/ 634 w 786"/>
                <a:gd name="T9" fmla="*/ 0 h 979"/>
              </a:gdLst>
              <a:ahLst/>
              <a:cxnLst>
                <a:cxn ang="0">
                  <a:pos x="T0" y="T1"/>
                </a:cxn>
                <a:cxn ang="0">
                  <a:pos x="T2" y="T3"/>
                </a:cxn>
                <a:cxn ang="0">
                  <a:pos x="T4" y="T5"/>
                </a:cxn>
                <a:cxn ang="0">
                  <a:pos x="T6" y="T7"/>
                </a:cxn>
                <a:cxn ang="0">
                  <a:pos x="T8" y="T9"/>
                </a:cxn>
              </a:cxnLst>
              <a:rect l="0" t="0" r="r" b="b"/>
              <a:pathLst>
                <a:path w="786" h="979">
                  <a:moveTo>
                    <a:pt x="634" y="0"/>
                  </a:moveTo>
                  <a:cubicBezTo>
                    <a:pt x="0" y="490"/>
                    <a:pt x="0" y="490"/>
                    <a:pt x="0" y="490"/>
                  </a:cubicBezTo>
                  <a:cubicBezTo>
                    <a:pt x="634" y="979"/>
                    <a:pt x="634" y="979"/>
                    <a:pt x="634" y="979"/>
                  </a:cubicBezTo>
                  <a:cubicBezTo>
                    <a:pt x="730" y="840"/>
                    <a:pt x="786" y="671"/>
                    <a:pt x="786" y="490"/>
                  </a:cubicBezTo>
                  <a:cubicBezTo>
                    <a:pt x="786" y="308"/>
                    <a:pt x="730" y="139"/>
                    <a:pt x="6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grpSp>
    </p:spTree>
    <p:extLst>
      <p:ext uri="{BB962C8B-B14F-4D97-AF65-F5344CB8AC3E}">
        <p14:creationId xmlns:p14="http://schemas.microsoft.com/office/powerpoint/2010/main" val="1388856949"/>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 id="2147483805" r:id="rId13"/>
    <p:sldLayoutId id="2147483806" r:id="rId14"/>
    <p:sldLayoutId id="2147483807" r:id="rId15"/>
    <p:sldLayoutId id="2147483808" r:id="rId16"/>
  </p:sldLayoutIdLst>
  <p:transition>
    <p:fade/>
  </p:transition>
  <p:hf hdr="0" dt="0"/>
  <p:txStyles>
    <p:titleStyle>
      <a:lvl1pPr algn="l" defTabSz="1042512" rtl="0" eaLnBrk="1" latinLnBrk="0" hangingPunct="1">
        <a:lnSpc>
          <a:spcPct val="100000"/>
        </a:lnSpc>
        <a:spcBef>
          <a:spcPct val="0"/>
        </a:spcBef>
        <a:buNone/>
        <a:defRPr sz="2400" b="0" kern="1200">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defRPr>
      </a:lvl1pPr>
    </p:titleStyle>
    <p:bodyStyle>
      <a:lvl1pPr marL="0" indent="0" algn="l" defTabSz="1042512" rtl="0" eaLnBrk="1" latinLnBrk="0" hangingPunct="1">
        <a:lnSpc>
          <a:spcPct val="90000"/>
        </a:lnSpc>
        <a:spcBef>
          <a:spcPts val="0"/>
        </a:spcBef>
        <a:spcAft>
          <a:spcPts val="1417"/>
        </a:spcAft>
        <a:buFont typeface="Arial" panose="020B0604020202020204" pitchFamily="34" charset="0"/>
        <a:buNone/>
        <a:defRPr sz="1600" kern="1200">
          <a:solidFill>
            <a:schemeClr val="tx1"/>
          </a:solidFill>
          <a:latin typeface="+mn-lt"/>
          <a:ea typeface="+mn-ea"/>
          <a:cs typeface="+mn-cs"/>
        </a:defRPr>
      </a:lvl1pPr>
      <a:lvl2pPr marL="0" indent="0" algn="l" defTabSz="1042512" rtl="0" eaLnBrk="1" latinLnBrk="0" hangingPunct="1">
        <a:lnSpc>
          <a:spcPct val="90000"/>
        </a:lnSpc>
        <a:spcBef>
          <a:spcPts val="0"/>
        </a:spcBef>
        <a:spcAft>
          <a:spcPts val="0"/>
        </a:spcAft>
        <a:buFont typeface="Arial" panose="020B0604020202020204" pitchFamily="34" charset="0"/>
        <a:buNone/>
        <a:defRPr sz="1600" b="0" kern="1200">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defRPr>
      </a:lvl2pPr>
      <a:lvl3pPr marL="0" indent="0" algn="l" defTabSz="1042512" rtl="0" eaLnBrk="1" latinLnBrk="0" hangingPunct="1">
        <a:lnSpc>
          <a:spcPct val="90000"/>
        </a:lnSpc>
        <a:spcBef>
          <a:spcPts val="0"/>
        </a:spcBef>
        <a:spcAft>
          <a:spcPts val="1417"/>
        </a:spcAft>
        <a:buFont typeface="Arial" panose="020B0604020202020204" pitchFamily="34" charset="0"/>
        <a:buNone/>
        <a:defRPr sz="1600" kern="1200">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defRPr>
      </a:lvl3pPr>
      <a:lvl4pPr marL="290427" indent="-290427" algn="l" defTabSz="1042512" rtl="0" eaLnBrk="1" latinLnBrk="0" hangingPunct="1">
        <a:lnSpc>
          <a:spcPct val="90000"/>
        </a:lnSpc>
        <a:spcBef>
          <a:spcPts val="0"/>
        </a:spcBef>
        <a:spcAft>
          <a:spcPts val="850"/>
        </a:spcAft>
        <a:buClr>
          <a:schemeClr val="tx1"/>
        </a:buClr>
        <a:buFont typeface="Arial" panose="020B0604020202020204" pitchFamily="34" charset="0"/>
        <a:buChar char="•"/>
        <a:defRPr sz="1400" kern="1200">
          <a:solidFill>
            <a:schemeClr val="tx1"/>
          </a:solidFill>
          <a:latin typeface="+mn-lt"/>
          <a:ea typeface="+mn-ea"/>
          <a:cs typeface="+mn-cs"/>
        </a:defRPr>
      </a:lvl4pPr>
      <a:lvl5pPr marL="580854" indent="-290427" algn="l" defTabSz="1042512" rtl="0" eaLnBrk="1" latinLnBrk="0" hangingPunct="1">
        <a:lnSpc>
          <a:spcPct val="90000"/>
        </a:lnSpc>
        <a:spcBef>
          <a:spcPts val="0"/>
        </a:spcBef>
        <a:spcAft>
          <a:spcPts val="850"/>
        </a:spcAft>
        <a:buClr>
          <a:schemeClr val="tx1"/>
        </a:buClr>
        <a:buFont typeface="Arial" panose="020B0604020202020204" pitchFamily="34" charset="0"/>
        <a:buChar char="•"/>
        <a:defRPr sz="1400" kern="1200">
          <a:solidFill>
            <a:schemeClr val="tx1"/>
          </a:solidFill>
          <a:latin typeface="+mn-lt"/>
          <a:ea typeface="+mn-ea"/>
          <a:cs typeface="+mn-cs"/>
        </a:defRPr>
      </a:lvl5pPr>
      <a:lvl6pPr marL="871281" indent="-290427" algn="l" defTabSz="1042512" rtl="0" eaLnBrk="1" latinLnBrk="0" hangingPunct="1">
        <a:lnSpc>
          <a:spcPct val="90000"/>
        </a:lnSpc>
        <a:spcBef>
          <a:spcPts val="0"/>
        </a:spcBef>
        <a:spcAft>
          <a:spcPts val="850"/>
        </a:spcAft>
        <a:buClr>
          <a:schemeClr val="tx1"/>
        </a:buClr>
        <a:buFont typeface="Arial" panose="020B0604020202020204" pitchFamily="34" charset="0"/>
        <a:buChar char="•"/>
        <a:defRPr sz="1400" kern="1200">
          <a:solidFill>
            <a:schemeClr val="tx1"/>
          </a:solidFill>
          <a:latin typeface="+mn-lt"/>
          <a:ea typeface="+mn-ea"/>
          <a:cs typeface="+mn-cs"/>
        </a:defRPr>
      </a:lvl6pPr>
      <a:lvl7pPr marL="1161708" indent="-290427" algn="l" defTabSz="1042512" rtl="0" eaLnBrk="1" latinLnBrk="0" hangingPunct="1">
        <a:lnSpc>
          <a:spcPct val="90000"/>
        </a:lnSpc>
        <a:spcBef>
          <a:spcPts val="0"/>
        </a:spcBef>
        <a:spcAft>
          <a:spcPts val="850"/>
        </a:spcAft>
        <a:buClr>
          <a:schemeClr val="tx1"/>
        </a:buClr>
        <a:buFont typeface="Arial" panose="020B0604020202020204" pitchFamily="34" charset="0"/>
        <a:buChar char="•"/>
        <a:defRPr sz="1400" kern="1200">
          <a:solidFill>
            <a:schemeClr val="tx1"/>
          </a:solidFill>
          <a:latin typeface="+mn-lt"/>
          <a:ea typeface="+mn-ea"/>
          <a:cs typeface="+mn-cs"/>
        </a:defRPr>
      </a:lvl7pPr>
      <a:lvl8pPr marL="1452133" indent="-290427" algn="l" defTabSz="1042512" rtl="0" eaLnBrk="1" latinLnBrk="0" hangingPunct="1">
        <a:lnSpc>
          <a:spcPct val="90000"/>
        </a:lnSpc>
        <a:spcBef>
          <a:spcPts val="0"/>
        </a:spcBef>
        <a:spcAft>
          <a:spcPts val="850"/>
        </a:spcAft>
        <a:buClr>
          <a:schemeClr val="tx1"/>
        </a:buClr>
        <a:buFont typeface="Arial" panose="020B0604020202020204" pitchFamily="34" charset="0"/>
        <a:buChar char="•"/>
        <a:defRPr sz="1400" kern="1200">
          <a:solidFill>
            <a:schemeClr val="tx1"/>
          </a:solidFill>
          <a:latin typeface="+mn-lt"/>
          <a:ea typeface="+mn-ea"/>
          <a:cs typeface="+mn-cs"/>
        </a:defRPr>
      </a:lvl8pPr>
      <a:lvl9pPr marL="1742562" indent="-290427" algn="l" defTabSz="1042512" rtl="0" eaLnBrk="1" latinLnBrk="0" hangingPunct="1">
        <a:lnSpc>
          <a:spcPct val="90000"/>
        </a:lnSpc>
        <a:spcBef>
          <a:spcPts val="0"/>
        </a:spcBef>
        <a:spcAft>
          <a:spcPts val="850"/>
        </a:spcAft>
        <a:buClr>
          <a:schemeClr val="tx1"/>
        </a:buClr>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1042512" rtl="0" eaLnBrk="1" latinLnBrk="0" hangingPunct="1">
        <a:defRPr sz="2052" kern="1200">
          <a:solidFill>
            <a:schemeClr val="tx1"/>
          </a:solidFill>
          <a:latin typeface="+mn-lt"/>
          <a:ea typeface="+mn-ea"/>
          <a:cs typeface="+mn-cs"/>
        </a:defRPr>
      </a:lvl1pPr>
      <a:lvl2pPr marL="521258" algn="l" defTabSz="1042512" rtl="0" eaLnBrk="1" latinLnBrk="0" hangingPunct="1">
        <a:defRPr sz="2052" kern="1200">
          <a:solidFill>
            <a:schemeClr val="tx1"/>
          </a:solidFill>
          <a:latin typeface="+mn-lt"/>
          <a:ea typeface="+mn-ea"/>
          <a:cs typeface="+mn-cs"/>
        </a:defRPr>
      </a:lvl2pPr>
      <a:lvl3pPr marL="1042512" algn="l" defTabSz="1042512" rtl="0" eaLnBrk="1" latinLnBrk="0" hangingPunct="1">
        <a:defRPr sz="2052" kern="1200">
          <a:solidFill>
            <a:schemeClr val="tx1"/>
          </a:solidFill>
          <a:latin typeface="+mn-lt"/>
          <a:ea typeface="+mn-ea"/>
          <a:cs typeface="+mn-cs"/>
        </a:defRPr>
      </a:lvl3pPr>
      <a:lvl4pPr marL="1563773" algn="l" defTabSz="1042512" rtl="0" eaLnBrk="1" latinLnBrk="0" hangingPunct="1">
        <a:defRPr sz="2052" kern="1200">
          <a:solidFill>
            <a:schemeClr val="tx1"/>
          </a:solidFill>
          <a:latin typeface="+mn-lt"/>
          <a:ea typeface="+mn-ea"/>
          <a:cs typeface="+mn-cs"/>
        </a:defRPr>
      </a:lvl4pPr>
      <a:lvl5pPr marL="2085031" algn="l" defTabSz="1042512" rtl="0" eaLnBrk="1" latinLnBrk="0" hangingPunct="1">
        <a:defRPr sz="2052" kern="1200">
          <a:solidFill>
            <a:schemeClr val="tx1"/>
          </a:solidFill>
          <a:latin typeface="+mn-lt"/>
          <a:ea typeface="+mn-ea"/>
          <a:cs typeface="+mn-cs"/>
        </a:defRPr>
      </a:lvl5pPr>
      <a:lvl6pPr marL="2606285" algn="l" defTabSz="1042512" rtl="0" eaLnBrk="1" latinLnBrk="0" hangingPunct="1">
        <a:defRPr sz="2052" kern="1200">
          <a:solidFill>
            <a:schemeClr val="tx1"/>
          </a:solidFill>
          <a:latin typeface="+mn-lt"/>
          <a:ea typeface="+mn-ea"/>
          <a:cs typeface="+mn-cs"/>
        </a:defRPr>
      </a:lvl6pPr>
      <a:lvl7pPr marL="3127543" algn="l" defTabSz="1042512" rtl="0" eaLnBrk="1" latinLnBrk="0" hangingPunct="1">
        <a:defRPr sz="2052" kern="1200">
          <a:solidFill>
            <a:schemeClr val="tx1"/>
          </a:solidFill>
          <a:latin typeface="+mn-lt"/>
          <a:ea typeface="+mn-ea"/>
          <a:cs typeface="+mn-cs"/>
        </a:defRPr>
      </a:lvl7pPr>
      <a:lvl8pPr marL="3648803" algn="l" defTabSz="1042512" rtl="0" eaLnBrk="1" latinLnBrk="0" hangingPunct="1">
        <a:defRPr sz="2052" kern="1200">
          <a:solidFill>
            <a:schemeClr val="tx1"/>
          </a:solidFill>
          <a:latin typeface="+mn-lt"/>
          <a:ea typeface="+mn-ea"/>
          <a:cs typeface="+mn-cs"/>
        </a:defRPr>
      </a:lvl8pPr>
      <a:lvl9pPr marL="4170060" algn="l" defTabSz="1042512" rtl="0" eaLnBrk="1" latinLnBrk="0" hangingPunct="1">
        <a:defRPr sz="205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1">
          <p15:clr>
            <a:srgbClr val="F26B43"/>
          </p15:clr>
        </p15:guide>
        <p15:guide id="2" pos="3840">
          <p15:clr>
            <a:srgbClr val="F26B43"/>
          </p15:clr>
        </p15:guide>
        <p15:guide id="3" pos="260">
          <p15:clr>
            <a:srgbClr val="F26B43"/>
          </p15:clr>
        </p15:guide>
        <p15:guide id="4" pos="7420">
          <p15:clr>
            <a:srgbClr val="F26B43"/>
          </p15:clr>
        </p15:guide>
        <p15:guide id="5" orient="horz" pos="259">
          <p15:clr>
            <a:srgbClr val="F26B43"/>
          </p15:clr>
        </p15:guide>
        <p15:guide id="6" orient="horz" pos="958">
          <p15:clr>
            <a:srgbClr val="F26B43"/>
          </p15:clr>
        </p15:guide>
        <p15:guide id="7" orient="horz" pos="3989">
          <p15:clr>
            <a:srgbClr val="F26B43"/>
          </p15:clr>
        </p15:guide>
        <p15:guide id="8" orient="horz" pos="379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3"/>
            </p:custData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5" imgW="270" imgH="270" progId="TCLayout.ActiveDocument.1">
                  <p:embed/>
                </p:oleObj>
              </mc:Choice>
              <mc:Fallback>
                <p:oleObj name="think-cell Slide" r:id="rId35" imgW="270" imgH="270" progId="TCLayout.ActiveDocument.1">
                  <p:embed/>
                  <p:pic>
                    <p:nvPicPr>
                      <p:cNvPr id="2" name="Object 1" hidden="1"/>
                      <p:cNvPicPr/>
                      <p:nvPr/>
                    </p:nvPicPr>
                    <p:blipFill>
                      <a:blip r:embed="rId36"/>
                      <a:stretch>
                        <a:fillRect/>
                      </a:stretch>
                    </p:blipFill>
                    <p:spPr>
                      <a:xfrm>
                        <a:off x="2122" y="1589"/>
                        <a:ext cx="2116"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111333B-FBA5-4875-A5DE-3B4281D761D5}"/>
              </a:ext>
            </a:extLst>
          </p:cNvPr>
          <p:cNvSpPr/>
          <p:nvPr>
            <p:custDataLst>
              <p:tags r:id="rId34"/>
            </p:custDataLst>
          </p:nvPr>
        </p:nvSpPr>
        <p:spPr>
          <a:xfrm>
            <a:off x="0" y="0"/>
            <a:ext cx="211667"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dirty="0">
              <a:latin typeface="Calibri Light" panose="020F0302020204030204" pitchFamily="34" charset="0"/>
              <a:ea typeface="+mj-ea"/>
              <a:cs typeface="+mj-cs"/>
              <a:sym typeface="Calibri Light" panose="020F0302020204030204" pitchFamily="34" charset="0"/>
            </a:endParaRPr>
          </a:p>
        </p:txBody>
      </p:sp>
      <p:sp>
        <p:nvSpPr>
          <p:cNvPr id="3" name="Title Placeholder 2">
            <a:extLst>
              <a:ext uri="{FF2B5EF4-FFF2-40B4-BE49-F238E27FC236}">
                <a16:creationId xmlns:a16="http://schemas.microsoft.com/office/drawing/2014/main" id="{E8F7B30E-EA8B-493C-86DB-F82608FA4390}"/>
              </a:ext>
            </a:extLst>
          </p:cNvPr>
          <p:cNvSpPr>
            <a:spLocks noGrp="1"/>
          </p:cNvSpPr>
          <p:nvPr>
            <p:ph type="title"/>
          </p:nvPr>
        </p:nvSpPr>
        <p:spPr>
          <a:xfrm>
            <a:off x="673102" y="507999"/>
            <a:ext cx="10031916" cy="931335"/>
          </a:xfrm>
          <a:prstGeom prst="rect">
            <a:avLst/>
          </a:prstGeom>
        </p:spPr>
        <p:txBody>
          <a:bodyPr vert="horz" lIns="0" tIns="0" rIns="0" bIns="0" rtlCol="0" anchor="t">
            <a:noAutofit/>
          </a:bodyPr>
          <a:lstStyle/>
          <a:p>
            <a:endParaRPr lang="en-US" dirty="0"/>
          </a:p>
        </p:txBody>
      </p:sp>
      <p:pic>
        <p:nvPicPr>
          <p:cNvPr id="9" name="Picture 8">
            <a:extLst>
              <a:ext uri="{FF2B5EF4-FFF2-40B4-BE49-F238E27FC236}">
                <a16:creationId xmlns:a16="http://schemas.microsoft.com/office/drawing/2014/main" id="{7A5D2E64-2649-4557-8200-E78DF2A57EFC}"/>
              </a:ext>
            </a:extLst>
          </p:cNvPr>
          <p:cNvPicPr>
            <a:picLocks noChangeAspect="1"/>
          </p:cNvPicPr>
          <p:nvPr/>
        </p:nvPicPr>
        <p:blipFill>
          <a:blip r:embed="rId37" cstate="email">
            <a:extLst>
              <a:ext uri="{28A0092B-C50C-407E-A947-70E740481C1C}">
                <a14:useLocalDpi xmlns:a14="http://schemas.microsoft.com/office/drawing/2010/main"/>
              </a:ext>
            </a:extLst>
          </a:blip>
          <a:stretch>
            <a:fillRect/>
          </a:stretch>
        </p:blipFill>
        <p:spPr>
          <a:xfrm>
            <a:off x="11041017" y="288001"/>
            <a:ext cx="480000" cy="609729"/>
          </a:xfrm>
          <a:prstGeom prst="rect">
            <a:avLst/>
          </a:prstGeom>
        </p:spPr>
      </p:pic>
      <p:sp>
        <p:nvSpPr>
          <p:cNvPr id="4" name="Date Placeholder 3">
            <a:extLst>
              <a:ext uri="{FF2B5EF4-FFF2-40B4-BE49-F238E27FC236}">
                <a16:creationId xmlns:a16="http://schemas.microsoft.com/office/drawing/2014/main" id="{39BA08C5-5A5A-413C-BB47-80E1FBC06359}"/>
              </a:ext>
            </a:extLst>
          </p:cNvPr>
          <p:cNvSpPr>
            <a:spLocks noGrp="1"/>
          </p:cNvSpPr>
          <p:nvPr>
            <p:ph type="dt" sz="half" idx="2"/>
          </p:nvPr>
        </p:nvSpPr>
        <p:spPr>
          <a:xfrm>
            <a:off x="673102" y="6512606"/>
            <a:ext cx="958356" cy="143967"/>
          </a:xfrm>
          <a:prstGeom prst="rect">
            <a:avLst/>
          </a:prstGeom>
        </p:spPr>
        <p:txBody>
          <a:bodyPr vert="horz" lIns="0" tIns="0" rIns="0" bIns="0" rtlCol="0" anchor="t"/>
          <a:lstStyle>
            <a:lvl1pPr algn="l">
              <a:defRPr sz="933">
                <a:solidFill>
                  <a:srgbClr val="000000"/>
                </a:solidFill>
              </a:defRPr>
            </a:lvl1pPr>
          </a:lstStyle>
          <a:p>
            <a:endParaRPr lang="en-IN" dirty="0"/>
          </a:p>
        </p:txBody>
      </p:sp>
      <p:sp>
        <p:nvSpPr>
          <p:cNvPr id="7" name="Footer Placeholder 6">
            <a:extLst>
              <a:ext uri="{FF2B5EF4-FFF2-40B4-BE49-F238E27FC236}">
                <a16:creationId xmlns:a16="http://schemas.microsoft.com/office/drawing/2014/main" id="{B1528AAF-4F0A-419B-8AAE-5F058B1EDEF5}"/>
              </a:ext>
            </a:extLst>
          </p:cNvPr>
          <p:cNvSpPr>
            <a:spLocks noGrp="1"/>
          </p:cNvSpPr>
          <p:nvPr>
            <p:ph type="ftr" sz="quarter" idx="3"/>
          </p:nvPr>
        </p:nvSpPr>
        <p:spPr>
          <a:xfrm>
            <a:off x="2597425" y="6512606"/>
            <a:ext cx="5213535" cy="143967"/>
          </a:xfrm>
          <a:prstGeom prst="rect">
            <a:avLst/>
          </a:prstGeom>
        </p:spPr>
        <p:txBody>
          <a:bodyPr vert="horz" lIns="0" tIns="0" rIns="0" bIns="0" rtlCol="0" anchor="t"/>
          <a:lstStyle>
            <a:lvl1pPr algn="l">
              <a:defRPr sz="933">
                <a:solidFill>
                  <a:schemeClr val="tx1"/>
                </a:solidFill>
              </a:defRPr>
            </a:lvl1pPr>
          </a:lstStyle>
          <a:p>
            <a:endParaRPr lang="en-IN" dirty="0"/>
          </a:p>
        </p:txBody>
      </p:sp>
      <p:sp>
        <p:nvSpPr>
          <p:cNvPr id="8" name="Slide Number Placeholder 7">
            <a:extLst>
              <a:ext uri="{FF2B5EF4-FFF2-40B4-BE49-F238E27FC236}">
                <a16:creationId xmlns:a16="http://schemas.microsoft.com/office/drawing/2014/main" id="{85343E1D-8E69-45CA-BB05-A8D2AF3930F7}"/>
              </a:ext>
            </a:extLst>
          </p:cNvPr>
          <p:cNvSpPr>
            <a:spLocks noGrp="1"/>
          </p:cNvSpPr>
          <p:nvPr>
            <p:ph type="sldNum" sz="quarter" idx="4"/>
          </p:nvPr>
        </p:nvSpPr>
        <p:spPr>
          <a:xfrm>
            <a:off x="242827" y="6485813"/>
            <a:ext cx="266631" cy="200267"/>
          </a:xfrm>
          <a:prstGeom prst="rect">
            <a:avLst/>
          </a:prstGeom>
        </p:spPr>
        <p:txBody>
          <a:bodyPr vert="horz" lIns="0" tIns="0" rIns="0" bIns="0" rtlCol="0" anchor="t"/>
          <a:lstStyle>
            <a:lvl1pPr algn="l">
              <a:defRPr sz="1200">
                <a:solidFill>
                  <a:schemeClr val="tx1"/>
                </a:solidFill>
              </a:defRPr>
            </a:lvl1pPr>
          </a:lstStyle>
          <a:p>
            <a:fld id="{A5163908-529D-4A49-892F-D37C4044DFD8}" type="slidenum">
              <a:rPr lang="en-IN" smtClean="0"/>
              <a:pPr/>
              <a:t>‹#›</a:t>
            </a:fld>
            <a:endParaRPr lang="en-IN"/>
          </a:p>
        </p:txBody>
      </p:sp>
      <p:sp>
        <p:nvSpPr>
          <p:cNvPr id="13" name="Text Placeholder 12">
            <a:extLst>
              <a:ext uri="{FF2B5EF4-FFF2-40B4-BE49-F238E27FC236}">
                <a16:creationId xmlns:a16="http://schemas.microsoft.com/office/drawing/2014/main" id="{9846266C-4ECA-426E-AC3C-9C2166215C9A}"/>
              </a:ext>
            </a:extLst>
          </p:cNvPr>
          <p:cNvSpPr>
            <a:spLocks noGrp="1"/>
          </p:cNvSpPr>
          <p:nvPr>
            <p:ph type="body" idx="1"/>
          </p:nvPr>
        </p:nvSpPr>
        <p:spPr>
          <a:xfrm>
            <a:off x="673101" y="1623484"/>
            <a:ext cx="10847919" cy="4614333"/>
          </a:xfrm>
          <a:prstGeom prst="rect">
            <a:avLst/>
          </a:prstGeom>
        </p:spPr>
        <p:txBody>
          <a:bodyPr vert="horz" lIns="0" tIns="0" rIns="0" bIns="0" spcCol="32400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0788104"/>
      </p:ext>
    </p:extLst>
  </p:cSld>
  <p:clrMap bg1="lt1" tx1="dk1" bg2="lt2" tx2="dk2" accent1="accent1" accent2="accent2" accent3="accent3" accent4="accent4" accent5="accent5" accent6="accent6" hlink="hlink" folHlink="folHlink"/>
  <p:sldLayoutIdLst>
    <p:sldLayoutId id="2147483810" r:id="rId1"/>
    <p:sldLayoutId id="2147483811" r:id="rId2"/>
    <p:sldLayoutId id="2147483812" r:id="rId3"/>
    <p:sldLayoutId id="2147483813" r:id="rId4"/>
    <p:sldLayoutId id="2147483814" r:id="rId5"/>
    <p:sldLayoutId id="2147483815" r:id="rId6"/>
    <p:sldLayoutId id="2147483816" r:id="rId7"/>
    <p:sldLayoutId id="2147483817" r:id="rId8"/>
    <p:sldLayoutId id="2147483818" r:id="rId9"/>
    <p:sldLayoutId id="2147483819" r:id="rId10"/>
    <p:sldLayoutId id="2147483820" r:id="rId11"/>
    <p:sldLayoutId id="2147483821" r:id="rId12"/>
    <p:sldLayoutId id="2147483822" r:id="rId13"/>
    <p:sldLayoutId id="2147483823" r:id="rId14"/>
    <p:sldLayoutId id="2147483824" r:id="rId15"/>
    <p:sldLayoutId id="2147483825" r:id="rId16"/>
    <p:sldLayoutId id="2147483826" r:id="rId17"/>
    <p:sldLayoutId id="2147483827" r:id="rId18"/>
    <p:sldLayoutId id="2147483828" r:id="rId19"/>
    <p:sldLayoutId id="2147483829" r:id="rId20"/>
    <p:sldLayoutId id="2147483830" r:id="rId21"/>
    <p:sldLayoutId id="2147483831" r:id="rId22"/>
    <p:sldLayoutId id="2147483832" r:id="rId23"/>
    <p:sldLayoutId id="2147483833" r:id="rId24"/>
    <p:sldLayoutId id="2147483834" r:id="rId25"/>
    <p:sldLayoutId id="2147483835" r:id="rId26"/>
    <p:sldLayoutId id="2147483836" r:id="rId27"/>
    <p:sldLayoutId id="2147483837" r:id="rId28"/>
    <p:sldLayoutId id="2147483838" r:id="rId29"/>
    <p:sldLayoutId id="2147483839" r:id="rId30"/>
    <p:sldLayoutId id="2147483840" r:id="rId31"/>
  </p:sldLayoutIdLst>
  <p:hf hdr="0"/>
  <p:txStyles>
    <p:titleStyle>
      <a:lvl1pPr algn="l" defTabSz="1219139" rtl="0" eaLnBrk="1" latinLnBrk="0" hangingPunct="1">
        <a:lnSpc>
          <a:spcPct val="100000"/>
        </a:lnSpc>
        <a:spcBef>
          <a:spcPct val="0"/>
        </a:spcBef>
        <a:buNone/>
        <a:defRPr lang="en-US" sz="3200" kern="1200" smtClean="0">
          <a:solidFill>
            <a:schemeClr val="tx1"/>
          </a:solidFill>
          <a:latin typeface="+mj-lt"/>
          <a:ea typeface="+mj-ea"/>
          <a:cs typeface="+mj-cs"/>
        </a:defRPr>
      </a:lvl1pPr>
    </p:titleStyle>
    <p:bodyStyle>
      <a:lvl1pPr marL="215895" indent="-215895" algn="l" defTabSz="1219139" rtl="0" eaLnBrk="1" latinLnBrk="0" hangingPunct="1">
        <a:lnSpc>
          <a:spcPct val="100000"/>
        </a:lnSpc>
        <a:spcBef>
          <a:spcPts val="0"/>
        </a:spcBef>
        <a:spcAft>
          <a:spcPts val="0"/>
        </a:spcAft>
        <a:buClr>
          <a:srgbClr val="000000"/>
        </a:buClr>
        <a:buSzPct val="100000"/>
        <a:buFont typeface="Arial" panose="020B0604020202020204" pitchFamily="34" charset="0"/>
        <a:buChar char="•"/>
        <a:defRPr lang="en-US" sz="1800" kern="1200" dirty="0">
          <a:solidFill>
            <a:schemeClr val="tx1"/>
          </a:solidFill>
          <a:latin typeface="+mn-lt"/>
          <a:ea typeface="+mn-ea"/>
          <a:cs typeface="+mn-cs"/>
        </a:defRPr>
      </a:lvl1pPr>
      <a:lvl2pPr marL="426709" indent="-182875" algn="l" defTabSz="1219139"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US" sz="1600" kern="1200" dirty="0">
          <a:solidFill>
            <a:schemeClr val="tx1"/>
          </a:solidFill>
          <a:latin typeface="+mn-lt"/>
          <a:ea typeface="+mn-ea"/>
          <a:cs typeface="+mn-cs"/>
        </a:defRPr>
      </a:lvl2pPr>
      <a:lvl3pPr marL="573010" indent="-143930" algn="l" defTabSz="1219139"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US" sz="1400" kern="1200" dirty="0">
          <a:solidFill>
            <a:schemeClr val="tx1"/>
          </a:solidFill>
          <a:latin typeface="+mn-lt"/>
          <a:ea typeface="+mn-ea"/>
          <a:cs typeface="+mn-cs"/>
        </a:defRPr>
      </a:lvl3pPr>
      <a:lvl4pPr marL="792460" indent="-182875" algn="l" defTabSz="1219139"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US" sz="1400" kern="1200" dirty="0">
          <a:solidFill>
            <a:schemeClr val="tx1"/>
          </a:solidFill>
          <a:latin typeface="+mn-lt"/>
          <a:ea typeface="+mn-ea"/>
          <a:cs typeface="+mn-cs"/>
        </a:defRPr>
      </a:lvl4pPr>
      <a:lvl5pPr marL="935543" indent="-143930" algn="l" defTabSz="1219139"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IN" sz="1400" kern="1200" dirty="0">
          <a:solidFill>
            <a:schemeClr val="tx1"/>
          </a:solidFill>
          <a:latin typeface="+mn-lt"/>
          <a:ea typeface="+mn-ea"/>
          <a:cs typeface="+mn-cs"/>
        </a:defRPr>
      </a:lvl5pPr>
      <a:lvl6pPr marL="3352632" indent="-304784" algn="l" defTabSz="1219139"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202" indent="-304784" algn="l" defTabSz="1219139"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71" indent="-304784" algn="l" defTabSz="1219139"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341" indent="-304784" algn="l" defTabSz="1219139"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de-DE"/>
      </a:defPPr>
      <a:lvl1pPr marL="0" algn="l" defTabSz="1219139" rtl="0" eaLnBrk="1" latinLnBrk="0" hangingPunct="1">
        <a:defRPr sz="2400" kern="1200">
          <a:solidFill>
            <a:schemeClr val="tx1"/>
          </a:solidFill>
          <a:latin typeface="+mn-lt"/>
          <a:ea typeface="+mn-ea"/>
          <a:cs typeface="+mn-cs"/>
        </a:defRPr>
      </a:lvl1pPr>
      <a:lvl2pPr marL="609570" algn="l" defTabSz="1219139" rtl="0" eaLnBrk="1" latinLnBrk="0" hangingPunct="1">
        <a:defRPr sz="2400" kern="1200">
          <a:solidFill>
            <a:schemeClr val="tx1"/>
          </a:solidFill>
          <a:latin typeface="+mn-lt"/>
          <a:ea typeface="+mn-ea"/>
          <a:cs typeface="+mn-cs"/>
        </a:defRPr>
      </a:lvl2pPr>
      <a:lvl3pPr marL="1219139" algn="l" defTabSz="1219139" rtl="0" eaLnBrk="1" latinLnBrk="0" hangingPunct="1">
        <a:defRPr sz="2400" kern="1200">
          <a:solidFill>
            <a:schemeClr val="tx1"/>
          </a:solidFill>
          <a:latin typeface="+mn-lt"/>
          <a:ea typeface="+mn-ea"/>
          <a:cs typeface="+mn-cs"/>
        </a:defRPr>
      </a:lvl3pPr>
      <a:lvl4pPr marL="1828709" algn="l" defTabSz="1219139" rtl="0" eaLnBrk="1" latinLnBrk="0" hangingPunct="1">
        <a:defRPr sz="2400" kern="1200">
          <a:solidFill>
            <a:schemeClr val="tx1"/>
          </a:solidFill>
          <a:latin typeface="+mn-lt"/>
          <a:ea typeface="+mn-ea"/>
          <a:cs typeface="+mn-cs"/>
        </a:defRPr>
      </a:lvl4pPr>
      <a:lvl5pPr marL="2438278" algn="l" defTabSz="1219139" rtl="0" eaLnBrk="1" latinLnBrk="0" hangingPunct="1">
        <a:defRPr sz="2400" kern="1200">
          <a:solidFill>
            <a:schemeClr val="tx1"/>
          </a:solidFill>
          <a:latin typeface="+mn-lt"/>
          <a:ea typeface="+mn-ea"/>
          <a:cs typeface="+mn-cs"/>
        </a:defRPr>
      </a:lvl5pPr>
      <a:lvl6pPr marL="3047848" algn="l" defTabSz="1219139" rtl="0" eaLnBrk="1" latinLnBrk="0" hangingPunct="1">
        <a:defRPr sz="2400" kern="1200">
          <a:solidFill>
            <a:schemeClr val="tx1"/>
          </a:solidFill>
          <a:latin typeface="+mn-lt"/>
          <a:ea typeface="+mn-ea"/>
          <a:cs typeface="+mn-cs"/>
        </a:defRPr>
      </a:lvl6pPr>
      <a:lvl7pPr marL="3657417" algn="l" defTabSz="1219139" rtl="0" eaLnBrk="1" latinLnBrk="0" hangingPunct="1">
        <a:defRPr sz="2400" kern="1200">
          <a:solidFill>
            <a:schemeClr val="tx1"/>
          </a:solidFill>
          <a:latin typeface="+mn-lt"/>
          <a:ea typeface="+mn-ea"/>
          <a:cs typeface="+mn-cs"/>
        </a:defRPr>
      </a:lvl7pPr>
      <a:lvl8pPr marL="4266987" algn="l" defTabSz="1219139" rtl="0" eaLnBrk="1" latinLnBrk="0" hangingPunct="1">
        <a:defRPr sz="2400" kern="1200">
          <a:solidFill>
            <a:schemeClr val="tx1"/>
          </a:solidFill>
          <a:latin typeface="+mn-lt"/>
          <a:ea typeface="+mn-ea"/>
          <a:cs typeface="+mn-cs"/>
        </a:defRPr>
      </a:lvl8pPr>
      <a:lvl9pPr marL="4876557" algn="l" defTabSz="1219139"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3">
          <p15:clr>
            <a:srgbClr val="000000"/>
          </p15:clr>
        </p15:guide>
        <p15:guide id="2" pos="7257">
          <p15:clr>
            <a:srgbClr val="000000"/>
          </p15:clr>
        </p15:guide>
        <p15:guide id="3" pos="6743">
          <p15:clr>
            <a:srgbClr val="000000"/>
          </p15:clr>
        </p15:guide>
        <p15:guide id="4" orient="horz" pos="316">
          <p15:clr>
            <a:srgbClr val="000000"/>
          </p15:clr>
        </p15:guide>
        <p15:guide id="5" orient="horz" pos="920">
          <p15:clr>
            <a:srgbClr val="000000"/>
          </p15:clr>
        </p15:guide>
        <p15:guide id="6" orient="horz" pos="1011">
          <p15:clr>
            <a:srgbClr val="000000"/>
          </p15:clr>
        </p15:guide>
        <p15:guide id="7" orient="horz" pos="3944">
          <p15:clr>
            <a:srgbClr val="000000"/>
          </p15:clr>
        </p15:guide>
        <p15:guide id="8" pos="4052">
          <p15:clr>
            <a:srgbClr val="000000"/>
          </p15:clr>
        </p15:guide>
        <p15:guide id="10" pos="3840">
          <p15:clr>
            <a:srgbClr val="000000"/>
          </p15:clr>
        </p15:guide>
        <p15:guide id="11" pos="3628">
          <p15:clr>
            <a:srgbClr val="00000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a:xfrm>
            <a:off x="675133" y="1700809"/>
            <a:ext cx="10848000" cy="3551820"/>
          </a:xfrm>
          <a:prstGeom prst="rect">
            <a:avLst/>
          </a:prstGeom>
        </p:spPr>
        <p:txBody>
          <a:bodyPr vert="horz" lIns="0" tIns="0" rIns="0" bIns="0" rtlCol="0">
            <a:noAutofit/>
          </a:bodyPr>
          <a:lstStyle/>
          <a:p>
            <a:pPr lvl="0"/>
            <a:endParaRPr lang="fr-FR" dirty="0"/>
          </a:p>
          <a:p>
            <a:pPr lvl="1"/>
            <a:endParaRPr lang="fr-FR" dirty="0"/>
          </a:p>
          <a:p>
            <a:pPr lvl="2"/>
            <a:endParaRPr lang="fr-FR" dirty="0"/>
          </a:p>
          <a:p>
            <a:pPr lvl="3"/>
            <a:endParaRPr lang="fr-FR" dirty="0"/>
          </a:p>
          <a:p>
            <a:pPr lvl="4"/>
            <a:endParaRPr lang="fr-FR" dirty="0"/>
          </a:p>
        </p:txBody>
      </p:sp>
      <p:sp>
        <p:nvSpPr>
          <p:cNvPr id="14" name="Title Placeholder 13"/>
          <p:cNvSpPr>
            <a:spLocks noGrp="1"/>
          </p:cNvSpPr>
          <p:nvPr>
            <p:ph type="title"/>
          </p:nvPr>
        </p:nvSpPr>
        <p:spPr>
          <a:xfrm>
            <a:off x="3192000" y="504000"/>
            <a:ext cx="8330141" cy="1046592"/>
          </a:xfrm>
          <a:prstGeom prst="rect">
            <a:avLst/>
          </a:prstGeom>
        </p:spPr>
        <p:txBody>
          <a:bodyPr vert="horz" lIns="91440" tIns="45720" rIns="91440" bIns="45720" rtlCol="0" anchor="ctr">
            <a:normAutofit/>
          </a:bodyPr>
          <a:lstStyle/>
          <a:p>
            <a:r>
              <a:rPr lang="en-US"/>
              <a:t>Click to edit Master title style</a:t>
            </a:r>
            <a:endParaRPr lang="en-US" dirty="0"/>
          </a:p>
        </p:txBody>
      </p:sp>
      <p:pic>
        <p:nvPicPr>
          <p:cNvPr id="10" name="Image 10"/>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600000" y="571200"/>
            <a:ext cx="1704000" cy="761173"/>
          </a:xfrm>
          <a:prstGeom prst="rect">
            <a:avLst/>
          </a:prstGeom>
        </p:spPr>
      </p:pic>
      <p:sp>
        <p:nvSpPr>
          <p:cNvPr id="12" name="Espace réservé du texte 2"/>
          <p:cNvSpPr txBox="1">
            <a:spLocks/>
          </p:cNvSpPr>
          <p:nvPr/>
        </p:nvSpPr>
        <p:spPr>
          <a:xfrm>
            <a:off x="675133" y="3140969"/>
            <a:ext cx="10848000" cy="3359799"/>
          </a:xfrm>
          <a:prstGeom prst="rect">
            <a:avLst/>
          </a:prstGeom>
        </p:spPr>
        <p:txBody>
          <a:bodyPr vert="horz" lIns="0" tIns="0" rIns="0" bIns="0" rtlCol="0">
            <a:noAutofit/>
          </a:bodyPr>
          <a:lstStyle>
            <a:lvl1pPr marL="180000" indent="-176213" algn="l" defTabSz="913360" rtl="0" eaLnBrk="1" latinLnBrk="0" hangingPunct="1">
              <a:lnSpc>
                <a:spcPct val="120000"/>
              </a:lnSpc>
              <a:spcBef>
                <a:spcPts val="0"/>
              </a:spcBef>
              <a:buClr>
                <a:srgbClr val="0088C8"/>
              </a:buClr>
              <a:buFont typeface="Arial"/>
              <a:buChar char="•"/>
              <a:defRPr sz="1600" kern="1200">
                <a:solidFill>
                  <a:srgbClr val="0C1720"/>
                </a:solidFill>
                <a:latin typeface="Arial"/>
                <a:ea typeface="+mn-ea"/>
                <a:cs typeface="Arial"/>
              </a:defRPr>
            </a:lvl1pPr>
            <a:lvl2pPr marL="270000" indent="-87313" algn="l" defTabSz="913360" rtl="0" eaLnBrk="1" latinLnBrk="0" hangingPunct="1">
              <a:lnSpc>
                <a:spcPct val="120000"/>
              </a:lnSpc>
              <a:spcBef>
                <a:spcPts val="0"/>
              </a:spcBef>
              <a:buClr>
                <a:srgbClr val="0088C8"/>
              </a:buClr>
              <a:buFont typeface="Arial"/>
              <a:buChar char="•"/>
              <a:defRPr sz="1400" kern="1200">
                <a:solidFill>
                  <a:srgbClr val="0C1720"/>
                </a:solidFill>
                <a:latin typeface="Arial"/>
                <a:ea typeface="+mn-ea"/>
                <a:cs typeface="Arial"/>
              </a:defRPr>
            </a:lvl2pPr>
            <a:lvl3pPr marL="449263" indent="-87313" algn="l" defTabSz="913360" rtl="0" eaLnBrk="1" latinLnBrk="0" hangingPunct="1">
              <a:lnSpc>
                <a:spcPct val="120000"/>
              </a:lnSpc>
              <a:spcBef>
                <a:spcPts val="0"/>
              </a:spcBef>
              <a:buClr>
                <a:srgbClr val="0088C8"/>
              </a:buClr>
              <a:buFont typeface="Arial"/>
              <a:buChar char="•"/>
              <a:defRPr sz="1200" kern="1200">
                <a:solidFill>
                  <a:srgbClr val="0C1720"/>
                </a:solidFill>
                <a:latin typeface="Arial"/>
                <a:ea typeface="+mn-ea"/>
                <a:cs typeface="Arial"/>
              </a:defRPr>
            </a:lvl3pPr>
            <a:lvl4pPr marL="630000" indent="-98425" algn="l" defTabSz="913360" rtl="0" eaLnBrk="1" latinLnBrk="0" hangingPunct="1">
              <a:lnSpc>
                <a:spcPct val="120000"/>
              </a:lnSpc>
              <a:spcBef>
                <a:spcPts val="0"/>
              </a:spcBef>
              <a:spcAft>
                <a:spcPts val="0"/>
              </a:spcAft>
              <a:buClr>
                <a:srgbClr val="0088C8"/>
              </a:buClr>
              <a:buFont typeface="Arial"/>
              <a:buChar char="•"/>
              <a:defRPr sz="1100" kern="1200">
                <a:solidFill>
                  <a:srgbClr val="0C1720"/>
                </a:solidFill>
                <a:latin typeface="Arial"/>
                <a:ea typeface="+mn-ea"/>
                <a:cs typeface="Arial"/>
              </a:defRPr>
            </a:lvl4pPr>
            <a:lvl5pPr marL="810000" indent="-87313" algn="l" defTabSz="913360" rtl="0" eaLnBrk="1" latinLnBrk="0" hangingPunct="1">
              <a:lnSpc>
                <a:spcPct val="120000"/>
              </a:lnSpc>
              <a:spcBef>
                <a:spcPts val="0"/>
              </a:spcBef>
              <a:buClr>
                <a:srgbClr val="0088C8"/>
              </a:buClr>
              <a:buFont typeface="Arial"/>
              <a:buChar char="•"/>
              <a:defRPr sz="1000" kern="1200">
                <a:solidFill>
                  <a:srgbClr val="0C1720"/>
                </a:solidFill>
                <a:latin typeface="Arial"/>
                <a:ea typeface="+mn-ea"/>
                <a:cs typeface="Arial"/>
              </a:defRPr>
            </a:lvl5pPr>
            <a:lvl6pPr marL="2511741" indent="-228340" algn="l" defTabSz="91336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8421" indent="-228340" algn="l" defTabSz="91336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5102" indent="-228340" algn="l" defTabSz="91336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1781" indent="-228340" algn="l" defTabSz="91336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fr-FR" sz="2133"/>
          </a:p>
          <a:p>
            <a:pPr lvl="1"/>
            <a:endParaRPr lang="fr-FR" sz="1867"/>
          </a:p>
          <a:p>
            <a:pPr lvl="2"/>
            <a:endParaRPr lang="fr-FR" sz="1600"/>
          </a:p>
          <a:p>
            <a:pPr lvl="3"/>
            <a:endParaRPr lang="fr-FR" sz="1467"/>
          </a:p>
          <a:p>
            <a:pPr lvl="4"/>
            <a:endParaRPr lang="fr-FR" sz="1333" dirty="0"/>
          </a:p>
        </p:txBody>
      </p:sp>
    </p:spTree>
    <p:extLst>
      <p:ext uri="{BB962C8B-B14F-4D97-AF65-F5344CB8AC3E}">
        <p14:creationId xmlns:p14="http://schemas.microsoft.com/office/powerpoint/2010/main" val="1463317973"/>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Lst>
  <p:hf hdr="0" ftr="0" dt="0"/>
  <p:txStyles>
    <p:titleStyle>
      <a:lvl1pPr algn="r" defTabSz="1217783" rtl="0" eaLnBrk="1" latinLnBrk="0" hangingPunct="1">
        <a:lnSpc>
          <a:spcPts val="5600"/>
        </a:lnSpc>
        <a:spcBef>
          <a:spcPct val="0"/>
        </a:spcBef>
        <a:buNone/>
        <a:defRPr sz="2667" b="0" kern="1200" cap="none" baseline="0">
          <a:solidFill>
            <a:srgbClr val="0089CB"/>
          </a:solidFill>
          <a:latin typeface="Century Gothic" charset="0"/>
          <a:ea typeface="Century Gothic" charset="0"/>
          <a:cs typeface="Century Gothic" charset="0"/>
        </a:defRPr>
      </a:lvl1pPr>
    </p:titleStyle>
    <p:bodyStyle>
      <a:lvl1pPr marL="239994" indent="-234945" algn="l" defTabSz="1217783" rtl="0" eaLnBrk="1" latinLnBrk="0" hangingPunct="1">
        <a:lnSpc>
          <a:spcPct val="120000"/>
        </a:lnSpc>
        <a:spcBef>
          <a:spcPts val="0"/>
        </a:spcBef>
        <a:buClr>
          <a:srgbClr val="0088C8"/>
        </a:buClr>
        <a:buFont typeface="Arial"/>
        <a:buChar char="•"/>
        <a:defRPr sz="2133" kern="1200">
          <a:solidFill>
            <a:srgbClr val="0C1720"/>
          </a:solidFill>
          <a:latin typeface="Arial"/>
          <a:ea typeface="+mn-ea"/>
          <a:cs typeface="Arial"/>
        </a:defRPr>
      </a:lvl1pPr>
      <a:lvl2pPr marL="359991" indent="-116414" algn="l" defTabSz="1217783" rtl="0" eaLnBrk="1" latinLnBrk="0" hangingPunct="1">
        <a:lnSpc>
          <a:spcPct val="120000"/>
        </a:lnSpc>
        <a:spcBef>
          <a:spcPts val="0"/>
        </a:spcBef>
        <a:buClr>
          <a:srgbClr val="0088C8"/>
        </a:buClr>
        <a:buFont typeface="Arial"/>
        <a:buChar char="•"/>
        <a:defRPr sz="1867" kern="1200">
          <a:solidFill>
            <a:srgbClr val="0C1720"/>
          </a:solidFill>
          <a:latin typeface="Arial"/>
          <a:ea typeface="+mn-ea"/>
          <a:cs typeface="Arial"/>
        </a:defRPr>
      </a:lvl2pPr>
      <a:lvl3pPr marL="599002" indent="-116414" algn="l" defTabSz="1217783" rtl="0" eaLnBrk="1" latinLnBrk="0" hangingPunct="1">
        <a:lnSpc>
          <a:spcPct val="120000"/>
        </a:lnSpc>
        <a:spcBef>
          <a:spcPts val="0"/>
        </a:spcBef>
        <a:buClr>
          <a:srgbClr val="0088C8"/>
        </a:buClr>
        <a:buFont typeface="Arial"/>
        <a:buChar char="•"/>
        <a:defRPr sz="1600" kern="1200">
          <a:solidFill>
            <a:srgbClr val="0C1720"/>
          </a:solidFill>
          <a:latin typeface="Arial"/>
          <a:ea typeface="+mn-ea"/>
          <a:cs typeface="Arial"/>
        </a:defRPr>
      </a:lvl3pPr>
      <a:lvl4pPr marL="839979" indent="-131230" algn="l" defTabSz="1217783" rtl="0" eaLnBrk="1" latinLnBrk="0" hangingPunct="1">
        <a:lnSpc>
          <a:spcPct val="120000"/>
        </a:lnSpc>
        <a:spcBef>
          <a:spcPts val="0"/>
        </a:spcBef>
        <a:spcAft>
          <a:spcPts val="0"/>
        </a:spcAft>
        <a:buClr>
          <a:srgbClr val="0088C8"/>
        </a:buClr>
        <a:buFont typeface="Arial"/>
        <a:buChar char="•"/>
        <a:defRPr sz="1467" kern="1200">
          <a:solidFill>
            <a:srgbClr val="0C1720"/>
          </a:solidFill>
          <a:latin typeface="Arial"/>
          <a:ea typeface="+mn-ea"/>
          <a:cs typeface="Arial"/>
        </a:defRPr>
      </a:lvl4pPr>
      <a:lvl5pPr marL="1079973" indent="-116414" algn="l" defTabSz="1217783" rtl="0" eaLnBrk="1" latinLnBrk="0" hangingPunct="1">
        <a:lnSpc>
          <a:spcPct val="120000"/>
        </a:lnSpc>
        <a:spcBef>
          <a:spcPts val="0"/>
        </a:spcBef>
        <a:buClr>
          <a:srgbClr val="0088C8"/>
        </a:buClr>
        <a:buFont typeface="Arial"/>
        <a:buChar char="•"/>
        <a:defRPr sz="1333" kern="1200">
          <a:solidFill>
            <a:srgbClr val="0C1720"/>
          </a:solidFill>
          <a:latin typeface="Arial"/>
          <a:ea typeface="+mn-ea"/>
          <a:cs typeface="Arial"/>
        </a:defRPr>
      </a:lvl5pPr>
      <a:lvl6pPr marL="3348904" indent="-304446" algn="l" defTabSz="1217783"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57796" indent="-304446" algn="l" defTabSz="1217783"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66688" indent="-304446" algn="l" defTabSz="1217783"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75579" indent="-304446" algn="l" defTabSz="1217783"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7783" rtl="0" eaLnBrk="1" latinLnBrk="0" hangingPunct="1">
        <a:defRPr sz="2400" kern="1200">
          <a:solidFill>
            <a:schemeClr val="tx1"/>
          </a:solidFill>
          <a:latin typeface="+mn-lt"/>
          <a:ea typeface="+mn-ea"/>
          <a:cs typeface="+mn-cs"/>
        </a:defRPr>
      </a:lvl1pPr>
      <a:lvl2pPr marL="608891" algn="l" defTabSz="1217783" rtl="0" eaLnBrk="1" latinLnBrk="0" hangingPunct="1">
        <a:defRPr sz="2400" kern="1200">
          <a:solidFill>
            <a:schemeClr val="tx1"/>
          </a:solidFill>
          <a:latin typeface="+mn-lt"/>
          <a:ea typeface="+mn-ea"/>
          <a:cs typeface="+mn-cs"/>
        </a:defRPr>
      </a:lvl2pPr>
      <a:lvl3pPr marL="1217783" algn="l" defTabSz="1217783" rtl="0" eaLnBrk="1" latinLnBrk="0" hangingPunct="1">
        <a:defRPr sz="2400" kern="1200">
          <a:solidFill>
            <a:schemeClr val="tx1"/>
          </a:solidFill>
          <a:latin typeface="+mn-lt"/>
          <a:ea typeface="+mn-ea"/>
          <a:cs typeface="+mn-cs"/>
        </a:defRPr>
      </a:lvl3pPr>
      <a:lvl4pPr marL="1826674" algn="l" defTabSz="1217783" rtl="0" eaLnBrk="1" latinLnBrk="0" hangingPunct="1">
        <a:defRPr sz="2400" kern="1200">
          <a:solidFill>
            <a:schemeClr val="tx1"/>
          </a:solidFill>
          <a:latin typeface="+mn-lt"/>
          <a:ea typeface="+mn-ea"/>
          <a:cs typeface="+mn-cs"/>
        </a:defRPr>
      </a:lvl4pPr>
      <a:lvl5pPr marL="2435567" algn="l" defTabSz="1217783" rtl="0" eaLnBrk="1" latinLnBrk="0" hangingPunct="1">
        <a:defRPr sz="2400" kern="1200">
          <a:solidFill>
            <a:schemeClr val="tx1"/>
          </a:solidFill>
          <a:latin typeface="+mn-lt"/>
          <a:ea typeface="+mn-ea"/>
          <a:cs typeface="+mn-cs"/>
        </a:defRPr>
      </a:lvl5pPr>
      <a:lvl6pPr marL="3044461" algn="l" defTabSz="1217783" rtl="0" eaLnBrk="1" latinLnBrk="0" hangingPunct="1">
        <a:defRPr sz="2400" kern="1200">
          <a:solidFill>
            <a:schemeClr val="tx1"/>
          </a:solidFill>
          <a:latin typeface="+mn-lt"/>
          <a:ea typeface="+mn-ea"/>
          <a:cs typeface="+mn-cs"/>
        </a:defRPr>
      </a:lvl6pPr>
      <a:lvl7pPr marL="3653349" algn="l" defTabSz="1217783" rtl="0" eaLnBrk="1" latinLnBrk="0" hangingPunct="1">
        <a:defRPr sz="2400" kern="1200">
          <a:solidFill>
            <a:schemeClr val="tx1"/>
          </a:solidFill>
          <a:latin typeface="+mn-lt"/>
          <a:ea typeface="+mn-ea"/>
          <a:cs typeface="+mn-cs"/>
        </a:defRPr>
      </a:lvl7pPr>
      <a:lvl8pPr marL="4262243" algn="l" defTabSz="1217783" rtl="0" eaLnBrk="1" latinLnBrk="0" hangingPunct="1">
        <a:defRPr sz="2400" kern="1200">
          <a:solidFill>
            <a:schemeClr val="tx1"/>
          </a:solidFill>
          <a:latin typeface="+mn-lt"/>
          <a:ea typeface="+mn-ea"/>
          <a:cs typeface="+mn-cs"/>
        </a:defRPr>
      </a:lvl8pPr>
      <a:lvl9pPr marL="4871137" algn="l" defTabSz="1217783"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pos="5556">
          <p15:clr>
            <a:srgbClr val="F26B43"/>
          </p15:clr>
        </p15:guide>
        <p15:guide id="4" pos="204">
          <p15:clr>
            <a:srgbClr val="F26B43"/>
          </p15:clr>
        </p15:guide>
        <p15:guide id="5" orient="horz" pos="3072">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0878" y="512498"/>
            <a:ext cx="11368018" cy="776038"/>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410878" y="1521182"/>
            <a:ext cx="11368018" cy="4517348"/>
          </a:xfrm>
          <a:prstGeom prst="rect">
            <a:avLst/>
          </a:prstGeom>
        </p:spPr>
        <p:txBody>
          <a:bodyPr vert="horz" lIns="0" tIns="0" rIns="0" bIns="0" rtlCol="0" anchor="t" anchorCtr="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th level</a:t>
            </a:r>
            <a:endParaRPr lang="en-US" noProof="0" dirty="0"/>
          </a:p>
        </p:txBody>
      </p:sp>
      <p:sp>
        <p:nvSpPr>
          <p:cNvPr id="4" name="Date Placeholder 3"/>
          <p:cNvSpPr>
            <a:spLocks noGrp="1"/>
          </p:cNvSpPr>
          <p:nvPr>
            <p:ph type="dt" sz="half" idx="2"/>
          </p:nvPr>
        </p:nvSpPr>
        <p:spPr>
          <a:xfrm>
            <a:off x="6096909" y="6332830"/>
            <a:ext cx="1194867" cy="273450"/>
          </a:xfrm>
          <a:prstGeom prst="rect">
            <a:avLst/>
          </a:prstGeom>
        </p:spPr>
        <p:txBody>
          <a:bodyPr vert="horz" lIns="0" tIns="0" rIns="0" bIns="0" rtlCol="0" anchor="t" anchorCtr="0">
            <a:noAutofit/>
          </a:bodyPr>
          <a:lstStyle>
            <a:lvl1pPr algn="l">
              <a:defRPr sz="1100">
                <a:solidFill>
                  <a:schemeClr val="accent5"/>
                </a:solidFill>
              </a:defRPr>
            </a:lvl1pPr>
          </a:lstStyle>
          <a:p>
            <a:endParaRPr lang="en-US" noProof="0" dirty="0"/>
          </a:p>
        </p:txBody>
      </p:sp>
      <p:sp>
        <p:nvSpPr>
          <p:cNvPr id="5" name="Footer Placeholder 4"/>
          <p:cNvSpPr>
            <a:spLocks noGrp="1"/>
          </p:cNvSpPr>
          <p:nvPr>
            <p:ph type="ftr" sz="quarter" idx="3"/>
          </p:nvPr>
        </p:nvSpPr>
        <p:spPr>
          <a:xfrm>
            <a:off x="920368" y="6332830"/>
            <a:ext cx="3629317" cy="273450"/>
          </a:xfrm>
          <a:prstGeom prst="rect">
            <a:avLst/>
          </a:prstGeom>
        </p:spPr>
        <p:txBody>
          <a:bodyPr vert="horz" lIns="0" tIns="0" rIns="0" bIns="0" rtlCol="0" anchor="t" anchorCtr="0">
            <a:noAutofit/>
          </a:bodyPr>
          <a:lstStyle>
            <a:lvl1pPr algn="l">
              <a:defRPr sz="1100">
                <a:solidFill>
                  <a:schemeClr val="accent5"/>
                </a:solidFill>
              </a:defRPr>
            </a:lvl1pPr>
          </a:lstStyle>
          <a:p>
            <a:endParaRPr lang="en-US" noProof="0" dirty="0"/>
          </a:p>
        </p:txBody>
      </p:sp>
      <p:sp>
        <p:nvSpPr>
          <p:cNvPr id="6" name="Slide Number Placeholder 5"/>
          <p:cNvSpPr>
            <a:spLocks noGrp="1"/>
          </p:cNvSpPr>
          <p:nvPr>
            <p:ph type="sldNum" sz="quarter" idx="4"/>
          </p:nvPr>
        </p:nvSpPr>
        <p:spPr>
          <a:xfrm>
            <a:off x="410881" y="6332830"/>
            <a:ext cx="507262" cy="273450"/>
          </a:xfrm>
          <a:prstGeom prst="rect">
            <a:avLst/>
          </a:prstGeom>
        </p:spPr>
        <p:txBody>
          <a:bodyPr vert="horz" lIns="0" tIns="0" rIns="0" bIns="0" rtlCol="0" anchor="t" anchorCtr="0">
            <a:noAutofit/>
          </a:bodyPr>
          <a:lstStyle>
            <a:lvl1pPr algn="l">
              <a:defRPr sz="1100">
                <a:solidFill>
                  <a:schemeClr val="accent5"/>
                </a:solidFill>
              </a:defRPr>
            </a:lvl1pPr>
          </a:lstStyle>
          <a:p>
            <a:fld id="{32B354EE-31EA-4FC2-9496-7B6202183237}" type="slidenum">
              <a:rPr lang="en-US" noProof="0" smtClean="0"/>
              <a:pPr/>
              <a:t>‹#›</a:t>
            </a:fld>
            <a:endParaRPr lang="en-US" noProof="0" dirty="0"/>
          </a:p>
        </p:txBody>
      </p:sp>
      <p:grpSp>
        <p:nvGrpSpPr>
          <p:cNvPr id="20" name="Group 4">
            <a:extLst>
              <a:ext uri="{FF2B5EF4-FFF2-40B4-BE49-F238E27FC236}">
                <a16:creationId xmlns:a16="http://schemas.microsoft.com/office/drawing/2014/main" id="{1904BA4D-1AFB-42A4-8284-784441CF6C68}"/>
              </a:ext>
            </a:extLst>
          </p:cNvPr>
          <p:cNvGrpSpPr>
            <a:grpSpLocks noChangeAspect="1"/>
          </p:cNvGrpSpPr>
          <p:nvPr userDrawn="1"/>
        </p:nvGrpSpPr>
        <p:grpSpPr bwMode="auto">
          <a:xfrm>
            <a:off x="10597892" y="6332829"/>
            <a:ext cx="1181358" cy="288000"/>
            <a:chOff x="2071" y="1578"/>
            <a:chExt cx="2587" cy="631"/>
          </a:xfrm>
          <a:gradFill>
            <a:gsLst>
              <a:gs pos="50000">
                <a:srgbClr val="00E487"/>
              </a:gs>
              <a:gs pos="100000">
                <a:srgbClr val="1ECBD0"/>
              </a:gs>
            </a:gsLst>
            <a:lin ang="18900000" scaled="0"/>
          </a:gradFill>
        </p:grpSpPr>
        <p:sp>
          <p:nvSpPr>
            <p:cNvPr id="22" name="Freeform 5">
              <a:extLst>
                <a:ext uri="{FF2B5EF4-FFF2-40B4-BE49-F238E27FC236}">
                  <a16:creationId xmlns:a16="http://schemas.microsoft.com/office/drawing/2014/main" id="{DAE554E6-16CB-4176-987F-3AF6305F726B}"/>
                </a:ext>
              </a:extLst>
            </p:cNvPr>
            <p:cNvSpPr>
              <a:spLocks/>
            </p:cNvSpPr>
            <p:nvPr userDrawn="1"/>
          </p:nvSpPr>
          <p:spPr bwMode="auto">
            <a:xfrm>
              <a:off x="2765" y="1728"/>
              <a:ext cx="244" cy="318"/>
            </a:xfrm>
            <a:custGeom>
              <a:avLst/>
              <a:gdLst>
                <a:gd name="T0" fmla="*/ 12 w 129"/>
                <a:gd name="T1" fmla="*/ 0 h 168"/>
                <a:gd name="T2" fmla="*/ 8 w 129"/>
                <a:gd name="T3" fmla="*/ 4 h 168"/>
                <a:gd name="T4" fmla="*/ 8 w 129"/>
                <a:gd name="T5" fmla="*/ 25 h 168"/>
                <a:gd name="T6" fmla="*/ 12 w 129"/>
                <a:gd name="T7" fmla="*/ 29 h 168"/>
                <a:gd name="T8" fmla="*/ 48 w 129"/>
                <a:gd name="T9" fmla="*/ 29 h 168"/>
                <a:gd name="T10" fmla="*/ 48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2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2" y="0"/>
                  </a:moveTo>
                  <a:cubicBezTo>
                    <a:pt x="9" y="0"/>
                    <a:pt x="8" y="1"/>
                    <a:pt x="8" y="4"/>
                  </a:cubicBezTo>
                  <a:cubicBezTo>
                    <a:pt x="8" y="25"/>
                    <a:pt x="8" y="25"/>
                    <a:pt x="8" y="25"/>
                  </a:cubicBezTo>
                  <a:cubicBezTo>
                    <a:pt x="8" y="27"/>
                    <a:pt x="9" y="29"/>
                    <a:pt x="12" y="29"/>
                  </a:cubicBezTo>
                  <a:cubicBezTo>
                    <a:pt x="48" y="29"/>
                    <a:pt x="48" y="29"/>
                    <a:pt x="48" y="29"/>
                  </a:cubicBezTo>
                  <a:cubicBezTo>
                    <a:pt x="48" y="140"/>
                    <a:pt x="48" y="140"/>
                    <a:pt x="48"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8" y="140"/>
                    <a:pt x="125" y="140"/>
                  </a:cubicBezTo>
                  <a:cubicBezTo>
                    <a:pt x="76" y="140"/>
                    <a:pt x="76" y="140"/>
                    <a:pt x="76" y="140"/>
                  </a:cubicBezTo>
                  <a:cubicBezTo>
                    <a:pt x="76" y="4"/>
                    <a:pt x="76" y="4"/>
                    <a:pt x="76" y="4"/>
                  </a:cubicBezTo>
                  <a:cubicBezTo>
                    <a:pt x="76" y="1"/>
                    <a:pt x="75" y="0"/>
                    <a:pt x="72" y="0"/>
                  </a:cubicBez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noProof="0" dirty="0"/>
            </a:p>
          </p:txBody>
        </p:sp>
        <p:sp>
          <p:nvSpPr>
            <p:cNvPr id="23" name="Freeform 6">
              <a:extLst>
                <a:ext uri="{FF2B5EF4-FFF2-40B4-BE49-F238E27FC236}">
                  <a16:creationId xmlns:a16="http://schemas.microsoft.com/office/drawing/2014/main" id="{AEC65459-58EA-4F3D-8A43-721FE0A15E41}"/>
                </a:ext>
              </a:extLst>
            </p:cNvPr>
            <p:cNvSpPr>
              <a:spLocks/>
            </p:cNvSpPr>
            <p:nvPr userDrawn="1"/>
          </p:nvSpPr>
          <p:spPr bwMode="auto">
            <a:xfrm>
              <a:off x="3798" y="1728"/>
              <a:ext cx="244" cy="318"/>
            </a:xfrm>
            <a:custGeom>
              <a:avLst/>
              <a:gdLst>
                <a:gd name="T0" fmla="*/ 11 w 129"/>
                <a:gd name="T1" fmla="*/ 0 h 168"/>
                <a:gd name="T2" fmla="*/ 8 w 129"/>
                <a:gd name="T3" fmla="*/ 4 h 168"/>
                <a:gd name="T4" fmla="*/ 8 w 129"/>
                <a:gd name="T5" fmla="*/ 25 h 168"/>
                <a:gd name="T6" fmla="*/ 11 w 129"/>
                <a:gd name="T7" fmla="*/ 29 h 168"/>
                <a:gd name="T8" fmla="*/ 47 w 129"/>
                <a:gd name="T9" fmla="*/ 29 h 168"/>
                <a:gd name="T10" fmla="*/ 47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1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1" y="0"/>
                  </a:moveTo>
                  <a:cubicBezTo>
                    <a:pt x="9" y="0"/>
                    <a:pt x="8" y="1"/>
                    <a:pt x="8" y="4"/>
                  </a:cubicBezTo>
                  <a:cubicBezTo>
                    <a:pt x="8" y="25"/>
                    <a:pt x="8" y="25"/>
                    <a:pt x="8" y="25"/>
                  </a:cubicBezTo>
                  <a:cubicBezTo>
                    <a:pt x="8" y="27"/>
                    <a:pt x="9" y="29"/>
                    <a:pt x="11" y="29"/>
                  </a:cubicBezTo>
                  <a:cubicBezTo>
                    <a:pt x="47" y="29"/>
                    <a:pt x="47" y="29"/>
                    <a:pt x="47" y="29"/>
                  </a:cubicBezTo>
                  <a:cubicBezTo>
                    <a:pt x="47" y="140"/>
                    <a:pt x="47" y="140"/>
                    <a:pt x="47"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7" y="140"/>
                    <a:pt x="125" y="140"/>
                  </a:cubicBezTo>
                  <a:cubicBezTo>
                    <a:pt x="76" y="140"/>
                    <a:pt x="76" y="140"/>
                    <a:pt x="76" y="140"/>
                  </a:cubicBezTo>
                  <a:cubicBezTo>
                    <a:pt x="76" y="4"/>
                    <a:pt x="76" y="4"/>
                    <a:pt x="76" y="4"/>
                  </a:cubicBezTo>
                  <a:cubicBezTo>
                    <a:pt x="75" y="1"/>
                    <a:pt x="74" y="0"/>
                    <a:pt x="72" y="0"/>
                  </a:cubicBez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noProof="0" dirty="0"/>
            </a:p>
          </p:txBody>
        </p:sp>
        <p:sp>
          <p:nvSpPr>
            <p:cNvPr id="24" name="Freeform 7">
              <a:extLst>
                <a:ext uri="{FF2B5EF4-FFF2-40B4-BE49-F238E27FC236}">
                  <a16:creationId xmlns:a16="http://schemas.microsoft.com/office/drawing/2014/main" id="{7EF15D6C-5F12-4679-A3CE-298E60CFDA5F}"/>
                </a:ext>
              </a:extLst>
            </p:cNvPr>
            <p:cNvSpPr>
              <a:spLocks/>
            </p:cNvSpPr>
            <p:nvPr userDrawn="1"/>
          </p:nvSpPr>
          <p:spPr bwMode="auto">
            <a:xfrm>
              <a:off x="4361" y="1728"/>
              <a:ext cx="297" cy="464"/>
            </a:xfrm>
            <a:custGeom>
              <a:avLst/>
              <a:gdLst>
                <a:gd name="T0" fmla="*/ 132 w 157"/>
                <a:gd name="T1" fmla="*/ 0 h 245"/>
                <a:gd name="T2" fmla="*/ 127 w 157"/>
                <a:gd name="T3" fmla="*/ 3 h 245"/>
                <a:gd name="T4" fmla="*/ 127 w 157"/>
                <a:gd name="T5" fmla="*/ 3 h 245"/>
                <a:gd name="T6" fmla="*/ 79 w 157"/>
                <a:gd name="T7" fmla="*/ 128 h 245"/>
                <a:gd name="T8" fmla="*/ 30 w 157"/>
                <a:gd name="T9" fmla="*/ 4 h 245"/>
                <a:gd name="T10" fmla="*/ 25 w 157"/>
                <a:gd name="T11" fmla="*/ 0 h 245"/>
                <a:gd name="T12" fmla="*/ 4 w 157"/>
                <a:gd name="T13" fmla="*/ 0 h 245"/>
                <a:gd name="T14" fmla="*/ 0 w 157"/>
                <a:gd name="T15" fmla="*/ 3 h 245"/>
                <a:gd name="T16" fmla="*/ 1 w 157"/>
                <a:gd name="T17" fmla="*/ 6 h 245"/>
                <a:gd name="T18" fmla="*/ 1 w 157"/>
                <a:gd name="T19" fmla="*/ 6 h 245"/>
                <a:gd name="T20" fmla="*/ 1 w 157"/>
                <a:gd name="T21" fmla="*/ 6 h 245"/>
                <a:gd name="T22" fmla="*/ 64 w 157"/>
                <a:gd name="T23" fmla="*/ 168 h 245"/>
                <a:gd name="T24" fmla="*/ 59 w 157"/>
                <a:gd name="T25" fmla="*/ 182 h 245"/>
                <a:gd name="T26" fmla="*/ 48 w 157"/>
                <a:gd name="T27" fmla="*/ 205 h 245"/>
                <a:gd name="T28" fmla="*/ 38 w 157"/>
                <a:gd name="T29" fmla="*/ 215 h 245"/>
                <a:gd name="T30" fmla="*/ 30 w 157"/>
                <a:gd name="T31" fmla="*/ 217 h 245"/>
                <a:gd name="T32" fmla="*/ 26 w 157"/>
                <a:gd name="T33" fmla="*/ 216 h 245"/>
                <a:gd name="T34" fmla="*/ 14 w 157"/>
                <a:gd name="T35" fmla="*/ 213 h 245"/>
                <a:gd name="T36" fmla="*/ 7 w 157"/>
                <a:gd name="T37" fmla="*/ 210 h 245"/>
                <a:gd name="T38" fmla="*/ 3 w 157"/>
                <a:gd name="T39" fmla="*/ 215 h 245"/>
                <a:gd name="T40" fmla="*/ 3 w 157"/>
                <a:gd name="T41" fmla="*/ 233 h 245"/>
                <a:gd name="T42" fmla="*/ 3 w 157"/>
                <a:gd name="T43" fmla="*/ 233 h 245"/>
                <a:gd name="T44" fmla="*/ 7 w 157"/>
                <a:gd name="T45" fmla="*/ 240 h 245"/>
                <a:gd name="T46" fmla="*/ 32 w 157"/>
                <a:gd name="T47" fmla="*/ 245 h 245"/>
                <a:gd name="T48" fmla="*/ 54 w 157"/>
                <a:gd name="T49" fmla="*/ 238 h 245"/>
                <a:gd name="T50" fmla="*/ 73 w 157"/>
                <a:gd name="T51" fmla="*/ 220 h 245"/>
                <a:gd name="T52" fmla="*/ 79 w 157"/>
                <a:gd name="T53" fmla="*/ 208 h 245"/>
                <a:gd name="T54" fmla="*/ 156 w 157"/>
                <a:gd name="T55" fmla="*/ 6 h 245"/>
                <a:gd name="T56" fmla="*/ 157 w 157"/>
                <a:gd name="T57" fmla="*/ 3 h 245"/>
                <a:gd name="T58" fmla="*/ 153 w 157"/>
                <a:gd name="T59" fmla="*/ 0 h 245"/>
                <a:gd name="T60" fmla="*/ 132 w 157"/>
                <a:gd name="T6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7" h="245">
                  <a:moveTo>
                    <a:pt x="132" y="0"/>
                  </a:moveTo>
                  <a:cubicBezTo>
                    <a:pt x="129" y="0"/>
                    <a:pt x="128" y="1"/>
                    <a:pt x="127" y="3"/>
                  </a:cubicBezTo>
                  <a:cubicBezTo>
                    <a:pt x="127" y="3"/>
                    <a:pt x="127" y="3"/>
                    <a:pt x="127" y="3"/>
                  </a:cubicBezTo>
                  <a:cubicBezTo>
                    <a:pt x="79" y="128"/>
                    <a:pt x="79" y="128"/>
                    <a:pt x="79" y="128"/>
                  </a:cubicBezTo>
                  <a:cubicBezTo>
                    <a:pt x="30" y="4"/>
                    <a:pt x="30" y="4"/>
                    <a:pt x="30" y="4"/>
                  </a:cubicBezTo>
                  <a:cubicBezTo>
                    <a:pt x="29" y="1"/>
                    <a:pt x="28" y="0"/>
                    <a:pt x="25" y="0"/>
                  </a:cubicBezTo>
                  <a:cubicBezTo>
                    <a:pt x="4" y="0"/>
                    <a:pt x="4" y="0"/>
                    <a:pt x="4" y="0"/>
                  </a:cubicBezTo>
                  <a:cubicBezTo>
                    <a:pt x="2" y="0"/>
                    <a:pt x="0" y="1"/>
                    <a:pt x="0" y="3"/>
                  </a:cubicBezTo>
                  <a:cubicBezTo>
                    <a:pt x="0" y="4"/>
                    <a:pt x="1" y="5"/>
                    <a:pt x="1" y="6"/>
                  </a:cubicBezTo>
                  <a:cubicBezTo>
                    <a:pt x="1" y="6"/>
                    <a:pt x="1" y="6"/>
                    <a:pt x="1" y="6"/>
                  </a:cubicBezTo>
                  <a:cubicBezTo>
                    <a:pt x="1" y="6"/>
                    <a:pt x="1" y="6"/>
                    <a:pt x="1" y="6"/>
                  </a:cubicBezTo>
                  <a:cubicBezTo>
                    <a:pt x="64" y="168"/>
                    <a:pt x="64" y="168"/>
                    <a:pt x="64" y="168"/>
                  </a:cubicBezTo>
                  <a:cubicBezTo>
                    <a:pt x="59" y="182"/>
                    <a:pt x="59" y="182"/>
                    <a:pt x="59" y="182"/>
                  </a:cubicBezTo>
                  <a:cubicBezTo>
                    <a:pt x="57" y="187"/>
                    <a:pt x="53" y="199"/>
                    <a:pt x="48" y="205"/>
                  </a:cubicBezTo>
                  <a:cubicBezTo>
                    <a:pt x="44" y="211"/>
                    <a:pt x="42" y="213"/>
                    <a:pt x="38" y="215"/>
                  </a:cubicBezTo>
                  <a:cubicBezTo>
                    <a:pt x="35" y="216"/>
                    <a:pt x="33" y="217"/>
                    <a:pt x="30" y="217"/>
                  </a:cubicBezTo>
                  <a:cubicBezTo>
                    <a:pt x="28" y="217"/>
                    <a:pt x="27" y="217"/>
                    <a:pt x="26" y="216"/>
                  </a:cubicBezTo>
                  <a:cubicBezTo>
                    <a:pt x="22" y="216"/>
                    <a:pt x="18" y="214"/>
                    <a:pt x="14" y="213"/>
                  </a:cubicBezTo>
                  <a:cubicBezTo>
                    <a:pt x="11" y="212"/>
                    <a:pt x="9" y="210"/>
                    <a:pt x="7" y="210"/>
                  </a:cubicBezTo>
                  <a:cubicBezTo>
                    <a:pt x="5" y="210"/>
                    <a:pt x="3" y="212"/>
                    <a:pt x="3" y="215"/>
                  </a:cubicBezTo>
                  <a:cubicBezTo>
                    <a:pt x="3" y="233"/>
                    <a:pt x="3" y="233"/>
                    <a:pt x="3" y="233"/>
                  </a:cubicBezTo>
                  <a:cubicBezTo>
                    <a:pt x="3" y="233"/>
                    <a:pt x="3" y="233"/>
                    <a:pt x="3" y="233"/>
                  </a:cubicBezTo>
                  <a:cubicBezTo>
                    <a:pt x="3" y="236"/>
                    <a:pt x="4" y="238"/>
                    <a:pt x="7" y="240"/>
                  </a:cubicBezTo>
                  <a:cubicBezTo>
                    <a:pt x="15" y="243"/>
                    <a:pt x="21" y="245"/>
                    <a:pt x="32" y="245"/>
                  </a:cubicBezTo>
                  <a:cubicBezTo>
                    <a:pt x="41" y="244"/>
                    <a:pt x="47" y="242"/>
                    <a:pt x="54" y="238"/>
                  </a:cubicBezTo>
                  <a:cubicBezTo>
                    <a:pt x="61" y="233"/>
                    <a:pt x="67" y="227"/>
                    <a:pt x="73" y="220"/>
                  </a:cubicBezTo>
                  <a:cubicBezTo>
                    <a:pt x="75" y="216"/>
                    <a:pt x="77" y="212"/>
                    <a:pt x="79" y="208"/>
                  </a:cubicBezTo>
                  <a:cubicBezTo>
                    <a:pt x="83" y="200"/>
                    <a:pt x="144" y="40"/>
                    <a:pt x="156" y="6"/>
                  </a:cubicBezTo>
                  <a:cubicBezTo>
                    <a:pt x="157" y="5"/>
                    <a:pt x="157" y="4"/>
                    <a:pt x="157" y="3"/>
                  </a:cubicBezTo>
                  <a:cubicBezTo>
                    <a:pt x="157" y="1"/>
                    <a:pt x="155" y="0"/>
                    <a:pt x="153" y="0"/>
                  </a:cubicBezTo>
                  <a:lnTo>
                    <a:pt x="1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noProof="0" dirty="0"/>
            </a:p>
          </p:txBody>
        </p:sp>
        <p:sp>
          <p:nvSpPr>
            <p:cNvPr id="25" name="Freeform 8">
              <a:extLst>
                <a:ext uri="{FF2B5EF4-FFF2-40B4-BE49-F238E27FC236}">
                  <a16:creationId xmlns:a16="http://schemas.microsoft.com/office/drawing/2014/main" id="{7D6A478E-FCAF-4573-B967-7423B97A0230}"/>
                </a:ext>
              </a:extLst>
            </p:cNvPr>
            <p:cNvSpPr>
              <a:spLocks/>
            </p:cNvSpPr>
            <p:nvPr userDrawn="1"/>
          </p:nvSpPr>
          <p:spPr bwMode="auto">
            <a:xfrm>
              <a:off x="3457" y="1726"/>
              <a:ext cx="263" cy="322"/>
            </a:xfrm>
            <a:custGeom>
              <a:avLst/>
              <a:gdLst>
                <a:gd name="T0" fmla="*/ 28 w 139"/>
                <a:gd name="T1" fmla="*/ 21 h 170"/>
                <a:gd name="T2" fmla="*/ 28 w 139"/>
                <a:gd name="T3" fmla="*/ 6 h 170"/>
                <a:gd name="T4" fmla="*/ 25 w 139"/>
                <a:gd name="T5" fmla="*/ 3 h 170"/>
                <a:gd name="T6" fmla="*/ 4 w 139"/>
                <a:gd name="T7" fmla="*/ 3 h 170"/>
                <a:gd name="T8" fmla="*/ 0 w 139"/>
                <a:gd name="T9" fmla="*/ 6 h 170"/>
                <a:gd name="T10" fmla="*/ 0 w 139"/>
                <a:gd name="T11" fmla="*/ 167 h 170"/>
                <a:gd name="T12" fmla="*/ 4 w 139"/>
                <a:gd name="T13" fmla="*/ 170 h 170"/>
                <a:gd name="T14" fmla="*/ 25 w 139"/>
                <a:gd name="T15" fmla="*/ 170 h 170"/>
                <a:gd name="T16" fmla="*/ 28 w 139"/>
                <a:gd name="T17" fmla="*/ 167 h 170"/>
                <a:gd name="T18" fmla="*/ 28 w 139"/>
                <a:gd name="T19" fmla="*/ 68 h 170"/>
                <a:gd name="T20" fmla="*/ 70 w 139"/>
                <a:gd name="T21" fmla="*/ 28 h 170"/>
                <a:gd name="T22" fmla="*/ 111 w 139"/>
                <a:gd name="T23" fmla="*/ 68 h 170"/>
                <a:gd name="T24" fmla="*/ 111 w 139"/>
                <a:gd name="T25" fmla="*/ 167 h 170"/>
                <a:gd name="T26" fmla="*/ 111 w 139"/>
                <a:gd name="T27" fmla="*/ 167 h 170"/>
                <a:gd name="T28" fmla="*/ 114 w 139"/>
                <a:gd name="T29" fmla="*/ 170 h 170"/>
                <a:gd name="T30" fmla="*/ 136 w 139"/>
                <a:gd name="T31" fmla="*/ 170 h 170"/>
                <a:gd name="T32" fmla="*/ 139 w 139"/>
                <a:gd name="T33" fmla="*/ 167 h 170"/>
                <a:gd name="T34" fmla="*/ 139 w 139"/>
                <a:gd name="T35" fmla="*/ 68 h 170"/>
                <a:gd name="T36" fmla="*/ 139 w 139"/>
                <a:gd name="T37" fmla="*/ 68 h 170"/>
                <a:gd name="T38" fmla="*/ 139 w 139"/>
                <a:gd name="T39" fmla="*/ 68 h 170"/>
                <a:gd name="T40" fmla="*/ 120 w 139"/>
                <a:gd name="T41" fmla="*/ 20 h 170"/>
                <a:gd name="T42" fmla="*/ 70 w 139"/>
                <a:gd name="T43" fmla="*/ 0 h 170"/>
                <a:gd name="T44" fmla="*/ 28 w 139"/>
                <a:gd name="T45" fmla="*/ 2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170">
                  <a:moveTo>
                    <a:pt x="28" y="21"/>
                  </a:moveTo>
                  <a:cubicBezTo>
                    <a:pt x="28" y="6"/>
                    <a:pt x="28" y="6"/>
                    <a:pt x="28" y="6"/>
                  </a:cubicBezTo>
                  <a:cubicBezTo>
                    <a:pt x="28" y="4"/>
                    <a:pt x="27" y="3"/>
                    <a:pt x="25" y="3"/>
                  </a:cubicBezTo>
                  <a:cubicBezTo>
                    <a:pt x="4" y="3"/>
                    <a:pt x="4" y="3"/>
                    <a:pt x="4" y="3"/>
                  </a:cubicBezTo>
                  <a:cubicBezTo>
                    <a:pt x="1" y="3"/>
                    <a:pt x="0" y="4"/>
                    <a:pt x="0" y="6"/>
                  </a:cubicBezTo>
                  <a:cubicBezTo>
                    <a:pt x="0" y="167"/>
                    <a:pt x="0" y="167"/>
                    <a:pt x="0" y="167"/>
                  </a:cubicBezTo>
                  <a:cubicBezTo>
                    <a:pt x="0" y="169"/>
                    <a:pt x="1" y="170"/>
                    <a:pt x="4" y="170"/>
                  </a:cubicBezTo>
                  <a:cubicBezTo>
                    <a:pt x="25" y="170"/>
                    <a:pt x="25" y="170"/>
                    <a:pt x="25" y="170"/>
                  </a:cubicBezTo>
                  <a:cubicBezTo>
                    <a:pt x="27" y="170"/>
                    <a:pt x="28" y="169"/>
                    <a:pt x="28" y="167"/>
                  </a:cubicBezTo>
                  <a:cubicBezTo>
                    <a:pt x="28" y="68"/>
                    <a:pt x="28" y="68"/>
                    <a:pt x="28" y="68"/>
                  </a:cubicBezTo>
                  <a:cubicBezTo>
                    <a:pt x="28" y="49"/>
                    <a:pt x="42" y="28"/>
                    <a:pt x="70" y="28"/>
                  </a:cubicBezTo>
                  <a:cubicBezTo>
                    <a:pt x="97" y="28"/>
                    <a:pt x="111" y="49"/>
                    <a:pt x="111" y="68"/>
                  </a:cubicBezTo>
                  <a:cubicBezTo>
                    <a:pt x="111" y="167"/>
                    <a:pt x="111" y="167"/>
                    <a:pt x="111" y="167"/>
                  </a:cubicBezTo>
                  <a:cubicBezTo>
                    <a:pt x="111" y="167"/>
                    <a:pt x="111" y="167"/>
                    <a:pt x="111" y="167"/>
                  </a:cubicBezTo>
                  <a:cubicBezTo>
                    <a:pt x="111" y="169"/>
                    <a:pt x="112" y="170"/>
                    <a:pt x="114" y="170"/>
                  </a:cubicBezTo>
                  <a:cubicBezTo>
                    <a:pt x="136" y="170"/>
                    <a:pt x="136" y="170"/>
                    <a:pt x="136" y="170"/>
                  </a:cubicBezTo>
                  <a:cubicBezTo>
                    <a:pt x="138" y="170"/>
                    <a:pt x="139" y="169"/>
                    <a:pt x="139" y="167"/>
                  </a:cubicBezTo>
                  <a:cubicBezTo>
                    <a:pt x="139" y="68"/>
                    <a:pt x="139" y="68"/>
                    <a:pt x="139" y="68"/>
                  </a:cubicBezTo>
                  <a:cubicBezTo>
                    <a:pt x="139" y="68"/>
                    <a:pt x="139" y="68"/>
                    <a:pt x="139" y="68"/>
                  </a:cubicBezTo>
                  <a:cubicBezTo>
                    <a:pt x="139" y="68"/>
                    <a:pt x="139" y="68"/>
                    <a:pt x="139" y="68"/>
                  </a:cubicBezTo>
                  <a:cubicBezTo>
                    <a:pt x="139" y="51"/>
                    <a:pt x="133" y="35"/>
                    <a:pt x="120" y="20"/>
                  </a:cubicBezTo>
                  <a:cubicBezTo>
                    <a:pt x="109" y="7"/>
                    <a:pt x="88" y="0"/>
                    <a:pt x="70" y="0"/>
                  </a:cubicBezTo>
                  <a:cubicBezTo>
                    <a:pt x="41" y="0"/>
                    <a:pt x="28" y="21"/>
                    <a:pt x="28"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noProof="0" dirty="0"/>
            </a:p>
          </p:txBody>
        </p:sp>
        <p:sp>
          <p:nvSpPr>
            <p:cNvPr id="26" name="Freeform 9">
              <a:extLst>
                <a:ext uri="{FF2B5EF4-FFF2-40B4-BE49-F238E27FC236}">
                  <a16:creationId xmlns:a16="http://schemas.microsoft.com/office/drawing/2014/main" id="{C7B044FD-45A1-41D4-8002-87E2B59314CB}"/>
                </a:ext>
              </a:extLst>
            </p:cNvPr>
            <p:cNvSpPr>
              <a:spLocks/>
            </p:cNvSpPr>
            <p:nvPr userDrawn="1"/>
          </p:nvSpPr>
          <p:spPr bwMode="auto">
            <a:xfrm>
              <a:off x="2264" y="1724"/>
              <a:ext cx="246" cy="328"/>
            </a:xfrm>
            <a:custGeom>
              <a:avLst/>
              <a:gdLst>
                <a:gd name="T0" fmla="*/ 4 w 130"/>
                <a:gd name="T1" fmla="*/ 48 h 173"/>
                <a:gd name="T2" fmla="*/ 56 w 130"/>
                <a:gd name="T3" fmla="*/ 97 h 173"/>
                <a:gd name="T4" fmla="*/ 57 w 130"/>
                <a:gd name="T5" fmla="*/ 98 h 173"/>
                <a:gd name="T6" fmla="*/ 101 w 130"/>
                <a:gd name="T7" fmla="*/ 124 h 173"/>
                <a:gd name="T8" fmla="*/ 66 w 130"/>
                <a:gd name="T9" fmla="*/ 146 h 173"/>
                <a:gd name="T10" fmla="*/ 30 w 130"/>
                <a:gd name="T11" fmla="*/ 118 h 173"/>
                <a:gd name="T12" fmla="*/ 26 w 130"/>
                <a:gd name="T13" fmla="*/ 114 h 173"/>
                <a:gd name="T14" fmla="*/ 5 w 130"/>
                <a:gd name="T15" fmla="*/ 114 h 173"/>
                <a:gd name="T16" fmla="*/ 0 w 130"/>
                <a:gd name="T17" fmla="*/ 118 h 173"/>
                <a:gd name="T18" fmla="*/ 65 w 130"/>
                <a:gd name="T19" fmla="*/ 173 h 173"/>
                <a:gd name="T20" fmla="*/ 130 w 130"/>
                <a:gd name="T21" fmla="*/ 120 h 173"/>
                <a:gd name="T22" fmla="*/ 72 w 130"/>
                <a:gd name="T23" fmla="*/ 74 h 173"/>
                <a:gd name="T24" fmla="*/ 32 w 130"/>
                <a:gd name="T25" fmla="*/ 48 h 173"/>
                <a:gd name="T26" fmla="*/ 63 w 130"/>
                <a:gd name="T27" fmla="*/ 27 h 173"/>
                <a:gd name="T28" fmla="*/ 97 w 130"/>
                <a:gd name="T29" fmla="*/ 49 h 173"/>
                <a:gd name="T30" fmla="*/ 102 w 130"/>
                <a:gd name="T31" fmla="*/ 53 h 173"/>
                <a:gd name="T32" fmla="*/ 120 w 130"/>
                <a:gd name="T33" fmla="*/ 53 h 173"/>
                <a:gd name="T34" fmla="*/ 125 w 130"/>
                <a:gd name="T35" fmla="*/ 48 h 173"/>
                <a:gd name="T36" fmla="*/ 63 w 130"/>
                <a:gd name="T37" fmla="*/ 0 h 173"/>
                <a:gd name="T38" fmla="*/ 4 w 130"/>
                <a:gd name="T39" fmla="*/ 4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173">
                  <a:moveTo>
                    <a:pt x="4" y="48"/>
                  </a:moveTo>
                  <a:cubicBezTo>
                    <a:pt x="4" y="77"/>
                    <a:pt x="19" y="91"/>
                    <a:pt x="56" y="97"/>
                  </a:cubicBezTo>
                  <a:cubicBezTo>
                    <a:pt x="57" y="98"/>
                    <a:pt x="57" y="98"/>
                    <a:pt x="57" y="98"/>
                  </a:cubicBezTo>
                  <a:cubicBezTo>
                    <a:pt x="83" y="102"/>
                    <a:pt x="101" y="105"/>
                    <a:pt x="101" y="124"/>
                  </a:cubicBezTo>
                  <a:cubicBezTo>
                    <a:pt x="101" y="139"/>
                    <a:pt x="83" y="146"/>
                    <a:pt x="66" y="146"/>
                  </a:cubicBezTo>
                  <a:cubicBezTo>
                    <a:pt x="46" y="146"/>
                    <a:pt x="33" y="136"/>
                    <a:pt x="30" y="118"/>
                  </a:cubicBezTo>
                  <a:cubicBezTo>
                    <a:pt x="30" y="116"/>
                    <a:pt x="29" y="114"/>
                    <a:pt x="26" y="114"/>
                  </a:cubicBezTo>
                  <a:cubicBezTo>
                    <a:pt x="5" y="114"/>
                    <a:pt x="5" y="114"/>
                    <a:pt x="5" y="114"/>
                  </a:cubicBezTo>
                  <a:cubicBezTo>
                    <a:pt x="2" y="114"/>
                    <a:pt x="0" y="116"/>
                    <a:pt x="0" y="118"/>
                  </a:cubicBezTo>
                  <a:cubicBezTo>
                    <a:pt x="0" y="150"/>
                    <a:pt x="27" y="173"/>
                    <a:pt x="65" y="173"/>
                  </a:cubicBezTo>
                  <a:cubicBezTo>
                    <a:pt x="104" y="173"/>
                    <a:pt x="130" y="151"/>
                    <a:pt x="130" y="120"/>
                  </a:cubicBezTo>
                  <a:cubicBezTo>
                    <a:pt x="130" y="86"/>
                    <a:pt x="100" y="79"/>
                    <a:pt x="72" y="74"/>
                  </a:cubicBezTo>
                  <a:cubicBezTo>
                    <a:pt x="37" y="68"/>
                    <a:pt x="32" y="58"/>
                    <a:pt x="32" y="48"/>
                  </a:cubicBezTo>
                  <a:cubicBezTo>
                    <a:pt x="32" y="32"/>
                    <a:pt x="49" y="27"/>
                    <a:pt x="63" y="27"/>
                  </a:cubicBezTo>
                  <a:cubicBezTo>
                    <a:pt x="82" y="27"/>
                    <a:pt x="94" y="34"/>
                    <a:pt x="97" y="49"/>
                  </a:cubicBezTo>
                  <a:cubicBezTo>
                    <a:pt x="98" y="51"/>
                    <a:pt x="98" y="53"/>
                    <a:pt x="102" y="53"/>
                  </a:cubicBezTo>
                  <a:cubicBezTo>
                    <a:pt x="120" y="53"/>
                    <a:pt x="120" y="53"/>
                    <a:pt x="120" y="53"/>
                  </a:cubicBezTo>
                  <a:cubicBezTo>
                    <a:pt x="123" y="53"/>
                    <a:pt x="125" y="51"/>
                    <a:pt x="125" y="48"/>
                  </a:cubicBezTo>
                  <a:cubicBezTo>
                    <a:pt x="125" y="19"/>
                    <a:pt x="100" y="0"/>
                    <a:pt x="63" y="0"/>
                  </a:cubicBezTo>
                  <a:cubicBezTo>
                    <a:pt x="22" y="0"/>
                    <a:pt x="4" y="25"/>
                    <a:pt x="4" y="4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noProof="0" dirty="0"/>
            </a:p>
          </p:txBody>
        </p:sp>
        <p:sp>
          <p:nvSpPr>
            <p:cNvPr id="27" name="Freeform 10">
              <a:extLst>
                <a:ext uri="{FF2B5EF4-FFF2-40B4-BE49-F238E27FC236}">
                  <a16:creationId xmlns:a16="http://schemas.microsoft.com/office/drawing/2014/main" id="{B96B058D-5136-4262-807A-F14DDE4ECC00}"/>
                </a:ext>
              </a:extLst>
            </p:cNvPr>
            <p:cNvSpPr>
              <a:spLocks/>
            </p:cNvSpPr>
            <p:nvPr userDrawn="1"/>
          </p:nvSpPr>
          <p:spPr bwMode="auto">
            <a:xfrm>
              <a:off x="3062" y="1722"/>
              <a:ext cx="312" cy="474"/>
            </a:xfrm>
            <a:custGeom>
              <a:avLst/>
              <a:gdLst>
                <a:gd name="T0" fmla="*/ 67 w 165"/>
                <a:gd name="T1" fmla="*/ 0 h 250"/>
                <a:gd name="T2" fmla="*/ 0 w 165"/>
                <a:gd name="T3" fmla="*/ 86 h 250"/>
                <a:gd name="T4" fmla="*/ 82 w 165"/>
                <a:gd name="T5" fmla="*/ 174 h 250"/>
                <a:gd name="T6" fmla="*/ 137 w 165"/>
                <a:gd name="T7" fmla="*/ 152 h 250"/>
                <a:gd name="T8" fmla="*/ 137 w 165"/>
                <a:gd name="T9" fmla="*/ 173 h 250"/>
                <a:gd name="T10" fmla="*/ 89 w 165"/>
                <a:gd name="T11" fmla="*/ 222 h 250"/>
                <a:gd name="T12" fmla="*/ 48 w 165"/>
                <a:gd name="T13" fmla="*/ 194 h 250"/>
                <a:gd name="T14" fmla="*/ 43 w 165"/>
                <a:gd name="T15" fmla="*/ 190 h 250"/>
                <a:gd name="T16" fmla="*/ 24 w 165"/>
                <a:gd name="T17" fmla="*/ 190 h 250"/>
                <a:gd name="T18" fmla="*/ 19 w 165"/>
                <a:gd name="T19" fmla="*/ 195 h 250"/>
                <a:gd name="T20" fmla="*/ 89 w 165"/>
                <a:gd name="T21" fmla="*/ 250 h 250"/>
                <a:gd name="T22" fmla="*/ 165 w 165"/>
                <a:gd name="T23" fmla="*/ 174 h 250"/>
                <a:gd name="T24" fmla="*/ 165 w 165"/>
                <a:gd name="T25" fmla="*/ 7 h 250"/>
                <a:gd name="T26" fmla="*/ 162 w 165"/>
                <a:gd name="T27" fmla="*/ 4 h 250"/>
                <a:gd name="T28" fmla="*/ 140 w 165"/>
                <a:gd name="T29" fmla="*/ 4 h 250"/>
                <a:gd name="T30" fmla="*/ 137 w 165"/>
                <a:gd name="T31" fmla="*/ 7 h 250"/>
                <a:gd name="T32" fmla="*/ 137 w 165"/>
                <a:gd name="T33" fmla="*/ 21 h 250"/>
                <a:gd name="T34" fmla="*/ 99 w 165"/>
                <a:gd name="T35" fmla="*/ 0 h 250"/>
                <a:gd name="T36" fmla="*/ 96 w 165"/>
                <a:gd name="T37" fmla="*/ 3 h 250"/>
                <a:gd name="T38" fmla="*/ 96 w 165"/>
                <a:gd name="T39" fmla="*/ 28 h 250"/>
                <a:gd name="T40" fmla="*/ 97 w 165"/>
                <a:gd name="T41" fmla="*/ 31 h 250"/>
                <a:gd name="T42" fmla="*/ 138 w 165"/>
                <a:gd name="T43" fmla="*/ 87 h 250"/>
                <a:gd name="T44" fmla="*/ 83 w 165"/>
                <a:gd name="T45" fmla="*/ 146 h 250"/>
                <a:gd name="T46" fmla="*/ 29 w 165"/>
                <a:gd name="T47" fmla="*/ 87 h 250"/>
                <a:gd name="T48" fmla="*/ 68 w 165"/>
                <a:gd name="T49" fmla="*/ 31 h 250"/>
                <a:gd name="T50" fmla="*/ 70 w 165"/>
                <a:gd name="T51" fmla="*/ 29 h 250"/>
                <a:gd name="T52" fmla="*/ 70 w 165"/>
                <a:gd name="T53" fmla="*/ 3 h 250"/>
                <a:gd name="T54" fmla="*/ 67 w 165"/>
                <a:gd name="T55" fmla="*/ 0 h 250"/>
                <a:gd name="T56" fmla="*/ 67 w 165"/>
                <a:gd name="T57"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5" h="250">
                  <a:moveTo>
                    <a:pt x="67" y="0"/>
                  </a:moveTo>
                  <a:cubicBezTo>
                    <a:pt x="29" y="8"/>
                    <a:pt x="0" y="44"/>
                    <a:pt x="0" y="86"/>
                  </a:cubicBezTo>
                  <a:cubicBezTo>
                    <a:pt x="0" y="135"/>
                    <a:pt x="37" y="174"/>
                    <a:pt x="82" y="174"/>
                  </a:cubicBezTo>
                  <a:cubicBezTo>
                    <a:pt x="103" y="174"/>
                    <a:pt x="122" y="166"/>
                    <a:pt x="137" y="152"/>
                  </a:cubicBezTo>
                  <a:cubicBezTo>
                    <a:pt x="137" y="173"/>
                    <a:pt x="137" y="173"/>
                    <a:pt x="137" y="173"/>
                  </a:cubicBezTo>
                  <a:cubicBezTo>
                    <a:pt x="137" y="205"/>
                    <a:pt x="120" y="222"/>
                    <a:pt x="89" y="222"/>
                  </a:cubicBezTo>
                  <a:cubicBezTo>
                    <a:pt x="66" y="222"/>
                    <a:pt x="52" y="213"/>
                    <a:pt x="48" y="194"/>
                  </a:cubicBezTo>
                  <a:cubicBezTo>
                    <a:pt x="47" y="192"/>
                    <a:pt x="46" y="190"/>
                    <a:pt x="43" y="190"/>
                  </a:cubicBezTo>
                  <a:cubicBezTo>
                    <a:pt x="24" y="190"/>
                    <a:pt x="24" y="190"/>
                    <a:pt x="24" y="190"/>
                  </a:cubicBezTo>
                  <a:cubicBezTo>
                    <a:pt x="21" y="190"/>
                    <a:pt x="19" y="192"/>
                    <a:pt x="19" y="195"/>
                  </a:cubicBezTo>
                  <a:cubicBezTo>
                    <a:pt x="22" y="228"/>
                    <a:pt x="51" y="250"/>
                    <a:pt x="89" y="250"/>
                  </a:cubicBezTo>
                  <a:cubicBezTo>
                    <a:pt x="135" y="250"/>
                    <a:pt x="165" y="219"/>
                    <a:pt x="165" y="174"/>
                  </a:cubicBezTo>
                  <a:cubicBezTo>
                    <a:pt x="165" y="7"/>
                    <a:pt x="165" y="7"/>
                    <a:pt x="165" y="7"/>
                  </a:cubicBezTo>
                  <a:cubicBezTo>
                    <a:pt x="165" y="5"/>
                    <a:pt x="164" y="4"/>
                    <a:pt x="162" y="4"/>
                  </a:cubicBezTo>
                  <a:cubicBezTo>
                    <a:pt x="140" y="4"/>
                    <a:pt x="140" y="4"/>
                    <a:pt x="140" y="4"/>
                  </a:cubicBezTo>
                  <a:cubicBezTo>
                    <a:pt x="138" y="4"/>
                    <a:pt x="137" y="5"/>
                    <a:pt x="137" y="7"/>
                  </a:cubicBezTo>
                  <a:cubicBezTo>
                    <a:pt x="137" y="21"/>
                    <a:pt x="137" y="21"/>
                    <a:pt x="137" y="21"/>
                  </a:cubicBezTo>
                  <a:cubicBezTo>
                    <a:pt x="126" y="11"/>
                    <a:pt x="113" y="4"/>
                    <a:pt x="99" y="0"/>
                  </a:cubicBezTo>
                  <a:cubicBezTo>
                    <a:pt x="97" y="0"/>
                    <a:pt x="96" y="1"/>
                    <a:pt x="96" y="3"/>
                  </a:cubicBezTo>
                  <a:cubicBezTo>
                    <a:pt x="96" y="28"/>
                    <a:pt x="96" y="28"/>
                    <a:pt x="96" y="28"/>
                  </a:cubicBezTo>
                  <a:cubicBezTo>
                    <a:pt x="96" y="29"/>
                    <a:pt x="96" y="30"/>
                    <a:pt x="97" y="31"/>
                  </a:cubicBezTo>
                  <a:cubicBezTo>
                    <a:pt x="121" y="37"/>
                    <a:pt x="138" y="60"/>
                    <a:pt x="138" y="87"/>
                  </a:cubicBezTo>
                  <a:cubicBezTo>
                    <a:pt x="138" y="119"/>
                    <a:pt x="114" y="146"/>
                    <a:pt x="83" y="146"/>
                  </a:cubicBezTo>
                  <a:cubicBezTo>
                    <a:pt x="53" y="146"/>
                    <a:pt x="29" y="119"/>
                    <a:pt x="29" y="87"/>
                  </a:cubicBezTo>
                  <a:cubicBezTo>
                    <a:pt x="29" y="61"/>
                    <a:pt x="45" y="38"/>
                    <a:pt x="68" y="31"/>
                  </a:cubicBezTo>
                  <a:cubicBezTo>
                    <a:pt x="69" y="31"/>
                    <a:pt x="70" y="30"/>
                    <a:pt x="70" y="29"/>
                  </a:cubicBezTo>
                  <a:cubicBezTo>
                    <a:pt x="70" y="3"/>
                    <a:pt x="70" y="3"/>
                    <a:pt x="70" y="3"/>
                  </a:cubicBezTo>
                  <a:cubicBezTo>
                    <a:pt x="70" y="1"/>
                    <a:pt x="69" y="0"/>
                    <a:pt x="67" y="0"/>
                  </a:cubicBezTo>
                  <a:cubicBezTo>
                    <a:pt x="67" y="0"/>
                    <a:pt x="67" y="0"/>
                    <a:pt x="6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noProof="0" dirty="0"/>
            </a:p>
          </p:txBody>
        </p:sp>
        <p:sp>
          <p:nvSpPr>
            <p:cNvPr id="28" name="Oval 11">
              <a:extLst>
                <a:ext uri="{FF2B5EF4-FFF2-40B4-BE49-F238E27FC236}">
                  <a16:creationId xmlns:a16="http://schemas.microsoft.com/office/drawing/2014/main" id="{67E362B8-97A1-4111-B148-BAE052A1BFA3}"/>
                </a:ext>
              </a:extLst>
            </p:cNvPr>
            <p:cNvSpPr>
              <a:spLocks noChangeArrowheads="1"/>
            </p:cNvSpPr>
            <p:nvPr userDrawn="1"/>
          </p:nvSpPr>
          <p:spPr bwMode="auto">
            <a:xfrm>
              <a:off x="284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noProof="0" dirty="0"/>
            </a:p>
          </p:txBody>
        </p:sp>
        <p:sp>
          <p:nvSpPr>
            <p:cNvPr id="29" name="Oval 12">
              <a:extLst>
                <a:ext uri="{FF2B5EF4-FFF2-40B4-BE49-F238E27FC236}">
                  <a16:creationId xmlns:a16="http://schemas.microsoft.com/office/drawing/2014/main" id="{4301693B-28CB-4C5D-8F2B-69A579B76B99}"/>
                </a:ext>
              </a:extLst>
            </p:cNvPr>
            <p:cNvSpPr>
              <a:spLocks noChangeArrowheads="1"/>
            </p:cNvSpPr>
            <p:nvPr userDrawn="1"/>
          </p:nvSpPr>
          <p:spPr bwMode="auto">
            <a:xfrm>
              <a:off x="387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noProof="0" dirty="0"/>
            </a:p>
          </p:txBody>
        </p:sp>
        <p:sp>
          <p:nvSpPr>
            <p:cNvPr id="30" name="Freeform 13">
              <a:extLst>
                <a:ext uri="{FF2B5EF4-FFF2-40B4-BE49-F238E27FC236}">
                  <a16:creationId xmlns:a16="http://schemas.microsoft.com/office/drawing/2014/main" id="{52D918BE-ADC1-4568-88E2-AF8C3F391F00}"/>
                </a:ext>
              </a:extLst>
            </p:cNvPr>
            <p:cNvSpPr>
              <a:spLocks/>
            </p:cNvSpPr>
            <p:nvPr userDrawn="1"/>
          </p:nvSpPr>
          <p:spPr bwMode="auto">
            <a:xfrm>
              <a:off x="4062" y="1584"/>
              <a:ext cx="242" cy="462"/>
            </a:xfrm>
            <a:custGeom>
              <a:avLst/>
              <a:gdLst>
                <a:gd name="T0" fmla="*/ 39 w 128"/>
                <a:gd name="T1" fmla="*/ 55 h 244"/>
                <a:gd name="T2" fmla="*/ 39 w 128"/>
                <a:gd name="T3" fmla="*/ 76 h 244"/>
                <a:gd name="T4" fmla="*/ 4 w 128"/>
                <a:gd name="T5" fmla="*/ 76 h 244"/>
                <a:gd name="T6" fmla="*/ 0 w 128"/>
                <a:gd name="T7" fmla="*/ 81 h 244"/>
                <a:gd name="T8" fmla="*/ 0 w 128"/>
                <a:gd name="T9" fmla="*/ 99 h 244"/>
                <a:gd name="T10" fmla="*/ 4 w 128"/>
                <a:gd name="T11" fmla="*/ 103 h 244"/>
                <a:gd name="T12" fmla="*/ 39 w 128"/>
                <a:gd name="T13" fmla="*/ 103 h 244"/>
                <a:gd name="T14" fmla="*/ 39 w 128"/>
                <a:gd name="T15" fmla="*/ 239 h 244"/>
                <a:gd name="T16" fmla="*/ 44 w 128"/>
                <a:gd name="T17" fmla="*/ 244 h 244"/>
                <a:gd name="T18" fmla="*/ 62 w 128"/>
                <a:gd name="T19" fmla="*/ 244 h 244"/>
                <a:gd name="T20" fmla="*/ 67 w 128"/>
                <a:gd name="T21" fmla="*/ 239 h 244"/>
                <a:gd name="T22" fmla="*/ 67 w 128"/>
                <a:gd name="T23" fmla="*/ 103 h 244"/>
                <a:gd name="T24" fmla="*/ 120 w 128"/>
                <a:gd name="T25" fmla="*/ 103 h 244"/>
                <a:gd name="T26" fmla="*/ 125 w 128"/>
                <a:gd name="T27" fmla="*/ 99 h 244"/>
                <a:gd name="T28" fmla="*/ 125 w 128"/>
                <a:gd name="T29" fmla="*/ 81 h 244"/>
                <a:gd name="T30" fmla="*/ 120 w 128"/>
                <a:gd name="T31" fmla="*/ 76 h 244"/>
                <a:gd name="T32" fmla="*/ 67 w 128"/>
                <a:gd name="T33" fmla="*/ 76 h 244"/>
                <a:gd name="T34" fmla="*/ 67 w 128"/>
                <a:gd name="T35" fmla="*/ 55 h 244"/>
                <a:gd name="T36" fmla="*/ 91 w 128"/>
                <a:gd name="T37" fmla="*/ 27 h 244"/>
                <a:gd name="T38" fmla="*/ 122 w 128"/>
                <a:gd name="T39" fmla="*/ 37 h 244"/>
                <a:gd name="T40" fmla="*/ 125 w 128"/>
                <a:gd name="T41" fmla="*/ 38 h 244"/>
                <a:gd name="T42" fmla="*/ 128 w 128"/>
                <a:gd name="T43" fmla="*/ 33 h 244"/>
                <a:gd name="T44" fmla="*/ 128 w 128"/>
                <a:gd name="T45" fmla="*/ 16 h 244"/>
                <a:gd name="T46" fmla="*/ 125 w 128"/>
                <a:gd name="T47" fmla="*/ 9 h 244"/>
                <a:gd name="T48" fmla="*/ 89 w 128"/>
                <a:gd name="T49" fmla="*/ 0 h 244"/>
                <a:gd name="T50" fmla="*/ 39 w 128"/>
                <a:gd name="T51" fmla="*/ 5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244">
                  <a:moveTo>
                    <a:pt x="39" y="55"/>
                  </a:moveTo>
                  <a:cubicBezTo>
                    <a:pt x="39" y="76"/>
                    <a:pt x="39" y="76"/>
                    <a:pt x="39" y="76"/>
                  </a:cubicBezTo>
                  <a:cubicBezTo>
                    <a:pt x="4" y="76"/>
                    <a:pt x="4" y="76"/>
                    <a:pt x="4" y="76"/>
                  </a:cubicBezTo>
                  <a:cubicBezTo>
                    <a:pt x="1" y="76"/>
                    <a:pt x="0" y="78"/>
                    <a:pt x="0" y="81"/>
                  </a:cubicBezTo>
                  <a:cubicBezTo>
                    <a:pt x="0" y="99"/>
                    <a:pt x="0" y="99"/>
                    <a:pt x="0" y="99"/>
                  </a:cubicBezTo>
                  <a:cubicBezTo>
                    <a:pt x="0" y="102"/>
                    <a:pt x="1" y="103"/>
                    <a:pt x="4" y="103"/>
                  </a:cubicBezTo>
                  <a:cubicBezTo>
                    <a:pt x="39" y="103"/>
                    <a:pt x="39" y="103"/>
                    <a:pt x="39" y="103"/>
                  </a:cubicBezTo>
                  <a:cubicBezTo>
                    <a:pt x="39" y="239"/>
                    <a:pt x="39" y="239"/>
                    <a:pt x="39" y="239"/>
                  </a:cubicBezTo>
                  <a:cubicBezTo>
                    <a:pt x="39" y="242"/>
                    <a:pt x="41" y="244"/>
                    <a:pt x="44" y="244"/>
                  </a:cubicBezTo>
                  <a:cubicBezTo>
                    <a:pt x="62" y="244"/>
                    <a:pt x="62" y="244"/>
                    <a:pt x="62" y="244"/>
                  </a:cubicBezTo>
                  <a:cubicBezTo>
                    <a:pt x="65" y="244"/>
                    <a:pt x="67" y="242"/>
                    <a:pt x="67" y="239"/>
                  </a:cubicBezTo>
                  <a:cubicBezTo>
                    <a:pt x="67" y="103"/>
                    <a:pt x="67" y="103"/>
                    <a:pt x="67" y="103"/>
                  </a:cubicBezTo>
                  <a:cubicBezTo>
                    <a:pt x="120" y="103"/>
                    <a:pt x="120" y="103"/>
                    <a:pt x="120" y="103"/>
                  </a:cubicBezTo>
                  <a:cubicBezTo>
                    <a:pt x="123" y="103"/>
                    <a:pt x="125" y="102"/>
                    <a:pt x="125" y="99"/>
                  </a:cubicBezTo>
                  <a:cubicBezTo>
                    <a:pt x="125" y="81"/>
                    <a:pt x="125" y="81"/>
                    <a:pt x="125" y="81"/>
                  </a:cubicBezTo>
                  <a:cubicBezTo>
                    <a:pt x="125" y="78"/>
                    <a:pt x="123" y="76"/>
                    <a:pt x="120" y="76"/>
                  </a:cubicBezTo>
                  <a:cubicBezTo>
                    <a:pt x="67" y="76"/>
                    <a:pt x="67" y="76"/>
                    <a:pt x="67" y="76"/>
                  </a:cubicBezTo>
                  <a:cubicBezTo>
                    <a:pt x="67" y="55"/>
                    <a:pt x="67" y="55"/>
                    <a:pt x="67" y="55"/>
                  </a:cubicBezTo>
                  <a:cubicBezTo>
                    <a:pt x="67" y="38"/>
                    <a:pt x="76" y="27"/>
                    <a:pt x="91" y="27"/>
                  </a:cubicBezTo>
                  <a:cubicBezTo>
                    <a:pt x="102" y="27"/>
                    <a:pt x="110" y="30"/>
                    <a:pt x="122" y="37"/>
                  </a:cubicBezTo>
                  <a:cubicBezTo>
                    <a:pt x="123" y="38"/>
                    <a:pt x="124" y="38"/>
                    <a:pt x="125" y="38"/>
                  </a:cubicBezTo>
                  <a:cubicBezTo>
                    <a:pt x="127" y="38"/>
                    <a:pt x="128" y="36"/>
                    <a:pt x="128" y="33"/>
                  </a:cubicBezTo>
                  <a:cubicBezTo>
                    <a:pt x="128" y="16"/>
                    <a:pt x="128" y="16"/>
                    <a:pt x="128" y="16"/>
                  </a:cubicBezTo>
                  <a:cubicBezTo>
                    <a:pt x="128" y="13"/>
                    <a:pt x="128" y="11"/>
                    <a:pt x="125" y="9"/>
                  </a:cubicBezTo>
                  <a:cubicBezTo>
                    <a:pt x="114" y="3"/>
                    <a:pt x="103" y="0"/>
                    <a:pt x="89" y="0"/>
                  </a:cubicBezTo>
                  <a:cubicBezTo>
                    <a:pt x="54" y="0"/>
                    <a:pt x="39" y="29"/>
                    <a:pt x="39"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noProof="0" dirty="0"/>
            </a:p>
          </p:txBody>
        </p:sp>
        <p:sp>
          <p:nvSpPr>
            <p:cNvPr id="31" name="Freeform 14">
              <a:extLst>
                <a:ext uri="{FF2B5EF4-FFF2-40B4-BE49-F238E27FC236}">
                  <a16:creationId xmlns:a16="http://schemas.microsoft.com/office/drawing/2014/main" id="{C865BE1B-431D-42EE-838F-6181568C2DEC}"/>
                </a:ext>
              </a:extLst>
            </p:cNvPr>
            <p:cNvSpPr>
              <a:spLocks/>
            </p:cNvSpPr>
            <p:nvPr userDrawn="1"/>
          </p:nvSpPr>
          <p:spPr bwMode="auto">
            <a:xfrm>
              <a:off x="2071" y="1578"/>
              <a:ext cx="632" cy="631"/>
            </a:xfrm>
            <a:custGeom>
              <a:avLst/>
              <a:gdLst>
                <a:gd name="T0" fmla="*/ 181 w 334"/>
                <a:gd name="T1" fmla="*/ 1 h 333"/>
                <a:gd name="T2" fmla="*/ 180 w 334"/>
                <a:gd name="T3" fmla="*/ 4 h 333"/>
                <a:gd name="T4" fmla="*/ 180 w 334"/>
                <a:gd name="T5" fmla="*/ 26 h 333"/>
                <a:gd name="T6" fmla="*/ 180 w 334"/>
                <a:gd name="T7" fmla="*/ 26 h 333"/>
                <a:gd name="T8" fmla="*/ 182 w 334"/>
                <a:gd name="T9" fmla="*/ 28 h 333"/>
                <a:gd name="T10" fmla="*/ 306 w 334"/>
                <a:gd name="T11" fmla="*/ 166 h 333"/>
                <a:gd name="T12" fmla="*/ 167 w 334"/>
                <a:gd name="T13" fmla="*/ 305 h 333"/>
                <a:gd name="T14" fmla="*/ 28 w 334"/>
                <a:gd name="T15" fmla="*/ 166 h 333"/>
                <a:gd name="T16" fmla="*/ 152 w 334"/>
                <a:gd name="T17" fmla="*/ 28 h 333"/>
                <a:gd name="T18" fmla="*/ 154 w 334"/>
                <a:gd name="T19" fmla="*/ 26 h 333"/>
                <a:gd name="T20" fmla="*/ 154 w 334"/>
                <a:gd name="T21" fmla="*/ 26 h 333"/>
                <a:gd name="T22" fmla="*/ 154 w 334"/>
                <a:gd name="T23" fmla="*/ 4 h 333"/>
                <a:gd name="T24" fmla="*/ 153 w 334"/>
                <a:gd name="T25" fmla="*/ 1 h 333"/>
                <a:gd name="T26" fmla="*/ 150 w 334"/>
                <a:gd name="T27" fmla="*/ 0 h 333"/>
                <a:gd name="T28" fmla="*/ 149 w 334"/>
                <a:gd name="T29" fmla="*/ 0 h 333"/>
                <a:gd name="T30" fmla="*/ 149 w 334"/>
                <a:gd name="T31" fmla="*/ 0 h 333"/>
                <a:gd name="T32" fmla="*/ 0 w 334"/>
                <a:gd name="T33" fmla="*/ 166 h 333"/>
                <a:gd name="T34" fmla="*/ 167 w 334"/>
                <a:gd name="T35" fmla="*/ 333 h 333"/>
                <a:gd name="T36" fmla="*/ 334 w 334"/>
                <a:gd name="T37" fmla="*/ 166 h 333"/>
                <a:gd name="T38" fmla="*/ 185 w 334"/>
                <a:gd name="T39" fmla="*/ 0 h 333"/>
                <a:gd name="T40" fmla="*/ 185 w 334"/>
                <a:gd name="T41" fmla="*/ 0 h 333"/>
                <a:gd name="T42" fmla="*/ 184 w 334"/>
                <a:gd name="T43" fmla="*/ 0 h 333"/>
                <a:gd name="T44" fmla="*/ 181 w 334"/>
                <a:gd name="T45" fmla="*/ 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4" h="333">
                  <a:moveTo>
                    <a:pt x="181" y="1"/>
                  </a:moveTo>
                  <a:cubicBezTo>
                    <a:pt x="180" y="2"/>
                    <a:pt x="180" y="3"/>
                    <a:pt x="180" y="4"/>
                  </a:cubicBezTo>
                  <a:cubicBezTo>
                    <a:pt x="180" y="26"/>
                    <a:pt x="180" y="26"/>
                    <a:pt x="180" y="26"/>
                  </a:cubicBezTo>
                  <a:cubicBezTo>
                    <a:pt x="180" y="26"/>
                    <a:pt x="180" y="26"/>
                    <a:pt x="180" y="26"/>
                  </a:cubicBezTo>
                  <a:cubicBezTo>
                    <a:pt x="180" y="27"/>
                    <a:pt x="181" y="28"/>
                    <a:pt x="182" y="28"/>
                  </a:cubicBezTo>
                  <a:cubicBezTo>
                    <a:pt x="251" y="35"/>
                    <a:pt x="306" y="94"/>
                    <a:pt x="306" y="166"/>
                  </a:cubicBezTo>
                  <a:cubicBezTo>
                    <a:pt x="306" y="243"/>
                    <a:pt x="244" y="305"/>
                    <a:pt x="167" y="305"/>
                  </a:cubicBezTo>
                  <a:cubicBezTo>
                    <a:pt x="90" y="305"/>
                    <a:pt x="28" y="243"/>
                    <a:pt x="28" y="166"/>
                  </a:cubicBezTo>
                  <a:cubicBezTo>
                    <a:pt x="28" y="94"/>
                    <a:pt x="82" y="35"/>
                    <a:pt x="152" y="28"/>
                  </a:cubicBezTo>
                  <a:cubicBezTo>
                    <a:pt x="153" y="28"/>
                    <a:pt x="154" y="27"/>
                    <a:pt x="154" y="26"/>
                  </a:cubicBezTo>
                  <a:cubicBezTo>
                    <a:pt x="154" y="26"/>
                    <a:pt x="154" y="26"/>
                    <a:pt x="154" y="26"/>
                  </a:cubicBezTo>
                  <a:cubicBezTo>
                    <a:pt x="154" y="4"/>
                    <a:pt x="154" y="4"/>
                    <a:pt x="154" y="4"/>
                  </a:cubicBezTo>
                  <a:cubicBezTo>
                    <a:pt x="154" y="3"/>
                    <a:pt x="154" y="2"/>
                    <a:pt x="153" y="1"/>
                  </a:cubicBezTo>
                  <a:cubicBezTo>
                    <a:pt x="152" y="0"/>
                    <a:pt x="151" y="0"/>
                    <a:pt x="150" y="0"/>
                  </a:cubicBezTo>
                  <a:cubicBezTo>
                    <a:pt x="149" y="0"/>
                    <a:pt x="149" y="0"/>
                    <a:pt x="149" y="0"/>
                  </a:cubicBezTo>
                  <a:cubicBezTo>
                    <a:pt x="149" y="0"/>
                    <a:pt x="149" y="0"/>
                    <a:pt x="149" y="0"/>
                  </a:cubicBezTo>
                  <a:cubicBezTo>
                    <a:pt x="65" y="9"/>
                    <a:pt x="0" y="80"/>
                    <a:pt x="0" y="166"/>
                  </a:cubicBezTo>
                  <a:cubicBezTo>
                    <a:pt x="0" y="258"/>
                    <a:pt x="75" y="333"/>
                    <a:pt x="167" y="333"/>
                  </a:cubicBezTo>
                  <a:cubicBezTo>
                    <a:pt x="259" y="333"/>
                    <a:pt x="334" y="258"/>
                    <a:pt x="334" y="166"/>
                  </a:cubicBezTo>
                  <a:cubicBezTo>
                    <a:pt x="334" y="80"/>
                    <a:pt x="269" y="9"/>
                    <a:pt x="185" y="0"/>
                  </a:cubicBezTo>
                  <a:cubicBezTo>
                    <a:pt x="185" y="0"/>
                    <a:pt x="185" y="0"/>
                    <a:pt x="185" y="0"/>
                  </a:cubicBezTo>
                  <a:cubicBezTo>
                    <a:pt x="185" y="0"/>
                    <a:pt x="184" y="0"/>
                    <a:pt x="184" y="0"/>
                  </a:cubicBezTo>
                  <a:cubicBezTo>
                    <a:pt x="183" y="0"/>
                    <a:pt x="182" y="0"/>
                    <a:pt x="18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noProof="0" dirty="0"/>
            </a:p>
          </p:txBody>
        </p:sp>
      </p:grpSp>
    </p:spTree>
    <p:extLst>
      <p:ext uri="{BB962C8B-B14F-4D97-AF65-F5344CB8AC3E}">
        <p14:creationId xmlns:p14="http://schemas.microsoft.com/office/powerpoint/2010/main" val="3720230668"/>
      </p:ext>
    </p:extLst>
  </p:cSld>
  <p:clrMap bg1="lt1" tx1="dk1" bg2="lt2" tx2="dk2" accent1="accent1" accent2="accent2" accent3="accent3" accent4="accent4" accent5="accent5" accent6="accent6" hlink="hlink" folHlink="folHlink"/>
  <p:sldLayoutIdLst>
    <p:sldLayoutId id="2147483871" r:id="rId1"/>
    <p:sldLayoutId id="2147483872" r:id="rId2"/>
    <p:sldLayoutId id="2147483873" r:id="rId3"/>
    <p:sldLayoutId id="2147483874" r:id="rId4"/>
    <p:sldLayoutId id="2147483875" r:id="rId5"/>
    <p:sldLayoutId id="2147483876" r:id="rId6"/>
    <p:sldLayoutId id="2147483877" r:id="rId7"/>
    <p:sldLayoutId id="2147483878" r:id="rId8"/>
    <p:sldLayoutId id="2147483879" r:id="rId9"/>
    <p:sldLayoutId id="2147483880" r:id="rId10"/>
    <p:sldLayoutId id="2147483881" r:id="rId11"/>
    <p:sldLayoutId id="2147483882" r:id="rId12"/>
    <p:sldLayoutId id="2147483883" r:id="rId13"/>
    <p:sldLayoutId id="2147483884" r:id="rId14"/>
    <p:sldLayoutId id="2147483885" r:id="rId15"/>
    <p:sldLayoutId id="2147483886" r:id="rId16"/>
    <p:sldLayoutId id="2147483887" r:id="rId17"/>
    <p:sldLayoutId id="2147483888" r:id="rId18"/>
    <p:sldLayoutId id="2147483889" r:id="rId19"/>
    <p:sldLayoutId id="2147483890" r:id="rId20"/>
    <p:sldLayoutId id="2147483891" r:id="rId21"/>
  </p:sldLayoutIdLst>
  <p:transition>
    <p:fade/>
  </p:transition>
  <p:hf hdr="0" ftr="0" dt="0"/>
  <p:txStyles>
    <p:titleStyle>
      <a:lvl1pPr algn="l" defTabSz="913923" rtl="0" eaLnBrk="1" latinLnBrk="0" hangingPunct="1">
        <a:lnSpc>
          <a:spcPct val="90000"/>
        </a:lnSpc>
        <a:spcBef>
          <a:spcPct val="0"/>
        </a:spcBef>
        <a:buNone/>
        <a:defRPr sz="1800" b="1" kern="1200">
          <a:solidFill>
            <a:schemeClr val="tx2"/>
          </a:solidFill>
          <a:latin typeface="+mj-lt"/>
          <a:ea typeface="+mj-ea"/>
          <a:cs typeface="+mj-cs"/>
        </a:defRPr>
      </a:lvl1pPr>
    </p:titleStyle>
    <p:bodyStyle>
      <a:lvl1pPr marL="0" indent="0" algn="l" defTabSz="913923" rtl="0" eaLnBrk="1" latinLnBrk="0" hangingPunct="1">
        <a:lnSpc>
          <a:spcPct val="90000"/>
        </a:lnSpc>
        <a:spcBef>
          <a:spcPts val="0"/>
        </a:spcBef>
        <a:spcAft>
          <a:spcPts val="1132"/>
        </a:spcAft>
        <a:buFont typeface="Arial" panose="020B0604020202020204" pitchFamily="34" charset="0"/>
        <a:buNone/>
        <a:defRPr sz="1597" kern="1200">
          <a:solidFill>
            <a:schemeClr val="tx2"/>
          </a:solidFill>
          <a:latin typeface="+mn-lt"/>
          <a:ea typeface="+mn-ea"/>
          <a:cs typeface="+mn-cs"/>
        </a:defRPr>
      </a:lvl1pPr>
      <a:lvl2pPr marL="0" indent="0" algn="l" defTabSz="913923" rtl="0" eaLnBrk="1" latinLnBrk="0" hangingPunct="1">
        <a:lnSpc>
          <a:spcPct val="90000"/>
        </a:lnSpc>
        <a:spcBef>
          <a:spcPts val="0"/>
        </a:spcBef>
        <a:spcAft>
          <a:spcPts val="1132"/>
        </a:spcAft>
        <a:buFont typeface="Arial" panose="020B0604020202020204" pitchFamily="34" charset="0"/>
        <a:buNone/>
        <a:defRPr sz="1597" b="1" kern="1200">
          <a:solidFill>
            <a:schemeClr val="tx2"/>
          </a:solidFill>
          <a:latin typeface="+mn-lt"/>
          <a:ea typeface="+mn-ea"/>
          <a:cs typeface="+mn-cs"/>
        </a:defRPr>
      </a:lvl2pPr>
      <a:lvl3pPr marL="0" indent="0" algn="l" defTabSz="913923" rtl="0" eaLnBrk="1" latinLnBrk="0" hangingPunct="1">
        <a:lnSpc>
          <a:spcPct val="90000"/>
        </a:lnSpc>
        <a:spcBef>
          <a:spcPts val="0"/>
        </a:spcBef>
        <a:spcAft>
          <a:spcPts val="1132"/>
        </a:spcAft>
        <a:buFont typeface="Arial" panose="020B0604020202020204" pitchFamily="34" charset="0"/>
        <a:buNone/>
        <a:defRPr sz="1597" kern="1200">
          <a:solidFill>
            <a:schemeClr val="accent3"/>
          </a:solidFill>
          <a:latin typeface="+mn-lt"/>
          <a:ea typeface="+mn-ea"/>
          <a:cs typeface="+mn-cs"/>
        </a:defRPr>
      </a:lvl3pPr>
      <a:lvl4pPr marL="254604" indent="-254604" algn="l" defTabSz="913923" rtl="0" eaLnBrk="1" latinLnBrk="0" hangingPunct="1">
        <a:lnSpc>
          <a:spcPct val="90000"/>
        </a:lnSpc>
        <a:spcBef>
          <a:spcPts val="0"/>
        </a:spcBef>
        <a:spcAft>
          <a:spcPts val="1132"/>
        </a:spcAft>
        <a:buClr>
          <a:schemeClr val="accent3"/>
        </a:buClr>
        <a:buFont typeface="Arial" panose="020B0604020202020204" pitchFamily="34" charset="0"/>
        <a:buChar char="•"/>
        <a:defRPr sz="1597" kern="1200">
          <a:solidFill>
            <a:schemeClr val="tx2"/>
          </a:solidFill>
          <a:latin typeface="+mn-lt"/>
          <a:ea typeface="+mn-ea"/>
          <a:cs typeface="+mn-cs"/>
        </a:defRPr>
      </a:lvl4pPr>
      <a:lvl5pPr marL="509208" indent="-254604" algn="l" defTabSz="913923" rtl="0" eaLnBrk="1" latinLnBrk="0" hangingPunct="1">
        <a:lnSpc>
          <a:spcPct val="90000"/>
        </a:lnSpc>
        <a:spcBef>
          <a:spcPts val="0"/>
        </a:spcBef>
        <a:spcAft>
          <a:spcPts val="1132"/>
        </a:spcAft>
        <a:buClr>
          <a:schemeClr val="accent3"/>
        </a:buClr>
        <a:buFont typeface="Arial" panose="020B0604020202020204" pitchFamily="34" charset="0"/>
        <a:buChar char="•"/>
        <a:defRPr sz="1597" kern="1200">
          <a:solidFill>
            <a:schemeClr val="tx2"/>
          </a:solidFill>
          <a:latin typeface="+mn-lt"/>
          <a:ea typeface="+mn-ea"/>
          <a:cs typeface="+mn-cs"/>
        </a:defRPr>
      </a:lvl5pPr>
      <a:lvl6pPr marL="763813" indent="-254604" algn="l" defTabSz="913923" rtl="0" eaLnBrk="1" latinLnBrk="0" hangingPunct="1">
        <a:lnSpc>
          <a:spcPct val="90000"/>
        </a:lnSpc>
        <a:spcBef>
          <a:spcPts val="0"/>
        </a:spcBef>
        <a:spcAft>
          <a:spcPts val="1132"/>
        </a:spcAft>
        <a:buClr>
          <a:schemeClr val="accent3"/>
        </a:buClr>
        <a:buFont typeface="Arial" panose="020B0604020202020204" pitchFamily="34" charset="0"/>
        <a:buChar char="•"/>
        <a:defRPr sz="1597" kern="1200">
          <a:solidFill>
            <a:schemeClr val="tx2"/>
          </a:solidFill>
          <a:latin typeface="+mn-lt"/>
          <a:ea typeface="+mn-ea"/>
          <a:cs typeface="+mn-cs"/>
        </a:defRPr>
      </a:lvl6pPr>
      <a:lvl7pPr marL="1018417" indent="-254604" algn="l" defTabSz="913923" rtl="0" eaLnBrk="1" latinLnBrk="0" hangingPunct="1">
        <a:lnSpc>
          <a:spcPct val="90000"/>
        </a:lnSpc>
        <a:spcBef>
          <a:spcPts val="0"/>
        </a:spcBef>
        <a:spcAft>
          <a:spcPts val="1132"/>
        </a:spcAft>
        <a:buClr>
          <a:schemeClr val="accent3"/>
        </a:buClr>
        <a:buFont typeface="Arial" panose="020B0604020202020204" pitchFamily="34" charset="0"/>
        <a:buChar char="•"/>
        <a:defRPr sz="1597" kern="1200">
          <a:solidFill>
            <a:schemeClr val="tx2"/>
          </a:solidFill>
          <a:latin typeface="+mn-lt"/>
          <a:ea typeface="+mn-ea"/>
          <a:cs typeface="+mn-cs"/>
        </a:defRPr>
      </a:lvl7pPr>
      <a:lvl8pPr marL="1273019" indent="-254604" algn="l" defTabSz="913923" rtl="0" eaLnBrk="1" latinLnBrk="0" hangingPunct="1">
        <a:lnSpc>
          <a:spcPct val="90000"/>
        </a:lnSpc>
        <a:spcBef>
          <a:spcPts val="0"/>
        </a:spcBef>
        <a:spcAft>
          <a:spcPts val="1132"/>
        </a:spcAft>
        <a:buClr>
          <a:schemeClr val="accent3"/>
        </a:buClr>
        <a:buFont typeface="Arial" panose="020B0604020202020204" pitchFamily="34" charset="0"/>
        <a:buChar char="•"/>
        <a:defRPr sz="1597" kern="1200">
          <a:solidFill>
            <a:schemeClr val="tx2"/>
          </a:solidFill>
          <a:latin typeface="+mn-lt"/>
          <a:ea typeface="+mn-ea"/>
          <a:cs typeface="+mn-cs"/>
        </a:defRPr>
      </a:lvl8pPr>
      <a:lvl9pPr marL="1527625" indent="-254604" algn="l" defTabSz="913923" rtl="0" eaLnBrk="1" latinLnBrk="0" hangingPunct="1">
        <a:lnSpc>
          <a:spcPct val="90000"/>
        </a:lnSpc>
        <a:spcBef>
          <a:spcPts val="0"/>
        </a:spcBef>
        <a:spcAft>
          <a:spcPts val="1132"/>
        </a:spcAft>
        <a:buClr>
          <a:schemeClr val="accent3"/>
        </a:buClr>
        <a:buFont typeface="Arial" panose="020B0604020202020204" pitchFamily="34" charset="0"/>
        <a:buChar char="•"/>
        <a:defRPr sz="1597" kern="1200">
          <a:solidFill>
            <a:schemeClr val="tx2"/>
          </a:solidFill>
          <a:latin typeface="+mn-lt"/>
          <a:ea typeface="+mn-ea"/>
          <a:cs typeface="+mn-cs"/>
        </a:defRPr>
      </a:lvl9pPr>
    </p:bodyStyle>
    <p:otherStyle>
      <a:defPPr>
        <a:defRPr lang="en-US"/>
      </a:defPPr>
      <a:lvl1pPr marL="0" algn="l" defTabSz="913923" rtl="0" eaLnBrk="1" latinLnBrk="0" hangingPunct="1">
        <a:defRPr sz="1799" kern="1200">
          <a:solidFill>
            <a:schemeClr val="tx1"/>
          </a:solidFill>
          <a:latin typeface="+mn-lt"/>
          <a:ea typeface="+mn-ea"/>
          <a:cs typeface="+mn-cs"/>
        </a:defRPr>
      </a:lvl1pPr>
      <a:lvl2pPr marL="456963" algn="l" defTabSz="913923" rtl="0" eaLnBrk="1" latinLnBrk="0" hangingPunct="1">
        <a:defRPr sz="1799" kern="1200">
          <a:solidFill>
            <a:schemeClr val="tx1"/>
          </a:solidFill>
          <a:latin typeface="+mn-lt"/>
          <a:ea typeface="+mn-ea"/>
          <a:cs typeface="+mn-cs"/>
        </a:defRPr>
      </a:lvl2pPr>
      <a:lvl3pPr marL="913923" algn="l" defTabSz="913923" rtl="0" eaLnBrk="1" latinLnBrk="0" hangingPunct="1">
        <a:defRPr sz="1799" kern="1200">
          <a:solidFill>
            <a:schemeClr val="tx1"/>
          </a:solidFill>
          <a:latin typeface="+mn-lt"/>
          <a:ea typeface="+mn-ea"/>
          <a:cs typeface="+mn-cs"/>
        </a:defRPr>
      </a:lvl3pPr>
      <a:lvl4pPr marL="1370889" algn="l" defTabSz="913923" rtl="0" eaLnBrk="1" latinLnBrk="0" hangingPunct="1">
        <a:defRPr sz="1799" kern="1200">
          <a:solidFill>
            <a:schemeClr val="tx1"/>
          </a:solidFill>
          <a:latin typeface="+mn-lt"/>
          <a:ea typeface="+mn-ea"/>
          <a:cs typeface="+mn-cs"/>
        </a:defRPr>
      </a:lvl4pPr>
      <a:lvl5pPr marL="1827852" algn="l" defTabSz="913923" rtl="0" eaLnBrk="1" latinLnBrk="0" hangingPunct="1">
        <a:defRPr sz="1799" kern="1200">
          <a:solidFill>
            <a:schemeClr val="tx1"/>
          </a:solidFill>
          <a:latin typeface="+mn-lt"/>
          <a:ea typeface="+mn-ea"/>
          <a:cs typeface="+mn-cs"/>
        </a:defRPr>
      </a:lvl5pPr>
      <a:lvl6pPr marL="2284812" algn="l" defTabSz="913923" rtl="0" eaLnBrk="1" latinLnBrk="0" hangingPunct="1">
        <a:defRPr sz="1799" kern="1200">
          <a:solidFill>
            <a:schemeClr val="tx1"/>
          </a:solidFill>
          <a:latin typeface="+mn-lt"/>
          <a:ea typeface="+mn-ea"/>
          <a:cs typeface="+mn-cs"/>
        </a:defRPr>
      </a:lvl6pPr>
      <a:lvl7pPr marL="2741775" algn="l" defTabSz="913923" rtl="0" eaLnBrk="1" latinLnBrk="0" hangingPunct="1">
        <a:defRPr sz="1799" kern="1200">
          <a:solidFill>
            <a:schemeClr val="tx1"/>
          </a:solidFill>
          <a:latin typeface="+mn-lt"/>
          <a:ea typeface="+mn-ea"/>
          <a:cs typeface="+mn-cs"/>
        </a:defRPr>
      </a:lvl7pPr>
      <a:lvl8pPr marL="3198740" algn="l" defTabSz="913923" rtl="0" eaLnBrk="1" latinLnBrk="0" hangingPunct="1">
        <a:defRPr sz="1799" kern="1200">
          <a:solidFill>
            <a:schemeClr val="tx1"/>
          </a:solidFill>
          <a:latin typeface="+mn-lt"/>
          <a:ea typeface="+mn-ea"/>
          <a:cs typeface="+mn-cs"/>
        </a:defRPr>
      </a:lvl8pPr>
      <a:lvl9pPr marL="3655703" algn="l" defTabSz="91392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1">
          <p15:clr>
            <a:srgbClr val="F26B43"/>
          </p15:clr>
        </p15:guide>
        <p15:guide id="2" pos="3841">
          <p15:clr>
            <a:srgbClr val="F26B43"/>
          </p15:clr>
        </p15:guide>
        <p15:guide id="3" pos="260">
          <p15:clr>
            <a:srgbClr val="F26B43"/>
          </p15:clr>
        </p15:guide>
        <p15:guide id="4" pos="7420">
          <p15:clr>
            <a:srgbClr val="F26B43"/>
          </p15:clr>
        </p15:guide>
        <p15:guide id="5" orient="horz" pos="323">
          <p15:clr>
            <a:srgbClr val="F26B43"/>
          </p15:clr>
        </p15:guide>
        <p15:guide id="6" orient="horz" pos="958">
          <p15:clr>
            <a:srgbClr val="F26B43"/>
          </p15:clr>
        </p15:guide>
        <p15:guide id="7" orient="horz" pos="398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xml"/><Relationship Id="rId1" Type="http://schemas.openxmlformats.org/officeDocument/2006/relationships/slideLayout" Target="../slideLayouts/slideLayout73.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78.xml"/><Relationship Id="rId2" Type="http://schemas.microsoft.com/office/2007/relationships/media" Target="../media/media1.mp4"/><Relationship Id="rId1" Type="http://schemas.openxmlformats.org/officeDocument/2006/relationships/video" Target="NULL" TargetMode="External"/><Relationship Id="rId5" Type="http://schemas.openxmlformats.org/officeDocument/2006/relationships/image" Target="../media/image30.png"/><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0.xml"/><Relationship Id="rId1" Type="http://schemas.openxmlformats.org/officeDocument/2006/relationships/slideLayout" Target="../slideLayouts/slideLayout78.xml"/></Relationships>
</file>

<file path=ppt/slides/_rels/slide1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1.xml"/><Relationship Id="rId1" Type="http://schemas.openxmlformats.org/officeDocument/2006/relationships/slideLayout" Target="../slideLayouts/slideLayout75.xml"/><Relationship Id="rId5" Type="http://schemas.openxmlformats.org/officeDocument/2006/relationships/image" Target="../media/image25.jpeg"/><Relationship Id="rId4" Type="http://schemas.openxmlformats.org/officeDocument/2006/relationships/image" Target="../media/image23.jpeg"/></Relationships>
</file>

<file path=ppt/slides/_rels/slide13.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75.xml"/></Relationships>
</file>

<file path=ppt/slides/_rels/slide1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2.xml"/><Relationship Id="rId1" Type="http://schemas.openxmlformats.org/officeDocument/2006/relationships/slideLayout" Target="../slideLayouts/slideLayout78.xml"/></Relationships>
</file>

<file path=ppt/slides/_rels/slide15.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13.xml"/><Relationship Id="rId1" Type="http://schemas.openxmlformats.org/officeDocument/2006/relationships/slideLayout" Target="../slideLayouts/slideLayout99.xml"/><Relationship Id="rId4" Type="http://schemas.openxmlformats.org/officeDocument/2006/relationships/image" Target="../media/image35.jpg"/></Relationships>
</file>

<file path=ppt/slides/_rels/slide1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78.xml"/></Relationships>
</file>

<file path=ppt/slides/_rels/slide1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4.xml"/><Relationship Id="rId1" Type="http://schemas.openxmlformats.org/officeDocument/2006/relationships/slideLayout" Target="../slideLayouts/slideLayout78.xml"/></Relationships>
</file>

<file path=ppt/slides/_rels/slide1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5.xml"/><Relationship Id="rId1" Type="http://schemas.openxmlformats.org/officeDocument/2006/relationships/slideLayout" Target="../slideLayouts/slideLayout78.xml"/></Relationships>
</file>

<file path=ppt/slides/_rels/slide1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6.xml"/><Relationship Id="rId1" Type="http://schemas.openxmlformats.org/officeDocument/2006/relationships/slideLayout" Target="../slideLayouts/slideLayout198.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78.xml"/></Relationships>
</file>

<file path=ppt/slides/_rels/slide20.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46.png"/><Relationship Id="rId3" Type="http://schemas.openxmlformats.org/officeDocument/2006/relationships/image" Target="../media/image41.png"/><Relationship Id="rId7" Type="http://schemas.openxmlformats.org/officeDocument/2006/relationships/image" Target="../media/image43.png"/><Relationship Id="rId12" Type="http://schemas.microsoft.com/office/2007/relationships/hdphoto" Target="../media/hdphoto5.wdp"/><Relationship Id="rId2" Type="http://schemas.openxmlformats.org/officeDocument/2006/relationships/notesSlide" Target="../notesSlides/notesSlide17.xml"/><Relationship Id="rId1" Type="http://schemas.openxmlformats.org/officeDocument/2006/relationships/slideLayout" Target="../slideLayouts/slideLayout212.xml"/><Relationship Id="rId6" Type="http://schemas.microsoft.com/office/2007/relationships/hdphoto" Target="../media/hdphoto2.wdp"/><Relationship Id="rId11" Type="http://schemas.openxmlformats.org/officeDocument/2006/relationships/image" Target="../media/image45.png"/><Relationship Id="rId5" Type="http://schemas.openxmlformats.org/officeDocument/2006/relationships/image" Target="../media/image42.png"/><Relationship Id="rId10" Type="http://schemas.microsoft.com/office/2007/relationships/hdphoto" Target="../media/hdphoto4.wdp"/><Relationship Id="rId4" Type="http://schemas.microsoft.com/office/2007/relationships/hdphoto" Target="../media/hdphoto1.wdp"/><Relationship Id="rId9" Type="http://schemas.openxmlformats.org/officeDocument/2006/relationships/image" Target="../media/image44.png"/><Relationship Id="rId14" Type="http://schemas.microsoft.com/office/2007/relationships/hdphoto" Target="../media/hdphoto6.wdp"/></Relationships>
</file>

<file path=ppt/slides/_rels/slide21.xml.rels><?xml version="1.0" encoding="UTF-8" standalone="yes"?>
<Relationships xmlns="http://schemas.openxmlformats.org/package/2006/relationships"><Relationship Id="rId8" Type="http://schemas.openxmlformats.org/officeDocument/2006/relationships/image" Target="../media/image49.emf"/><Relationship Id="rId3" Type="http://schemas.openxmlformats.org/officeDocument/2006/relationships/slideLayout" Target="../slideLayouts/slideLayout212.xml"/><Relationship Id="rId7" Type="http://schemas.openxmlformats.org/officeDocument/2006/relationships/oleObject" Target="../embeddings/oleObject52.bin"/><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image" Target="../media/image48.jpeg"/><Relationship Id="rId5" Type="http://schemas.openxmlformats.org/officeDocument/2006/relationships/image" Target="../media/image47.png"/><Relationship Id="rId4" Type="http://schemas.openxmlformats.org/officeDocument/2006/relationships/notesSlide" Target="../notesSlides/notesSlide18.xml"/></Relationships>
</file>

<file path=ppt/slides/_rels/slide22.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notesSlide" Target="../notesSlides/notesSlide19.xml"/><Relationship Id="rId1" Type="http://schemas.openxmlformats.org/officeDocument/2006/relationships/slideLayout" Target="../slideLayouts/slideLayout206.xml"/><Relationship Id="rId5" Type="http://schemas.openxmlformats.org/officeDocument/2006/relationships/image" Target="../media/image52.png"/><Relationship Id="rId4" Type="http://schemas.openxmlformats.org/officeDocument/2006/relationships/image" Target="../media/image51.emf"/></Relationships>
</file>

<file path=ppt/slides/_rels/slide23.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20.xml"/><Relationship Id="rId1" Type="http://schemas.openxmlformats.org/officeDocument/2006/relationships/slideLayout" Target="../slideLayouts/slideLayout206.xml"/></Relationships>
</file>

<file path=ppt/slides/_rels/slide24.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21.xml"/><Relationship Id="rId1" Type="http://schemas.openxmlformats.org/officeDocument/2006/relationships/slideLayout" Target="../slideLayouts/slideLayout75.xml"/><Relationship Id="rId5" Type="http://schemas.openxmlformats.org/officeDocument/2006/relationships/image" Target="../media/image25.jpeg"/><Relationship Id="rId4" Type="http://schemas.openxmlformats.org/officeDocument/2006/relationships/image" Target="../media/image23.jpeg"/></Relationships>
</file>

<file path=ppt/slides/_rels/slide25.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22.xml"/><Relationship Id="rId1" Type="http://schemas.openxmlformats.org/officeDocument/2006/relationships/slideLayout" Target="../slideLayouts/slideLayout75.xml"/></Relationships>
</file>

<file path=ppt/slides/_rels/slide26.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slideLayout" Target="../slideLayouts/slideLayout194.xml"/><Relationship Id="rId7" Type="http://schemas.openxmlformats.org/officeDocument/2006/relationships/image" Target="../media/image57.png"/><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image" Target="../media/image56.png"/><Relationship Id="rId5" Type="http://schemas.openxmlformats.org/officeDocument/2006/relationships/image" Target="../media/image18.emf"/><Relationship Id="rId10" Type="http://schemas.openxmlformats.org/officeDocument/2006/relationships/image" Target="../media/image60.png"/><Relationship Id="rId4" Type="http://schemas.openxmlformats.org/officeDocument/2006/relationships/notesSlide" Target="../notesSlides/notesSlide23.xml"/><Relationship Id="rId9" Type="http://schemas.openxmlformats.org/officeDocument/2006/relationships/image" Target="../media/image59.png"/></Relationships>
</file>

<file path=ppt/slides/_rels/slide27.xml.rels><?xml version="1.0" encoding="UTF-8" standalone="yes"?>
<Relationships xmlns="http://schemas.openxmlformats.org/package/2006/relationships"><Relationship Id="rId2" Type="http://schemas.openxmlformats.org/officeDocument/2006/relationships/image" Target="../media/image61.emf"/><Relationship Id="rId1" Type="http://schemas.openxmlformats.org/officeDocument/2006/relationships/slideLayout" Target="../slideLayouts/slideLayout78.xml"/></Relationships>
</file>

<file path=ppt/slides/_rels/slide28.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24.xml"/><Relationship Id="rId1" Type="http://schemas.openxmlformats.org/officeDocument/2006/relationships/slideLayout" Target="../slideLayouts/slideLayout78.xml"/></Relationships>
</file>

<file path=ppt/slides/_rels/slide29.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25.xml"/><Relationship Id="rId1" Type="http://schemas.openxmlformats.org/officeDocument/2006/relationships/slideLayout" Target="../slideLayouts/slideLayout78.xml"/></Relationships>
</file>

<file path=ppt/slides/_rels/slide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3.xml"/><Relationship Id="rId1" Type="http://schemas.openxmlformats.org/officeDocument/2006/relationships/slideLayout" Target="../slideLayouts/slideLayout78.xml"/></Relationships>
</file>

<file path=ppt/slides/_rels/slide3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26.xml"/><Relationship Id="rId1" Type="http://schemas.openxmlformats.org/officeDocument/2006/relationships/slideLayout" Target="../slideLayouts/slideLayout75.xml"/><Relationship Id="rId5" Type="http://schemas.openxmlformats.org/officeDocument/2006/relationships/image" Target="../media/image25.jpeg"/><Relationship Id="rId4" Type="http://schemas.openxmlformats.org/officeDocument/2006/relationships/image" Target="../media/image24.jpeg"/></Relationships>
</file>

<file path=ppt/slides/_rels/slide31.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27.xml"/><Relationship Id="rId1" Type="http://schemas.openxmlformats.org/officeDocument/2006/relationships/slideLayout" Target="../slideLayouts/slideLayout8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8.xml"/></Relationships>
</file>

<file path=ppt/slides/_rels/slide5.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5.xml"/><Relationship Id="rId1" Type="http://schemas.openxmlformats.org/officeDocument/2006/relationships/slideLayout" Target="../slideLayouts/slideLayout75.xml"/><Relationship Id="rId5" Type="http://schemas.openxmlformats.org/officeDocument/2006/relationships/image" Target="../media/image25.jpeg"/><Relationship Id="rId4" Type="http://schemas.openxmlformats.org/officeDocument/2006/relationships/image" Target="../media/image24.jpeg"/></Relationships>
</file>

<file path=ppt/slides/_rels/slide6.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6.xml"/><Relationship Id="rId1" Type="http://schemas.openxmlformats.org/officeDocument/2006/relationships/slideLayout" Target="../slideLayouts/slideLayout75.xml"/></Relationships>
</file>

<file path=ppt/slides/_rels/slide7.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7.xml"/><Relationship Id="rId1" Type="http://schemas.openxmlformats.org/officeDocument/2006/relationships/slideLayout" Target="../slideLayouts/slideLayout78.xml"/></Relationships>
</file>

<file path=ppt/slides/_rels/slide8.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8.xml"/><Relationship Id="rId1" Type="http://schemas.openxmlformats.org/officeDocument/2006/relationships/slideLayout" Target="../slideLayouts/slideLayout244.xml"/></Relationships>
</file>

<file path=ppt/slides/_rels/slide9.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22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hoek 5">
            <a:extLst>
              <a:ext uri="{FF2B5EF4-FFF2-40B4-BE49-F238E27FC236}">
                <a16:creationId xmlns:a16="http://schemas.microsoft.com/office/drawing/2014/main" id="{A3066F81-3009-4A9B-945F-50AD8CE21AAD}"/>
              </a:ext>
            </a:extLst>
          </p:cNvPr>
          <p:cNvSpPr/>
          <p:nvPr/>
        </p:nvSpPr>
        <p:spPr>
          <a:xfrm>
            <a:off x="1" y="-293589"/>
            <a:ext cx="12296632" cy="7445176"/>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400">
              <a:solidFill>
                <a:schemeClr val="bg1"/>
              </a:solidFill>
            </a:endParaRPr>
          </a:p>
        </p:txBody>
      </p:sp>
      <p:pic>
        <p:nvPicPr>
          <p:cNvPr id="21" name="Afbeelding 20">
            <a:extLst>
              <a:ext uri="{FF2B5EF4-FFF2-40B4-BE49-F238E27FC236}">
                <a16:creationId xmlns:a16="http://schemas.microsoft.com/office/drawing/2014/main" id="{8F7AEF61-ECE4-43BA-B169-7E5AF35F46A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365943" y="-293589"/>
            <a:ext cx="9242952" cy="7445176"/>
          </a:xfrm>
          <a:prstGeom prst="rect">
            <a:avLst/>
          </a:prstGeom>
        </p:spPr>
      </p:pic>
      <p:sp>
        <p:nvSpPr>
          <p:cNvPr id="2" name="Tekstvak 1"/>
          <p:cNvSpPr txBox="1"/>
          <p:nvPr/>
        </p:nvSpPr>
        <p:spPr>
          <a:xfrm>
            <a:off x="6632542" y="7301874"/>
            <a:ext cx="914400" cy="914400"/>
          </a:xfrm>
          <a:prstGeom prst="rect">
            <a:avLst/>
          </a:prstGeom>
          <a:noFill/>
        </p:spPr>
        <p:txBody>
          <a:bodyPr wrap="none" lIns="0" tIns="0" rIns="0" bIns="0" rtlCol="0">
            <a:noAutofit/>
          </a:bodyPr>
          <a:lstStyle/>
          <a:p>
            <a:pPr algn="l"/>
            <a:endParaRPr lang="nl-NL" sz="1400" dirty="0" err="1">
              <a:solidFill>
                <a:schemeClr val="tx2"/>
              </a:solidFill>
            </a:endParaRPr>
          </a:p>
        </p:txBody>
      </p:sp>
      <p:grpSp>
        <p:nvGrpSpPr>
          <p:cNvPr id="20" name="Group 4">
            <a:extLst>
              <a:ext uri="{FF2B5EF4-FFF2-40B4-BE49-F238E27FC236}">
                <a16:creationId xmlns:a16="http://schemas.microsoft.com/office/drawing/2014/main" id="{C5A3C97D-18DC-3E4E-9930-F5007087A834}"/>
              </a:ext>
            </a:extLst>
          </p:cNvPr>
          <p:cNvGrpSpPr>
            <a:grpSpLocks noChangeAspect="1"/>
          </p:cNvGrpSpPr>
          <p:nvPr/>
        </p:nvGrpSpPr>
        <p:grpSpPr bwMode="auto">
          <a:xfrm>
            <a:off x="5151862" y="689925"/>
            <a:ext cx="1884557" cy="459430"/>
            <a:chOff x="2071" y="1578"/>
            <a:chExt cx="2587" cy="631"/>
          </a:xfrm>
          <a:gradFill>
            <a:gsLst>
              <a:gs pos="50000">
                <a:srgbClr val="00E487"/>
              </a:gs>
              <a:gs pos="100000">
                <a:srgbClr val="1ECBD0"/>
              </a:gs>
            </a:gsLst>
            <a:lin ang="18900000" scaled="0"/>
          </a:gradFill>
        </p:grpSpPr>
        <p:sp>
          <p:nvSpPr>
            <p:cNvPr id="22" name="Freeform 5">
              <a:extLst>
                <a:ext uri="{FF2B5EF4-FFF2-40B4-BE49-F238E27FC236}">
                  <a16:creationId xmlns:a16="http://schemas.microsoft.com/office/drawing/2014/main" id="{5210A34F-51FD-CE4E-BAFE-4568AE811A84}"/>
                </a:ext>
              </a:extLst>
            </p:cNvPr>
            <p:cNvSpPr>
              <a:spLocks/>
            </p:cNvSpPr>
            <p:nvPr userDrawn="1"/>
          </p:nvSpPr>
          <p:spPr bwMode="auto">
            <a:xfrm>
              <a:off x="2765" y="1728"/>
              <a:ext cx="244" cy="318"/>
            </a:xfrm>
            <a:custGeom>
              <a:avLst/>
              <a:gdLst>
                <a:gd name="T0" fmla="*/ 12 w 129"/>
                <a:gd name="T1" fmla="*/ 0 h 168"/>
                <a:gd name="T2" fmla="*/ 8 w 129"/>
                <a:gd name="T3" fmla="*/ 4 h 168"/>
                <a:gd name="T4" fmla="*/ 8 w 129"/>
                <a:gd name="T5" fmla="*/ 25 h 168"/>
                <a:gd name="T6" fmla="*/ 12 w 129"/>
                <a:gd name="T7" fmla="*/ 29 h 168"/>
                <a:gd name="T8" fmla="*/ 48 w 129"/>
                <a:gd name="T9" fmla="*/ 29 h 168"/>
                <a:gd name="T10" fmla="*/ 48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2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2" y="0"/>
                  </a:moveTo>
                  <a:cubicBezTo>
                    <a:pt x="9" y="0"/>
                    <a:pt x="8" y="1"/>
                    <a:pt x="8" y="4"/>
                  </a:cubicBezTo>
                  <a:cubicBezTo>
                    <a:pt x="8" y="25"/>
                    <a:pt x="8" y="25"/>
                    <a:pt x="8" y="25"/>
                  </a:cubicBezTo>
                  <a:cubicBezTo>
                    <a:pt x="8" y="27"/>
                    <a:pt x="9" y="29"/>
                    <a:pt x="12" y="29"/>
                  </a:cubicBezTo>
                  <a:cubicBezTo>
                    <a:pt x="48" y="29"/>
                    <a:pt x="48" y="29"/>
                    <a:pt x="48" y="29"/>
                  </a:cubicBezTo>
                  <a:cubicBezTo>
                    <a:pt x="48" y="140"/>
                    <a:pt x="48" y="140"/>
                    <a:pt x="48"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8" y="140"/>
                    <a:pt x="125" y="140"/>
                  </a:cubicBezTo>
                  <a:cubicBezTo>
                    <a:pt x="76" y="140"/>
                    <a:pt x="76" y="140"/>
                    <a:pt x="76" y="140"/>
                  </a:cubicBezTo>
                  <a:cubicBezTo>
                    <a:pt x="76" y="4"/>
                    <a:pt x="76" y="4"/>
                    <a:pt x="76" y="4"/>
                  </a:cubicBezTo>
                  <a:cubicBezTo>
                    <a:pt x="76" y="1"/>
                    <a:pt x="75" y="0"/>
                    <a:pt x="72" y="0"/>
                  </a:cubicBezTo>
                  <a:lnTo>
                    <a:pt x="1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a:p>
          </p:txBody>
        </p:sp>
        <p:sp>
          <p:nvSpPr>
            <p:cNvPr id="23" name="Freeform 6">
              <a:extLst>
                <a:ext uri="{FF2B5EF4-FFF2-40B4-BE49-F238E27FC236}">
                  <a16:creationId xmlns:a16="http://schemas.microsoft.com/office/drawing/2014/main" id="{18FF19D5-86B4-B540-9046-CB6AED88B738}"/>
                </a:ext>
              </a:extLst>
            </p:cNvPr>
            <p:cNvSpPr>
              <a:spLocks/>
            </p:cNvSpPr>
            <p:nvPr userDrawn="1"/>
          </p:nvSpPr>
          <p:spPr bwMode="auto">
            <a:xfrm>
              <a:off x="3798" y="1728"/>
              <a:ext cx="244" cy="318"/>
            </a:xfrm>
            <a:custGeom>
              <a:avLst/>
              <a:gdLst>
                <a:gd name="T0" fmla="*/ 11 w 129"/>
                <a:gd name="T1" fmla="*/ 0 h 168"/>
                <a:gd name="T2" fmla="*/ 8 w 129"/>
                <a:gd name="T3" fmla="*/ 4 h 168"/>
                <a:gd name="T4" fmla="*/ 8 w 129"/>
                <a:gd name="T5" fmla="*/ 25 h 168"/>
                <a:gd name="T6" fmla="*/ 11 w 129"/>
                <a:gd name="T7" fmla="*/ 29 h 168"/>
                <a:gd name="T8" fmla="*/ 47 w 129"/>
                <a:gd name="T9" fmla="*/ 29 h 168"/>
                <a:gd name="T10" fmla="*/ 47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1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1" y="0"/>
                  </a:moveTo>
                  <a:cubicBezTo>
                    <a:pt x="9" y="0"/>
                    <a:pt x="8" y="1"/>
                    <a:pt x="8" y="4"/>
                  </a:cubicBezTo>
                  <a:cubicBezTo>
                    <a:pt x="8" y="25"/>
                    <a:pt x="8" y="25"/>
                    <a:pt x="8" y="25"/>
                  </a:cubicBezTo>
                  <a:cubicBezTo>
                    <a:pt x="8" y="27"/>
                    <a:pt x="9" y="29"/>
                    <a:pt x="11" y="29"/>
                  </a:cubicBezTo>
                  <a:cubicBezTo>
                    <a:pt x="47" y="29"/>
                    <a:pt x="47" y="29"/>
                    <a:pt x="47" y="29"/>
                  </a:cubicBezTo>
                  <a:cubicBezTo>
                    <a:pt x="47" y="140"/>
                    <a:pt x="47" y="140"/>
                    <a:pt x="47"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7" y="140"/>
                    <a:pt x="125" y="140"/>
                  </a:cubicBezTo>
                  <a:cubicBezTo>
                    <a:pt x="76" y="140"/>
                    <a:pt x="76" y="140"/>
                    <a:pt x="76" y="140"/>
                  </a:cubicBezTo>
                  <a:cubicBezTo>
                    <a:pt x="76" y="4"/>
                    <a:pt x="76" y="4"/>
                    <a:pt x="76" y="4"/>
                  </a:cubicBezTo>
                  <a:cubicBezTo>
                    <a:pt x="75" y="1"/>
                    <a:pt x="74" y="0"/>
                    <a:pt x="72" y="0"/>
                  </a:cubicBezTo>
                  <a:lnTo>
                    <a:pt x="1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a:p>
          </p:txBody>
        </p:sp>
        <p:sp>
          <p:nvSpPr>
            <p:cNvPr id="24" name="Freeform 7">
              <a:extLst>
                <a:ext uri="{FF2B5EF4-FFF2-40B4-BE49-F238E27FC236}">
                  <a16:creationId xmlns:a16="http://schemas.microsoft.com/office/drawing/2014/main" id="{DE6C01B2-0E07-E64E-96F6-F5820BC7781F}"/>
                </a:ext>
              </a:extLst>
            </p:cNvPr>
            <p:cNvSpPr>
              <a:spLocks/>
            </p:cNvSpPr>
            <p:nvPr userDrawn="1"/>
          </p:nvSpPr>
          <p:spPr bwMode="auto">
            <a:xfrm>
              <a:off x="4361" y="1728"/>
              <a:ext cx="297" cy="464"/>
            </a:xfrm>
            <a:custGeom>
              <a:avLst/>
              <a:gdLst>
                <a:gd name="T0" fmla="*/ 132 w 157"/>
                <a:gd name="T1" fmla="*/ 0 h 245"/>
                <a:gd name="T2" fmla="*/ 127 w 157"/>
                <a:gd name="T3" fmla="*/ 3 h 245"/>
                <a:gd name="T4" fmla="*/ 127 w 157"/>
                <a:gd name="T5" fmla="*/ 3 h 245"/>
                <a:gd name="T6" fmla="*/ 79 w 157"/>
                <a:gd name="T7" fmla="*/ 128 h 245"/>
                <a:gd name="T8" fmla="*/ 30 w 157"/>
                <a:gd name="T9" fmla="*/ 4 h 245"/>
                <a:gd name="T10" fmla="*/ 25 w 157"/>
                <a:gd name="T11" fmla="*/ 0 h 245"/>
                <a:gd name="T12" fmla="*/ 4 w 157"/>
                <a:gd name="T13" fmla="*/ 0 h 245"/>
                <a:gd name="T14" fmla="*/ 0 w 157"/>
                <a:gd name="T15" fmla="*/ 3 h 245"/>
                <a:gd name="T16" fmla="*/ 1 w 157"/>
                <a:gd name="T17" fmla="*/ 6 h 245"/>
                <a:gd name="T18" fmla="*/ 1 w 157"/>
                <a:gd name="T19" fmla="*/ 6 h 245"/>
                <a:gd name="T20" fmla="*/ 1 w 157"/>
                <a:gd name="T21" fmla="*/ 6 h 245"/>
                <a:gd name="T22" fmla="*/ 64 w 157"/>
                <a:gd name="T23" fmla="*/ 168 h 245"/>
                <a:gd name="T24" fmla="*/ 59 w 157"/>
                <a:gd name="T25" fmla="*/ 182 h 245"/>
                <a:gd name="T26" fmla="*/ 48 w 157"/>
                <a:gd name="T27" fmla="*/ 205 h 245"/>
                <a:gd name="T28" fmla="*/ 38 w 157"/>
                <a:gd name="T29" fmla="*/ 215 h 245"/>
                <a:gd name="T30" fmla="*/ 30 w 157"/>
                <a:gd name="T31" fmla="*/ 217 h 245"/>
                <a:gd name="T32" fmla="*/ 26 w 157"/>
                <a:gd name="T33" fmla="*/ 216 h 245"/>
                <a:gd name="T34" fmla="*/ 14 w 157"/>
                <a:gd name="T35" fmla="*/ 213 h 245"/>
                <a:gd name="T36" fmla="*/ 7 w 157"/>
                <a:gd name="T37" fmla="*/ 210 h 245"/>
                <a:gd name="T38" fmla="*/ 3 w 157"/>
                <a:gd name="T39" fmla="*/ 215 h 245"/>
                <a:gd name="T40" fmla="*/ 3 w 157"/>
                <a:gd name="T41" fmla="*/ 233 h 245"/>
                <a:gd name="T42" fmla="*/ 3 w 157"/>
                <a:gd name="T43" fmla="*/ 233 h 245"/>
                <a:gd name="T44" fmla="*/ 7 w 157"/>
                <a:gd name="T45" fmla="*/ 240 h 245"/>
                <a:gd name="T46" fmla="*/ 32 w 157"/>
                <a:gd name="T47" fmla="*/ 245 h 245"/>
                <a:gd name="T48" fmla="*/ 54 w 157"/>
                <a:gd name="T49" fmla="*/ 238 h 245"/>
                <a:gd name="T50" fmla="*/ 73 w 157"/>
                <a:gd name="T51" fmla="*/ 220 h 245"/>
                <a:gd name="T52" fmla="*/ 79 w 157"/>
                <a:gd name="T53" fmla="*/ 208 h 245"/>
                <a:gd name="T54" fmla="*/ 156 w 157"/>
                <a:gd name="T55" fmla="*/ 6 h 245"/>
                <a:gd name="T56" fmla="*/ 157 w 157"/>
                <a:gd name="T57" fmla="*/ 3 h 245"/>
                <a:gd name="T58" fmla="*/ 153 w 157"/>
                <a:gd name="T59" fmla="*/ 0 h 245"/>
                <a:gd name="T60" fmla="*/ 132 w 157"/>
                <a:gd name="T6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7" h="245">
                  <a:moveTo>
                    <a:pt x="132" y="0"/>
                  </a:moveTo>
                  <a:cubicBezTo>
                    <a:pt x="129" y="0"/>
                    <a:pt x="128" y="1"/>
                    <a:pt x="127" y="3"/>
                  </a:cubicBezTo>
                  <a:cubicBezTo>
                    <a:pt x="127" y="3"/>
                    <a:pt x="127" y="3"/>
                    <a:pt x="127" y="3"/>
                  </a:cubicBezTo>
                  <a:cubicBezTo>
                    <a:pt x="79" y="128"/>
                    <a:pt x="79" y="128"/>
                    <a:pt x="79" y="128"/>
                  </a:cubicBezTo>
                  <a:cubicBezTo>
                    <a:pt x="30" y="4"/>
                    <a:pt x="30" y="4"/>
                    <a:pt x="30" y="4"/>
                  </a:cubicBezTo>
                  <a:cubicBezTo>
                    <a:pt x="29" y="1"/>
                    <a:pt x="28" y="0"/>
                    <a:pt x="25" y="0"/>
                  </a:cubicBezTo>
                  <a:cubicBezTo>
                    <a:pt x="4" y="0"/>
                    <a:pt x="4" y="0"/>
                    <a:pt x="4" y="0"/>
                  </a:cubicBezTo>
                  <a:cubicBezTo>
                    <a:pt x="2" y="0"/>
                    <a:pt x="0" y="1"/>
                    <a:pt x="0" y="3"/>
                  </a:cubicBezTo>
                  <a:cubicBezTo>
                    <a:pt x="0" y="4"/>
                    <a:pt x="1" y="5"/>
                    <a:pt x="1" y="6"/>
                  </a:cubicBezTo>
                  <a:cubicBezTo>
                    <a:pt x="1" y="6"/>
                    <a:pt x="1" y="6"/>
                    <a:pt x="1" y="6"/>
                  </a:cubicBezTo>
                  <a:cubicBezTo>
                    <a:pt x="1" y="6"/>
                    <a:pt x="1" y="6"/>
                    <a:pt x="1" y="6"/>
                  </a:cubicBezTo>
                  <a:cubicBezTo>
                    <a:pt x="64" y="168"/>
                    <a:pt x="64" y="168"/>
                    <a:pt x="64" y="168"/>
                  </a:cubicBezTo>
                  <a:cubicBezTo>
                    <a:pt x="59" y="182"/>
                    <a:pt x="59" y="182"/>
                    <a:pt x="59" y="182"/>
                  </a:cubicBezTo>
                  <a:cubicBezTo>
                    <a:pt x="57" y="187"/>
                    <a:pt x="53" y="199"/>
                    <a:pt x="48" y="205"/>
                  </a:cubicBezTo>
                  <a:cubicBezTo>
                    <a:pt x="44" y="211"/>
                    <a:pt x="42" y="213"/>
                    <a:pt x="38" y="215"/>
                  </a:cubicBezTo>
                  <a:cubicBezTo>
                    <a:pt x="35" y="216"/>
                    <a:pt x="33" y="217"/>
                    <a:pt x="30" y="217"/>
                  </a:cubicBezTo>
                  <a:cubicBezTo>
                    <a:pt x="28" y="217"/>
                    <a:pt x="27" y="217"/>
                    <a:pt x="26" y="216"/>
                  </a:cubicBezTo>
                  <a:cubicBezTo>
                    <a:pt x="22" y="216"/>
                    <a:pt x="18" y="214"/>
                    <a:pt x="14" y="213"/>
                  </a:cubicBezTo>
                  <a:cubicBezTo>
                    <a:pt x="11" y="212"/>
                    <a:pt x="9" y="210"/>
                    <a:pt x="7" y="210"/>
                  </a:cubicBezTo>
                  <a:cubicBezTo>
                    <a:pt x="5" y="210"/>
                    <a:pt x="3" y="212"/>
                    <a:pt x="3" y="215"/>
                  </a:cubicBezTo>
                  <a:cubicBezTo>
                    <a:pt x="3" y="233"/>
                    <a:pt x="3" y="233"/>
                    <a:pt x="3" y="233"/>
                  </a:cubicBezTo>
                  <a:cubicBezTo>
                    <a:pt x="3" y="233"/>
                    <a:pt x="3" y="233"/>
                    <a:pt x="3" y="233"/>
                  </a:cubicBezTo>
                  <a:cubicBezTo>
                    <a:pt x="3" y="236"/>
                    <a:pt x="4" y="238"/>
                    <a:pt x="7" y="240"/>
                  </a:cubicBezTo>
                  <a:cubicBezTo>
                    <a:pt x="15" y="243"/>
                    <a:pt x="21" y="245"/>
                    <a:pt x="32" y="245"/>
                  </a:cubicBezTo>
                  <a:cubicBezTo>
                    <a:pt x="41" y="244"/>
                    <a:pt x="47" y="242"/>
                    <a:pt x="54" y="238"/>
                  </a:cubicBezTo>
                  <a:cubicBezTo>
                    <a:pt x="61" y="233"/>
                    <a:pt x="67" y="227"/>
                    <a:pt x="73" y="220"/>
                  </a:cubicBezTo>
                  <a:cubicBezTo>
                    <a:pt x="75" y="216"/>
                    <a:pt x="77" y="212"/>
                    <a:pt x="79" y="208"/>
                  </a:cubicBezTo>
                  <a:cubicBezTo>
                    <a:pt x="83" y="200"/>
                    <a:pt x="144" y="40"/>
                    <a:pt x="156" y="6"/>
                  </a:cubicBezTo>
                  <a:cubicBezTo>
                    <a:pt x="157" y="5"/>
                    <a:pt x="157" y="4"/>
                    <a:pt x="157" y="3"/>
                  </a:cubicBezTo>
                  <a:cubicBezTo>
                    <a:pt x="157" y="1"/>
                    <a:pt x="155" y="0"/>
                    <a:pt x="153" y="0"/>
                  </a:cubicBezTo>
                  <a:lnTo>
                    <a:pt x="13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a:p>
          </p:txBody>
        </p:sp>
        <p:sp>
          <p:nvSpPr>
            <p:cNvPr id="25" name="Freeform 8">
              <a:extLst>
                <a:ext uri="{FF2B5EF4-FFF2-40B4-BE49-F238E27FC236}">
                  <a16:creationId xmlns:a16="http://schemas.microsoft.com/office/drawing/2014/main" id="{7BB42D92-0727-314E-A6D6-9FE8068A05F7}"/>
                </a:ext>
              </a:extLst>
            </p:cNvPr>
            <p:cNvSpPr>
              <a:spLocks/>
            </p:cNvSpPr>
            <p:nvPr userDrawn="1"/>
          </p:nvSpPr>
          <p:spPr bwMode="auto">
            <a:xfrm>
              <a:off x="3457" y="1726"/>
              <a:ext cx="263" cy="322"/>
            </a:xfrm>
            <a:custGeom>
              <a:avLst/>
              <a:gdLst>
                <a:gd name="T0" fmla="*/ 28 w 139"/>
                <a:gd name="T1" fmla="*/ 21 h 170"/>
                <a:gd name="T2" fmla="*/ 28 w 139"/>
                <a:gd name="T3" fmla="*/ 6 h 170"/>
                <a:gd name="T4" fmla="*/ 25 w 139"/>
                <a:gd name="T5" fmla="*/ 3 h 170"/>
                <a:gd name="T6" fmla="*/ 4 w 139"/>
                <a:gd name="T7" fmla="*/ 3 h 170"/>
                <a:gd name="T8" fmla="*/ 0 w 139"/>
                <a:gd name="T9" fmla="*/ 6 h 170"/>
                <a:gd name="T10" fmla="*/ 0 w 139"/>
                <a:gd name="T11" fmla="*/ 167 h 170"/>
                <a:gd name="T12" fmla="*/ 4 w 139"/>
                <a:gd name="T13" fmla="*/ 170 h 170"/>
                <a:gd name="T14" fmla="*/ 25 w 139"/>
                <a:gd name="T15" fmla="*/ 170 h 170"/>
                <a:gd name="T16" fmla="*/ 28 w 139"/>
                <a:gd name="T17" fmla="*/ 167 h 170"/>
                <a:gd name="T18" fmla="*/ 28 w 139"/>
                <a:gd name="T19" fmla="*/ 68 h 170"/>
                <a:gd name="T20" fmla="*/ 70 w 139"/>
                <a:gd name="T21" fmla="*/ 28 h 170"/>
                <a:gd name="T22" fmla="*/ 111 w 139"/>
                <a:gd name="T23" fmla="*/ 68 h 170"/>
                <a:gd name="T24" fmla="*/ 111 w 139"/>
                <a:gd name="T25" fmla="*/ 167 h 170"/>
                <a:gd name="T26" fmla="*/ 111 w 139"/>
                <a:gd name="T27" fmla="*/ 167 h 170"/>
                <a:gd name="T28" fmla="*/ 114 w 139"/>
                <a:gd name="T29" fmla="*/ 170 h 170"/>
                <a:gd name="T30" fmla="*/ 136 w 139"/>
                <a:gd name="T31" fmla="*/ 170 h 170"/>
                <a:gd name="T32" fmla="*/ 139 w 139"/>
                <a:gd name="T33" fmla="*/ 167 h 170"/>
                <a:gd name="T34" fmla="*/ 139 w 139"/>
                <a:gd name="T35" fmla="*/ 68 h 170"/>
                <a:gd name="T36" fmla="*/ 139 w 139"/>
                <a:gd name="T37" fmla="*/ 68 h 170"/>
                <a:gd name="T38" fmla="*/ 139 w 139"/>
                <a:gd name="T39" fmla="*/ 68 h 170"/>
                <a:gd name="T40" fmla="*/ 120 w 139"/>
                <a:gd name="T41" fmla="*/ 20 h 170"/>
                <a:gd name="T42" fmla="*/ 70 w 139"/>
                <a:gd name="T43" fmla="*/ 0 h 170"/>
                <a:gd name="T44" fmla="*/ 28 w 139"/>
                <a:gd name="T45" fmla="*/ 2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170">
                  <a:moveTo>
                    <a:pt x="28" y="21"/>
                  </a:moveTo>
                  <a:cubicBezTo>
                    <a:pt x="28" y="6"/>
                    <a:pt x="28" y="6"/>
                    <a:pt x="28" y="6"/>
                  </a:cubicBezTo>
                  <a:cubicBezTo>
                    <a:pt x="28" y="4"/>
                    <a:pt x="27" y="3"/>
                    <a:pt x="25" y="3"/>
                  </a:cubicBezTo>
                  <a:cubicBezTo>
                    <a:pt x="4" y="3"/>
                    <a:pt x="4" y="3"/>
                    <a:pt x="4" y="3"/>
                  </a:cubicBezTo>
                  <a:cubicBezTo>
                    <a:pt x="1" y="3"/>
                    <a:pt x="0" y="4"/>
                    <a:pt x="0" y="6"/>
                  </a:cubicBezTo>
                  <a:cubicBezTo>
                    <a:pt x="0" y="167"/>
                    <a:pt x="0" y="167"/>
                    <a:pt x="0" y="167"/>
                  </a:cubicBezTo>
                  <a:cubicBezTo>
                    <a:pt x="0" y="169"/>
                    <a:pt x="1" y="170"/>
                    <a:pt x="4" y="170"/>
                  </a:cubicBezTo>
                  <a:cubicBezTo>
                    <a:pt x="25" y="170"/>
                    <a:pt x="25" y="170"/>
                    <a:pt x="25" y="170"/>
                  </a:cubicBezTo>
                  <a:cubicBezTo>
                    <a:pt x="27" y="170"/>
                    <a:pt x="28" y="169"/>
                    <a:pt x="28" y="167"/>
                  </a:cubicBezTo>
                  <a:cubicBezTo>
                    <a:pt x="28" y="68"/>
                    <a:pt x="28" y="68"/>
                    <a:pt x="28" y="68"/>
                  </a:cubicBezTo>
                  <a:cubicBezTo>
                    <a:pt x="28" y="49"/>
                    <a:pt x="42" y="28"/>
                    <a:pt x="70" y="28"/>
                  </a:cubicBezTo>
                  <a:cubicBezTo>
                    <a:pt x="97" y="28"/>
                    <a:pt x="111" y="49"/>
                    <a:pt x="111" y="68"/>
                  </a:cubicBezTo>
                  <a:cubicBezTo>
                    <a:pt x="111" y="167"/>
                    <a:pt x="111" y="167"/>
                    <a:pt x="111" y="167"/>
                  </a:cubicBezTo>
                  <a:cubicBezTo>
                    <a:pt x="111" y="167"/>
                    <a:pt x="111" y="167"/>
                    <a:pt x="111" y="167"/>
                  </a:cubicBezTo>
                  <a:cubicBezTo>
                    <a:pt x="111" y="169"/>
                    <a:pt x="112" y="170"/>
                    <a:pt x="114" y="170"/>
                  </a:cubicBezTo>
                  <a:cubicBezTo>
                    <a:pt x="136" y="170"/>
                    <a:pt x="136" y="170"/>
                    <a:pt x="136" y="170"/>
                  </a:cubicBezTo>
                  <a:cubicBezTo>
                    <a:pt x="138" y="170"/>
                    <a:pt x="139" y="169"/>
                    <a:pt x="139" y="167"/>
                  </a:cubicBezTo>
                  <a:cubicBezTo>
                    <a:pt x="139" y="68"/>
                    <a:pt x="139" y="68"/>
                    <a:pt x="139" y="68"/>
                  </a:cubicBezTo>
                  <a:cubicBezTo>
                    <a:pt x="139" y="68"/>
                    <a:pt x="139" y="68"/>
                    <a:pt x="139" y="68"/>
                  </a:cubicBezTo>
                  <a:cubicBezTo>
                    <a:pt x="139" y="68"/>
                    <a:pt x="139" y="68"/>
                    <a:pt x="139" y="68"/>
                  </a:cubicBezTo>
                  <a:cubicBezTo>
                    <a:pt x="139" y="51"/>
                    <a:pt x="133" y="35"/>
                    <a:pt x="120" y="20"/>
                  </a:cubicBezTo>
                  <a:cubicBezTo>
                    <a:pt x="109" y="7"/>
                    <a:pt x="88" y="0"/>
                    <a:pt x="70" y="0"/>
                  </a:cubicBezTo>
                  <a:cubicBezTo>
                    <a:pt x="41" y="0"/>
                    <a:pt x="28" y="21"/>
                    <a:pt x="28" y="21"/>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a:p>
          </p:txBody>
        </p:sp>
        <p:sp>
          <p:nvSpPr>
            <p:cNvPr id="26" name="Freeform 9">
              <a:extLst>
                <a:ext uri="{FF2B5EF4-FFF2-40B4-BE49-F238E27FC236}">
                  <a16:creationId xmlns:a16="http://schemas.microsoft.com/office/drawing/2014/main" id="{23D379E5-EE96-C942-98B9-FF5A59C8FCED}"/>
                </a:ext>
              </a:extLst>
            </p:cNvPr>
            <p:cNvSpPr>
              <a:spLocks/>
            </p:cNvSpPr>
            <p:nvPr userDrawn="1"/>
          </p:nvSpPr>
          <p:spPr bwMode="auto">
            <a:xfrm>
              <a:off x="2264" y="1724"/>
              <a:ext cx="246" cy="328"/>
            </a:xfrm>
            <a:custGeom>
              <a:avLst/>
              <a:gdLst>
                <a:gd name="T0" fmla="*/ 4 w 130"/>
                <a:gd name="T1" fmla="*/ 48 h 173"/>
                <a:gd name="T2" fmla="*/ 56 w 130"/>
                <a:gd name="T3" fmla="*/ 97 h 173"/>
                <a:gd name="T4" fmla="*/ 57 w 130"/>
                <a:gd name="T5" fmla="*/ 98 h 173"/>
                <a:gd name="T6" fmla="*/ 101 w 130"/>
                <a:gd name="T7" fmla="*/ 124 h 173"/>
                <a:gd name="T8" fmla="*/ 66 w 130"/>
                <a:gd name="T9" fmla="*/ 146 h 173"/>
                <a:gd name="T10" fmla="*/ 30 w 130"/>
                <a:gd name="T11" fmla="*/ 118 h 173"/>
                <a:gd name="T12" fmla="*/ 26 w 130"/>
                <a:gd name="T13" fmla="*/ 114 h 173"/>
                <a:gd name="T14" fmla="*/ 5 w 130"/>
                <a:gd name="T15" fmla="*/ 114 h 173"/>
                <a:gd name="T16" fmla="*/ 0 w 130"/>
                <a:gd name="T17" fmla="*/ 118 h 173"/>
                <a:gd name="T18" fmla="*/ 65 w 130"/>
                <a:gd name="T19" fmla="*/ 173 h 173"/>
                <a:gd name="T20" fmla="*/ 130 w 130"/>
                <a:gd name="T21" fmla="*/ 120 h 173"/>
                <a:gd name="T22" fmla="*/ 72 w 130"/>
                <a:gd name="T23" fmla="*/ 74 h 173"/>
                <a:gd name="T24" fmla="*/ 32 w 130"/>
                <a:gd name="T25" fmla="*/ 48 h 173"/>
                <a:gd name="T26" fmla="*/ 63 w 130"/>
                <a:gd name="T27" fmla="*/ 27 h 173"/>
                <a:gd name="T28" fmla="*/ 97 w 130"/>
                <a:gd name="T29" fmla="*/ 49 h 173"/>
                <a:gd name="T30" fmla="*/ 102 w 130"/>
                <a:gd name="T31" fmla="*/ 53 h 173"/>
                <a:gd name="T32" fmla="*/ 120 w 130"/>
                <a:gd name="T33" fmla="*/ 53 h 173"/>
                <a:gd name="T34" fmla="*/ 125 w 130"/>
                <a:gd name="T35" fmla="*/ 48 h 173"/>
                <a:gd name="T36" fmla="*/ 63 w 130"/>
                <a:gd name="T37" fmla="*/ 0 h 173"/>
                <a:gd name="T38" fmla="*/ 4 w 130"/>
                <a:gd name="T39" fmla="*/ 4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173">
                  <a:moveTo>
                    <a:pt x="4" y="48"/>
                  </a:moveTo>
                  <a:cubicBezTo>
                    <a:pt x="4" y="77"/>
                    <a:pt x="19" y="91"/>
                    <a:pt x="56" y="97"/>
                  </a:cubicBezTo>
                  <a:cubicBezTo>
                    <a:pt x="57" y="98"/>
                    <a:pt x="57" y="98"/>
                    <a:pt x="57" y="98"/>
                  </a:cubicBezTo>
                  <a:cubicBezTo>
                    <a:pt x="83" y="102"/>
                    <a:pt x="101" y="105"/>
                    <a:pt x="101" y="124"/>
                  </a:cubicBezTo>
                  <a:cubicBezTo>
                    <a:pt x="101" y="139"/>
                    <a:pt x="83" y="146"/>
                    <a:pt x="66" y="146"/>
                  </a:cubicBezTo>
                  <a:cubicBezTo>
                    <a:pt x="46" y="146"/>
                    <a:pt x="33" y="136"/>
                    <a:pt x="30" y="118"/>
                  </a:cubicBezTo>
                  <a:cubicBezTo>
                    <a:pt x="30" y="116"/>
                    <a:pt x="29" y="114"/>
                    <a:pt x="26" y="114"/>
                  </a:cubicBezTo>
                  <a:cubicBezTo>
                    <a:pt x="5" y="114"/>
                    <a:pt x="5" y="114"/>
                    <a:pt x="5" y="114"/>
                  </a:cubicBezTo>
                  <a:cubicBezTo>
                    <a:pt x="2" y="114"/>
                    <a:pt x="0" y="116"/>
                    <a:pt x="0" y="118"/>
                  </a:cubicBezTo>
                  <a:cubicBezTo>
                    <a:pt x="0" y="150"/>
                    <a:pt x="27" y="173"/>
                    <a:pt x="65" y="173"/>
                  </a:cubicBezTo>
                  <a:cubicBezTo>
                    <a:pt x="104" y="173"/>
                    <a:pt x="130" y="151"/>
                    <a:pt x="130" y="120"/>
                  </a:cubicBezTo>
                  <a:cubicBezTo>
                    <a:pt x="130" y="86"/>
                    <a:pt x="100" y="79"/>
                    <a:pt x="72" y="74"/>
                  </a:cubicBezTo>
                  <a:cubicBezTo>
                    <a:pt x="37" y="68"/>
                    <a:pt x="32" y="58"/>
                    <a:pt x="32" y="48"/>
                  </a:cubicBezTo>
                  <a:cubicBezTo>
                    <a:pt x="32" y="32"/>
                    <a:pt x="49" y="27"/>
                    <a:pt x="63" y="27"/>
                  </a:cubicBezTo>
                  <a:cubicBezTo>
                    <a:pt x="82" y="27"/>
                    <a:pt x="94" y="34"/>
                    <a:pt x="97" y="49"/>
                  </a:cubicBezTo>
                  <a:cubicBezTo>
                    <a:pt x="98" y="51"/>
                    <a:pt x="98" y="53"/>
                    <a:pt x="102" y="53"/>
                  </a:cubicBezTo>
                  <a:cubicBezTo>
                    <a:pt x="120" y="53"/>
                    <a:pt x="120" y="53"/>
                    <a:pt x="120" y="53"/>
                  </a:cubicBezTo>
                  <a:cubicBezTo>
                    <a:pt x="123" y="53"/>
                    <a:pt x="125" y="51"/>
                    <a:pt x="125" y="48"/>
                  </a:cubicBezTo>
                  <a:cubicBezTo>
                    <a:pt x="125" y="19"/>
                    <a:pt x="100" y="0"/>
                    <a:pt x="63" y="0"/>
                  </a:cubicBezTo>
                  <a:cubicBezTo>
                    <a:pt x="22" y="0"/>
                    <a:pt x="4" y="25"/>
                    <a:pt x="4" y="48"/>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a:p>
          </p:txBody>
        </p:sp>
        <p:sp>
          <p:nvSpPr>
            <p:cNvPr id="27" name="Freeform 10">
              <a:extLst>
                <a:ext uri="{FF2B5EF4-FFF2-40B4-BE49-F238E27FC236}">
                  <a16:creationId xmlns:a16="http://schemas.microsoft.com/office/drawing/2014/main" id="{078FF0BB-DC21-6842-8D36-148B6D984742}"/>
                </a:ext>
              </a:extLst>
            </p:cNvPr>
            <p:cNvSpPr>
              <a:spLocks/>
            </p:cNvSpPr>
            <p:nvPr userDrawn="1"/>
          </p:nvSpPr>
          <p:spPr bwMode="auto">
            <a:xfrm>
              <a:off x="3062" y="1722"/>
              <a:ext cx="312" cy="474"/>
            </a:xfrm>
            <a:custGeom>
              <a:avLst/>
              <a:gdLst>
                <a:gd name="T0" fmla="*/ 67 w 165"/>
                <a:gd name="T1" fmla="*/ 0 h 250"/>
                <a:gd name="T2" fmla="*/ 0 w 165"/>
                <a:gd name="T3" fmla="*/ 86 h 250"/>
                <a:gd name="T4" fmla="*/ 82 w 165"/>
                <a:gd name="T5" fmla="*/ 174 h 250"/>
                <a:gd name="T6" fmla="*/ 137 w 165"/>
                <a:gd name="T7" fmla="*/ 152 h 250"/>
                <a:gd name="T8" fmla="*/ 137 w 165"/>
                <a:gd name="T9" fmla="*/ 173 h 250"/>
                <a:gd name="T10" fmla="*/ 89 w 165"/>
                <a:gd name="T11" fmla="*/ 222 h 250"/>
                <a:gd name="T12" fmla="*/ 48 w 165"/>
                <a:gd name="T13" fmla="*/ 194 h 250"/>
                <a:gd name="T14" fmla="*/ 43 w 165"/>
                <a:gd name="T15" fmla="*/ 190 h 250"/>
                <a:gd name="T16" fmla="*/ 24 w 165"/>
                <a:gd name="T17" fmla="*/ 190 h 250"/>
                <a:gd name="T18" fmla="*/ 19 w 165"/>
                <a:gd name="T19" fmla="*/ 195 h 250"/>
                <a:gd name="T20" fmla="*/ 89 w 165"/>
                <a:gd name="T21" fmla="*/ 250 h 250"/>
                <a:gd name="T22" fmla="*/ 165 w 165"/>
                <a:gd name="T23" fmla="*/ 174 h 250"/>
                <a:gd name="T24" fmla="*/ 165 w 165"/>
                <a:gd name="T25" fmla="*/ 7 h 250"/>
                <a:gd name="T26" fmla="*/ 162 w 165"/>
                <a:gd name="T27" fmla="*/ 4 h 250"/>
                <a:gd name="T28" fmla="*/ 140 w 165"/>
                <a:gd name="T29" fmla="*/ 4 h 250"/>
                <a:gd name="T30" fmla="*/ 137 w 165"/>
                <a:gd name="T31" fmla="*/ 7 h 250"/>
                <a:gd name="T32" fmla="*/ 137 w 165"/>
                <a:gd name="T33" fmla="*/ 21 h 250"/>
                <a:gd name="T34" fmla="*/ 99 w 165"/>
                <a:gd name="T35" fmla="*/ 0 h 250"/>
                <a:gd name="T36" fmla="*/ 96 w 165"/>
                <a:gd name="T37" fmla="*/ 3 h 250"/>
                <a:gd name="T38" fmla="*/ 96 w 165"/>
                <a:gd name="T39" fmla="*/ 28 h 250"/>
                <a:gd name="T40" fmla="*/ 97 w 165"/>
                <a:gd name="T41" fmla="*/ 31 h 250"/>
                <a:gd name="T42" fmla="*/ 138 w 165"/>
                <a:gd name="T43" fmla="*/ 87 h 250"/>
                <a:gd name="T44" fmla="*/ 83 w 165"/>
                <a:gd name="T45" fmla="*/ 146 h 250"/>
                <a:gd name="T46" fmla="*/ 29 w 165"/>
                <a:gd name="T47" fmla="*/ 87 h 250"/>
                <a:gd name="T48" fmla="*/ 68 w 165"/>
                <a:gd name="T49" fmla="*/ 31 h 250"/>
                <a:gd name="T50" fmla="*/ 70 w 165"/>
                <a:gd name="T51" fmla="*/ 29 h 250"/>
                <a:gd name="T52" fmla="*/ 70 w 165"/>
                <a:gd name="T53" fmla="*/ 3 h 250"/>
                <a:gd name="T54" fmla="*/ 67 w 165"/>
                <a:gd name="T55" fmla="*/ 0 h 250"/>
                <a:gd name="T56" fmla="*/ 67 w 165"/>
                <a:gd name="T57"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5" h="250">
                  <a:moveTo>
                    <a:pt x="67" y="0"/>
                  </a:moveTo>
                  <a:cubicBezTo>
                    <a:pt x="29" y="8"/>
                    <a:pt x="0" y="44"/>
                    <a:pt x="0" y="86"/>
                  </a:cubicBezTo>
                  <a:cubicBezTo>
                    <a:pt x="0" y="135"/>
                    <a:pt x="37" y="174"/>
                    <a:pt x="82" y="174"/>
                  </a:cubicBezTo>
                  <a:cubicBezTo>
                    <a:pt x="103" y="174"/>
                    <a:pt x="122" y="166"/>
                    <a:pt x="137" y="152"/>
                  </a:cubicBezTo>
                  <a:cubicBezTo>
                    <a:pt x="137" y="173"/>
                    <a:pt x="137" y="173"/>
                    <a:pt x="137" y="173"/>
                  </a:cubicBezTo>
                  <a:cubicBezTo>
                    <a:pt x="137" y="205"/>
                    <a:pt x="120" y="222"/>
                    <a:pt x="89" y="222"/>
                  </a:cubicBezTo>
                  <a:cubicBezTo>
                    <a:pt x="66" y="222"/>
                    <a:pt x="52" y="213"/>
                    <a:pt x="48" y="194"/>
                  </a:cubicBezTo>
                  <a:cubicBezTo>
                    <a:pt x="47" y="192"/>
                    <a:pt x="46" y="190"/>
                    <a:pt x="43" y="190"/>
                  </a:cubicBezTo>
                  <a:cubicBezTo>
                    <a:pt x="24" y="190"/>
                    <a:pt x="24" y="190"/>
                    <a:pt x="24" y="190"/>
                  </a:cubicBezTo>
                  <a:cubicBezTo>
                    <a:pt x="21" y="190"/>
                    <a:pt x="19" y="192"/>
                    <a:pt x="19" y="195"/>
                  </a:cubicBezTo>
                  <a:cubicBezTo>
                    <a:pt x="22" y="228"/>
                    <a:pt x="51" y="250"/>
                    <a:pt x="89" y="250"/>
                  </a:cubicBezTo>
                  <a:cubicBezTo>
                    <a:pt x="135" y="250"/>
                    <a:pt x="165" y="219"/>
                    <a:pt x="165" y="174"/>
                  </a:cubicBezTo>
                  <a:cubicBezTo>
                    <a:pt x="165" y="7"/>
                    <a:pt x="165" y="7"/>
                    <a:pt x="165" y="7"/>
                  </a:cubicBezTo>
                  <a:cubicBezTo>
                    <a:pt x="165" y="5"/>
                    <a:pt x="164" y="4"/>
                    <a:pt x="162" y="4"/>
                  </a:cubicBezTo>
                  <a:cubicBezTo>
                    <a:pt x="140" y="4"/>
                    <a:pt x="140" y="4"/>
                    <a:pt x="140" y="4"/>
                  </a:cubicBezTo>
                  <a:cubicBezTo>
                    <a:pt x="138" y="4"/>
                    <a:pt x="137" y="5"/>
                    <a:pt x="137" y="7"/>
                  </a:cubicBezTo>
                  <a:cubicBezTo>
                    <a:pt x="137" y="21"/>
                    <a:pt x="137" y="21"/>
                    <a:pt x="137" y="21"/>
                  </a:cubicBezTo>
                  <a:cubicBezTo>
                    <a:pt x="126" y="11"/>
                    <a:pt x="113" y="4"/>
                    <a:pt x="99" y="0"/>
                  </a:cubicBezTo>
                  <a:cubicBezTo>
                    <a:pt x="97" y="0"/>
                    <a:pt x="96" y="1"/>
                    <a:pt x="96" y="3"/>
                  </a:cubicBezTo>
                  <a:cubicBezTo>
                    <a:pt x="96" y="28"/>
                    <a:pt x="96" y="28"/>
                    <a:pt x="96" y="28"/>
                  </a:cubicBezTo>
                  <a:cubicBezTo>
                    <a:pt x="96" y="29"/>
                    <a:pt x="96" y="30"/>
                    <a:pt x="97" y="31"/>
                  </a:cubicBezTo>
                  <a:cubicBezTo>
                    <a:pt x="121" y="37"/>
                    <a:pt x="138" y="60"/>
                    <a:pt x="138" y="87"/>
                  </a:cubicBezTo>
                  <a:cubicBezTo>
                    <a:pt x="138" y="119"/>
                    <a:pt x="114" y="146"/>
                    <a:pt x="83" y="146"/>
                  </a:cubicBezTo>
                  <a:cubicBezTo>
                    <a:pt x="53" y="146"/>
                    <a:pt x="29" y="119"/>
                    <a:pt x="29" y="87"/>
                  </a:cubicBezTo>
                  <a:cubicBezTo>
                    <a:pt x="29" y="61"/>
                    <a:pt x="45" y="38"/>
                    <a:pt x="68" y="31"/>
                  </a:cubicBezTo>
                  <a:cubicBezTo>
                    <a:pt x="69" y="31"/>
                    <a:pt x="70" y="30"/>
                    <a:pt x="70" y="29"/>
                  </a:cubicBezTo>
                  <a:cubicBezTo>
                    <a:pt x="70" y="3"/>
                    <a:pt x="70" y="3"/>
                    <a:pt x="70" y="3"/>
                  </a:cubicBezTo>
                  <a:cubicBezTo>
                    <a:pt x="70" y="1"/>
                    <a:pt x="69" y="0"/>
                    <a:pt x="67" y="0"/>
                  </a:cubicBezTo>
                  <a:cubicBezTo>
                    <a:pt x="67" y="0"/>
                    <a:pt x="67" y="0"/>
                    <a:pt x="67" y="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a:p>
          </p:txBody>
        </p:sp>
        <p:sp>
          <p:nvSpPr>
            <p:cNvPr id="28" name="Oval 11">
              <a:extLst>
                <a:ext uri="{FF2B5EF4-FFF2-40B4-BE49-F238E27FC236}">
                  <a16:creationId xmlns:a16="http://schemas.microsoft.com/office/drawing/2014/main" id="{882F01F5-F376-BD4A-90E4-27ED33A45DBD}"/>
                </a:ext>
              </a:extLst>
            </p:cNvPr>
            <p:cNvSpPr>
              <a:spLocks noChangeArrowheads="1"/>
            </p:cNvSpPr>
            <p:nvPr userDrawn="1"/>
          </p:nvSpPr>
          <p:spPr bwMode="auto">
            <a:xfrm>
              <a:off x="2843" y="1589"/>
              <a:ext cx="87" cy="88"/>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a:p>
          </p:txBody>
        </p:sp>
        <p:sp>
          <p:nvSpPr>
            <p:cNvPr id="29" name="Oval 12">
              <a:extLst>
                <a:ext uri="{FF2B5EF4-FFF2-40B4-BE49-F238E27FC236}">
                  <a16:creationId xmlns:a16="http://schemas.microsoft.com/office/drawing/2014/main" id="{F6C80F2D-E883-5C41-B207-646D9E226A04}"/>
                </a:ext>
              </a:extLst>
            </p:cNvPr>
            <p:cNvSpPr>
              <a:spLocks noChangeArrowheads="1"/>
            </p:cNvSpPr>
            <p:nvPr userDrawn="1"/>
          </p:nvSpPr>
          <p:spPr bwMode="auto">
            <a:xfrm>
              <a:off x="3873" y="1589"/>
              <a:ext cx="87" cy="88"/>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a:p>
          </p:txBody>
        </p:sp>
        <p:sp>
          <p:nvSpPr>
            <p:cNvPr id="30" name="Freeform 13">
              <a:extLst>
                <a:ext uri="{FF2B5EF4-FFF2-40B4-BE49-F238E27FC236}">
                  <a16:creationId xmlns:a16="http://schemas.microsoft.com/office/drawing/2014/main" id="{866BCEC4-308F-6A48-9507-D5B894916300}"/>
                </a:ext>
              </a:extLst>
            </p:cNvPr>
            <p:cNvSpPr>
              <a:spLocks/>
            </p:cNvSpPr>
            <p:nvPr userDrawn="1"/>
          </p:nvSpPr>
          <p:spPr bwMode="auto">
            <a:xfrm>
              <a:off x="4062" y="1584"/>
              <a:ext cx="242" cy="462"/>
            </a:xfrm>
            <a:custGeom>
              <a:avLst/>
              <a:gdLst>
                <a:gd name="T0" fmla="*/ 39 w 128"/>
                <a:gd name="T1" fmla="*/ 55 h 244"/>
                <a:gd name="T2" fmla="*/ 39 w 128"/>
                <a:gd name="T3" fmla="*/ 76 h 244"/>
                <a:gd name="T4" fmla="*/ 4 w 128"/>
                <a:gd name="T5" fmla="*/ 76 h 244"/>
                <a:gd name="T6" fmla="*/ 0 w 128"/>
                <a:gd name="T7" fmla="*/ 81 h 244"/>
                <a:gd name="T8" fmla="*/ 0 w 128"/>
                <a:gd name="T9" fmla="*/ 99 h 244"/>
                <a:gd name="T10" fmla="*/ 4 w 128"/>
                <a:gd name="T11" fmla="*/ 103 h 244"/>
                <a:gd name="T12" fmla="*/ 39 w 128"/>
                <a:gd name="T13" fmla="*/ 103 h 244"/>
                <a:gd name="T14" fmla="*/ 39 w 128"/>
                <a:gd name="T15" fmla="*/ 239 h 244"/>
                <a:gd name="T16" fmla="*/ 44 w 128"/>
                <a:gd name="T17" fmla="*/ 244 h 244"/>
                <a:gd name="T18" fmla="*/ 62 w 128"/>
                <a:gd name="T19" fmla="*/ 244 h 244"/>
                <a:gd name="T20" fmla="*/ 67 w 128"/>
                <a:gd name="T21" fmla="*/ 239 h 244"/>
                <a:gd name="T22" fmla="*/ 67 w 128"/>
                <a:gd name="T23" fmla="*/ 103 h 244"/>
                <a:gd name="T24" fmla="*/ 120 w 128"/>
                <a:gd name="T25" fmla="*/ 103 h 244"/>
                <a:gd name="T26" fmla="*/ 125 w 128"/>
                <a:gd name="T27" fmla="*/ 99 h 244"/>
                <a:gd name="T28" fmla="*/ 125 w 128"/>
                <a:gd name="T29" fmla="*/ 81 h 244"/>
                <a:gd name="T30" fmla="*/ 120 w 128"/>
                <a:gd name="T31" fmla="*/ 76 h 244"/>
                <a:gd name="T32" fmla="*/ 67 w 128"/>
                <a:gd name="T33" fmla="*/ 76 h 244"/>
                <a:gd name="T34" fmla="*/ 67 w 128"/>
                <a:gd name="T35" fmla="*/ 55 h 244"/>
                <a:gd name="T36" fmla="*/ 91 w 128"/>
                <a:gd name="T37" fmla="*/ 27 h 244"/>
                <a:gd name="T38" fmla="*/ 122 w 128"/>
                <a:gd name="T39" fmla="*/ 37 h 244"/>
                <a:gd name="T40" fmla="*/ 125 w 128"/>
                <a:gd name="T41" fmla="*/ 38 h 244"/>
                <a:gd name="T42" fmla="*/ 128 w 128"/>
                <a:gd name="T43" fmla="*/ 33 h 244"/>
                <a:gd name="T44" fmla="*/ 128 w 128"/>
                <a:gd name="T45" fmla="*/ 16 h 244"/>
                <a:gd name="T46" fmla="*/ 125 w 128"/>
                <a:gd name="T47" fmla="*/ 9 h 244"/>
                <a:gd name="T48" fmla="*/ 89 w 128"/>
                <a:gd name="T49" fmla="*/ 0 h 244"/>
                <a:gd name="T50" fmla="*/ 39 w 128"/>
                <a:gd name="T51" fmla="*/ 5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244">
                  <a:moveTo>
                    <a:pt x="39" y="55"/>
                  </a:moveTo>
                  <a:cubicBezTo>
                    <a:pt x="39" y="76"/>
                    <a:pt x="39" y="76"/>
                    <a:pt x="39" y="76"/>
                  </a:cubicBezTo>
                  <a:cubicBezTo>
                    <a:pt x="4" y="76"/>
                    <a:pt x="4" y="76"/>
                    <a:pt x="4" y="76"/>
                  </a:cubicBezTo>
                  <a:cubicBezTo>
                    <a:pt x="1" y="76"/>
                    <a:pt x="0" y="78"/>
                    <a:pt x="0" y="81"/>
                  </a:cubicBezTo>
                  <a:cubicBezTo>
                    <a:pt x="0" y="99"/>
                    <a:pt x="0" y="99"/>
                    <a:pt x="0" y="99"/>
                  </a:cubicBezTo>
                  <a:cubicBezTo>
                    <a:pt x="0" y="102"/>
                    <a:pt x="1" y="103"/>
                    <a:pt x="4" y="103"/>
                  </a:cubicBezTo>
                  <a:cubicBezTo>
                    <a:pt x="39" y="103"/>
                    <a:pt x="39" y="103"/>
                    <a:pt x="39" y="103"/>
                  </a:cubicBezTo>
                  <a:cubicBezTo>
                    <a:pt x="39" y="239"/>
                    <a:pt x="39" y="239"/>
                    <a:pt x="39" y="239"/>
                  </a:cubicBezTo>
                  <a:cubicBezTo>
                    <a:pt x="39" y="242"/>
                    <a:pt x="41" y="244"/>
                    <a:pt x="44" y="244"/>
                  </a:cubicBezTo>
                  <a:cubicBezTo>
                    <a:pt x="62" y="244"/>
                    <a:pt x="62" y="244"/>
                    <a:pt x="62" y="244"/>
                  </a:cubicBezTo>
                  <a:cubicBezTo>
                    <a:pt x="65" y="244"/>
                    <a:pt x="67" y="242"/>
                    <a:pt x="67" y="239"/>
                  </a:cubicBezTo>
                  <a:cubicBezTo>
                    <a:pt x="67" y="103"/>
                    <a:pt x="67" y="103"/>
                    <a:pt x="67" y="103"/>
                  </a:cubicBezTo>
                  <a:cubicBezTo>
                    <a:pt x="120" y="103"/>
                    <a:pt x="120" y="103"/>
                    <a:pt x="120" y="103"/>
                  </a:cubicBezTo>
                  <a:cubicBezTo>
                    <a:pt x="123" y="103"/>
                    <a:pt x="125" y="102"/>
                    <a:pt x="125" y="99"/>
                  </a:cubicBezTo>
                  <a:cubicBezTo>
                    <a:pt x="125" y="81"/>
                    <a:pt x="125" y="81"/>
                    <a:pt x="125" y="81"/>
                  </a:cubicBezTo>
                  <a:cubicBezTo>
                    <a:pt x="125" y="78"/>
                    <a:pt x="123" y="76"/>
                    <a:pt x="120" y="76"/>
                  </a:cubicBezTo>
                  <a:cubicBezTo>
                    <a:pt x="67" y="76"/>
                    <a:pt x="67" y="76"/>
                    <a:pt x="67" y="76"/>
                  </a:cubicBezTo>
                  <a:cubicBezTo>
                    <a:pt x="67" y="55"/>
                    <a:pt x="67" y="55"/>
                    <a:pt x="67" y="55"/>
                  </a:cubicBezTo>
                  <a:cubicBezTo>
                    <a:pt x="67" y="38"/>
                    <a:pt x="76" y="27"/>
                    <a:pt x="91" y="27"/>
                  </a:cubicBezTo>
                  <a:cubicBezTo>
                    <a:pt x="102" y="27"/>
                    <a:pt x="110" y="30"/>
                    <a:pt x="122" y="37"/>
                  </a:cubicBezTo>
                  <a:cubicBezTo>
                    <a:pt x="123" y="38"/>
                    <a:pt x="124" y="38"/>
                    <a:pt x="125" y="38"/>
                  </a:cubicBezTo>
                  <a:cubicBezTo>
                    <a:pt x="127" y="38"/>
                    <a:pt x="128" y="36"/>
                    <a:pt x="128" y="33"/>
                  </a:cubicBezTo>
                  <a:cubicBezTo>
                    <a:pt x="128" y="16"/>
                    <a:pt x="128" y="16"/>
                    <a:pt x="128" y="16"/>
                  </a:cubicBezTo>
                  <a:cubicBezTo>
                    <a:pt x="128" y="13"/>
                    <a:pt x="128" y="11"/>
                    <a:pt x="125" y="9"/>
                  </a:cubicBezTo>
                  <a:cubicBezTo>
                    <a:pt x="114" y="3"/>
                    <a:pt x="103" y="0"/>
                    <a:pt x="89" y="0"/>
                  </a:cubicBezTo>
                  <a:cubicBezTo>
                    <a:pt x="54" y="0"/>
                    <a:pt x="39" y="29"/>
                    <a:pt x="39" y="55"/>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a:p>
          </p:txBody>
        </p:sp>
        <p:sp>
          <p:nvSpPr>
            <p:cNvPr id="31" name="Freeform 14">
              <a:extLst>
                <a:ext uri="{FF2B5EF4-FFF2-40B4-BE49-F238E27FC236}">
                  <a16:creationId xmlns:a16="http://schemas.microsoft.com/office/drawing/2014/main" id="{B8951BD1-1884-134A-A824-95D8C21D309C}"/>
                </a:ext>
              </a:extLst>
            </p:cNvPr>
            <p:cNvSpPr>
              <a:spLocks/>
            </p:cNvSpPr>
            <p:nvPr userDrawn="1"/>
          </p:nvSpPr>
          <p:spPr bwMode="auto">
            <a:xfrm>
              <a:off x="2071" y="1578"/>
              <a:ext cx="632" cy="631"/>
            </a:xfrm>
            <a:custGeom>
              <a:avLst/>
              <a:gdLst>
                <a:gd name="T0" fmla="*/ 181 w 334"/>
                <a:gd name="T1" fmla="*/ 1 h 333"/>
                <a:gd name="T2" fmla="*/ 180 w 334"/>
                <a:gd name="T3" fmla="*/ 4 h 333"/>
                <a:gd name="T4" fmla="*/ 180 w 334"/>
                <a:gd name="T5" fmla="*/ 26 h 333"/>
                <a:gd name="T6" fmla="*/ 180 w 334"/>
                <a:gd name="T7" fmla="*/ 26 h 333"/>
                <a:gd name="T8" fmla="*/ 182 w 334"/>
                <a:gd name="T9" fmla="*/ 28 h 333"/>
                <a:gd name="T10" fmla="*/ 306 w 334"/>
                <a:gd name="T11" fmla="*/ 166 h 333"/>
                <a:gd name="T12" fmla="*/ 167 w 334"/>
                <a:gd name="T13" fmla="*/ 305 h 333"/>
                <a:gd name="T14" fmla="*/ 28 w 334"/>
                <a:gd name="T15" fmla="*/ 166 h 333"/>
                <a:gd name="T16" fmla="*/ 152 w 334"/>
                <a:gd name="T17" fmla="*/ 28 h 333"/>
                <a:gd name="T18" fmla="*/ 154 w 334"/>
                <a:gd name="T19" fmla="*/ 26 h 333"/>
                <a:gd name="T20" fmla="*/ 154 w 334"/>
                <a:gd name="T21" fmla="*/ 26 h 333"/>
                <a:gd name="T22" fmla="*/ 154 w 334"/>
                <a:gd name="T23" fmla="*/ 4 h 333"/>
                <a:gd name="T24" fmla="*/ 153 w 334"/>
                <a:gd name="T25" fmla="*/ 1 h 333"/>
                <a:gd name="T26" fmla="*/ 150 w 334"/>
                <a:gd name="T27" fmla="*/ 0 h 333"/>
                <a:gd name="T28" fmla="*/ 149 w 334"/>
                <a:gd name="T29" fmla="*/ 0 h 333"/>
                <a:gd name="T30" fmla="*/ 149 w 334"/>
                <a:gd name="T31" fmla="*/ 0 h 333"/>
                <a:gd name="T32" fmla="*/ 0 w 334"/>
                <a:gd name="T33" fmla="*/ 166 h 333"/>
                <a:gd name="T34" fmla="*/ 167 w 334"/>
                <a:gd name="T35" fmla="*/ 333 h 333"/>
                <a:gd name="T36" fmla="*/ 334 w 334"/>
                <a:gd name="T37" fmla="*/ 166 h 333"/>
                <a:gd name="T38" fmla="*/ 185 w 334"/>
                <a:gd name="T39" fmla="*/ 0 h 333"/>
                <a:gd name="T40" fmla="*/ 185 w 334"/>
                <a:gd name="T41" fmla="*/ 0 h 333"/>
                <a:gd name="T42" fmla="*/ 184 w 334"/>
                <a:gd name="T43" fmla="*/ 0 h 333"/>
                <a:gd name="T44" fmla="*/ 181 w 334"/>
                <a:gd name="T45" fmla="*/ 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4" h="333">
                  <a:moveTo>
                    <a:pt x="181" y="1"/>
                  </a:moveTo>
                  <a:cubicBezTo>
                    <a:pt x="180" y="2"/>
                    <a:pt x="180" y="3"/>
                    <a:pt x="180" y="4"/>
                  </a:cubicBezTo>
                  <a:cubicBezTo>
                    <a:pt x="180" y="26"/>
                    <a:pt x="180" y="26"/>
                    <a:pt x="180" y="26"/>
                  </a:cubicBezTo>
                  <a:cubicBezTo>
                    <a:pt x="180" y="26"/>
                    <a:pt x="180" y="26"/>
                    <a:pt x="180" y="26"/>
                  </a:cubicBezTo>
                  <a:cubicBezTo>
                    <a:pt x="180" y="27"/>
                    <a:pt x="181" y="28"/>
                    <a:pt x="182" y="28"/>
                  </a:cubicBezTo>
                  <a:cubicBezTo>
                    <a:pt x="251" y="35"/>
                    <a:pt x="306" y="94"/>
                    <a:pt x="306" y="166"/>
                  </a:cubicBezTo>
                  <a:cubicBezTo>
                    <a:pt x="306" y="243"/>
                    <a:pt x="244" y="305"/>
                    <a:pt x="167" y="305"/>
                  </a:cubicBezTo>
                  <a:cubicBezTo>
                    <a:pt x="90" y="305"/>
                    <a:pt x="28" y="243"/>
                    <a:pt x="28" y="166"/>
                  </a:cubicBezTo>
                  <a:cubicBezTo>
                    <a:pt x="28" y="94"/>
                    <a:pt x="82" y="35"/>
                    <a:pt x="152" y="28"/>
                  </a:cubicBezTo>
                  <a:cubicBezTo>
                    <a:pt x="153" y="28"/>
                    <a:pt x="154" y="27"/>
                    <a:pt x="154" y="26"/>
                  </a:cubicBezTo>
                  <a:cubicBezTo>
                    <a:pt x="154" y="26"/>
                    <a:pt x="154" y="26"/>
                    <a:pt x="154" y="26"/>
                  </a:cubicBezTo>
                  <a:cubicBezTo>
                    <a:pt x="154" y="4"/>
                    <a:pt x="154" y="4"/>
                    <a:pt x="154" y="4"/>
                  </a:cubicBezTo>
                  <a:cubicBezTo>
                    <a:pt x="154" y="3"/>
                    <a:pt x="154" y="2"/>
                    <a:pt x="153" y="1"/>
                  </a:cubicBezTo>
                  <a:cubicBezTo>
                    <a:pt x="152" y="0"/>
                    <a:pt x="151" y="0"/>
                    <a:pt x="150" y="0"/>
                  </a:cubicBezTo>
                  <a:cubicBezTo>
                    <a:pt x="149" y="0"/>
                    <a:pt x="149" y="0"/>
                    <a:pt x="149" y="0"/>
                  </a:cubicBezTo>
                  <a:cubicBezTo>
                    <a:pt x="149" y="0"/>
                    <a:pt x="149" y="0"/>
                    <a:pt x="149" y="0"/>
                  </a:cubicBezTo>
                  <a:cubicBezTo>
                    <a:pt x="65" y="9"/>
                    <a:pt x="0" y="80"/>
                    <a:pt x="0" y="166"/>
                  </a:cubicBezTo>
                  <a:cubicBezTo>
                    <a:pt x="0" y="258"/>
                    <a:pt x="75" y="333"/>
                    <a:pt x="167" y="333"/>
                  </a:cubicBezTo>
                  <a:cubicBezTo>
                    <a:pt x="259" y="333"/>
                    <a:pt x="334" y="258"/>
                    <a:pt x="334" y="166"/>
                  </a:cubicBezTo>
                  <a:cubicBezTo>
                    <a:pt x="334" y="80"/>
                    <a:pt x="269" y="9"/>
                    <a:pt x="185" y="0"/>
                  </a:cubicBezTo>
                  <a:cubicBezTo>
                    <a:pt x="185" y="0"/>
                    <a:pt x="185" y="0"/>
                    <a:pt x="185" y="0"/>
                  </a:cubicBezTo>
                  <a:cubicBezTo>
                    <a:pt x="185" y="0"/>
                    <a:pt x="184" y="0"/>
                    <a:pt x="184" y="0"/>
                  </a:cubicBezTo>
                  <a:cubicBezTo>
                    <a:pt x="183" y="0"/>
                    <a:pt x="182" y="0"/>
                    <a:pt x="181" y="1"/>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a:p>
          </p:txBody>
        </p:sp>
      </p:grpSp>
      <p:sp>
        <p:nvSpPr>
          <p:cNvPr id="3" name="TextBox 2">
            <a:extLst>
              <a:ext uri="{FF2B5EF4-FFF2-40B4-BE49-F238E27FC236}">
                <a16:creationId xmlns:a16="http://schemas.microsoft.com/office/drawing/2014/main" id="{5C834846-709A-D81B-5052-814CFFE4B16F}"/>
              </a:ext>
            </a:extLst>
          </p:cNvPr>
          <p:cNvSpPr txBox="1"/>
          <p:nvPr/>
        </p:nvSpPr>
        <p:spPr>
          <a:xfrm>
            <a:off x="8194331" y="5144633"/>
            <a:ext cx="4101774" cy="751305"/>
          </a:xfrm>
          <a:prstGeom prst="rect">
            <a:avLst/>
          </a:prstGeom>
          <a:noFill/>
        </p:spPr>
        <p:txBody>
          <a:bodyPr wrap="square" lIns="0" tIns="0" rIns="0" bIns="0" rtlCol="0">
            <a:noAutofit/>
          </a:bodyPr>
          <a:lstStyle/>
          <a:p>
            <a:pPr algn="ctr">
              <a:lnSpc>
                <a:spcPct val="90000"/>
              </a:lnSpc>
              <a:spcAft>
                <a:spcPts val="900"/>
              </a:spcAft>
            </a:pPr>
            <a:r>
              <a:rPr lang="nl-NL" sz="2800" b="1" dirty="0">
                <a:solidFill>
                  <a:schemeClr val="bg1"/>
                </a:solidFill>
              </a:rPr>
              <a:t> </a:t>
            </a:r>
          </a:p>
          <a:p>
            <a:pPr algn="ctr">
              <a:lnSpc>
                <a:spcPct val="90000"/>
              </a:lnSpc>
              <a:spcAft>
                <a:spcPts val="900"/>
              </a:spcAft>
            </a:pPr>
            <a:r>
              <a:rPr lang="nl-NL" sz="3200" b="1" dirty="0">
                <a:solidFill>
                  <a:schemeClr val="bg1"/>
                </a:solidFill>
              </a:rPr>
              <a:t>Gert Roeckx </a:t>
            </a:r>
          </a:p>
          <a:p>
            <a:pPr algn="ctr">
              <a:lnSpc>
                <a:spcPct val="90000"/>
              </a:lnSpc>
              <a:spcAft>
                <a:spcPts val="900"/>
              </a:spcAft>
            </a:pPr>
            <a:r>
              <a:rPr lang="nl-NL" sz="3200" b="1" dirty="0">
                <a:solidFill>
                  <a:schemeClr val="bg1"/>
                </a:solidFill>
              </a:rPr>
              <a:t>CEO Signify Belux</a:t>
            </a:r>
          </a:p>
        </p:txBody>
      </p:sp>
    </p:spTree>
    <p:extLst>
      <p:ext uri="{BB962C8B-B14F-4D97-AF65-F5344CB8AC3E}">
        <p14:creationId xmlns:p14="http://schemas.microsoft.com/office/powerpoint/2010/main" val="200370316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7AEDFB0-B82C-98D3-7F9B-E6E67579EF7A}"/>
              </a:ext>
            </a:extLst>
          </p:cNvPr>
          <p:cNvSpPr>
            <a:spLocks noGrp="1"/>
          </p:cNvSpPr>
          <p:nvPr>
            <p:ph type="ftr" sz="quarter" idx="11"/>
          </p:nvPr>
        </p:nvSpPr>
        <p:spPr/>
        <p:txBody>
          <a:bodyPr/>
          <a:lstStyle/>
          <a:p>
            <a:r>
              <a:rPr lang="en-GB"/>
              <a:t>Document Name</a:t>
            </a:r>
            <a:endParaRPr lang="en-US"/>
          </a:p>
        </p:txBody>
      </p:sp>
      <p:sp>
        <p:nvSpPr>
          <p:cNvPr id="3" name="Slide Number Placeholder 2">
            <a:extLst>
              <a:ext uri="{FF2B5EF4-FFF2-40B4-BE49-F238E27FC236}">
                <a16:creationId xmlns:a16="http://schemas.microsoft.com/office/drawing/2014/main" id="{E32802D4-F51A-5D4D-C0C8-7C0ABE67D9C5}"/>
              </a:ext>
            </a:extLst>
          </p:cNvPr>
          <p:cNvSpPr>
            <a:spLocks noGrp="1"/>
          </p:cNvSpPr>
          <p:nvPr>
            <p:ph type="sldNum" sz="quarter" idx="12"/>
          </p:nvPr>
        </p:nvSpPr>
        <p:spPr/>
        <p:txBody>
          <a:bodyPr/>
          <a:lstStyle/>
          <a:p>
            <a:fld id="{32B354EE-31EA-4FC2-9496-7B6202183237}" type="slidenum">
              <a:rPr lang="en-US" smtClean="0"/>
              <a:t>10</a:t>
            </a:fld>
            <a:endParaRPr lang="en-US"/>
          </a:p>
        </p:txBody>
      </p:sp>
      <p:pic>
        <p:nvPicPr>
          <p:cNvPr id="11" name="NatureConnect – Lighting that follows the natural day rhythm">
            <a:hlinkClick r:id="" action="ppaction://media"/>
            <a:extLst>
              <a:ext uri="{FF2B5EF4-FFF2-40B4-BE49-F238E27FC236}">
                <a16:creationId xmlns:a16="http://schemas.microsoft.com/office/drawing/2014/main" id="{8CB04988-714B-8212-2865-FE1326B4F53C}"/>
              </a:ext>
            </a:extLst>
          </p:cNvPr>
          <p:cNvPicPr>
            <a:picLocks noGrp="1" noChangeAspect="1"/>
          </p:cNvPicPr>
          <p:nvPr>
            <p:ph sz="quarter" idx="13"/>
            <a:videoFile r:link="rId1"/>
            <p:extLst>
              <p:ext uri="{DAA4B4D4-6D71-4841-9C94-3DE7FCFB9230}">
                <p14:media xmlns:p14="http://schemas.microsoft.com/office/powerpoint/2010/main" r:embed="rId2">
                  <p14:trim st="1644" end="5412.1093"/>
                </p14:media>
              </p:ext>
            </p:extLst>
          </p:nvPr>
        </p:nvPicPr>
        <p:blipFill>
          <a:blip r:embed="rId5"/>
          <a:stretch>
            <a:fillRect/>
          </a:stretch>
        </p:blipFill>
        <p:spPr>
          <a:xfrm>
            <a:off x="0" y="-226715"/>
            <a:ext cx="12596362" cy="7084715"/>
          </a:xfrm>
        </p:spPr>
      </p:pic>
    </p:spTree>
    <p:extLst>
      <p:ext uri="{BB962C8B-B14F-4D97-AF65-F5344CB8AC3E}">
        <p14:creationId xmlns:p14="http://schemas.microsoft.com/office/powerpoint/2010/main" val="342115338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831" fill="hold"/>
                                        <p:tgtEl>
                                          <p:spTgt spid="11"/>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1"/>
                </p:tgtEl>
              </p:cMediaNode>
            </p:vide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650" name="Picture 2" descr="What exactly is human-centric lighting? - LYS">
            <a:extLst>
              <a:ext uri="{FF2B5EF4-FFF2-40B4-BE49-F238E27FC236}">
                <a16:creationId xmlns:a16="http://schemas.microsoft.com/office/drawing/2014/main" id="{3EA8032F-F696-DEB6-5F5A-EFFD7D1C2E14}"/>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20" y="10"/>
            <a:ext cx="12191980" cy="6857990"/>
          </a:xfrm>
          <a:prstGeom prst="rect">
            <a:avLst/>
          </a:prstGeom>
          <a:solidFill>
            <a:srgbClr val="FFFFFF"/>
          </a:solidFill>
        </p:spPr>
      </p:pic>
      <p:sp>
        <p:nvSpPr>
          <p:cNvPr id="3" name="Slide Number Placeholder 2" hidden="1">
            <a:extLst>
              <a:ext uri="{FF2B5EF4-FFF2-40B4-BE49-F238E27FC236}">
                <a16:creationId xmlns:a16="http://schemas.microsoft.com/office/drawing/2014/main" id="{8A6CE6DB-C821-FC20-8E0A-5312AA403817}"/>
              </a:ext>
            </a:extLst>
          </p:cNvPr>
          <p:cNvSpPr>
            <a:spLocks noGrp="1"/>
          </p:cNvSpPr>
          <p:nvPr>
            <p:ph type="sldNum" sz="quarter" idx="12"/>
          </p:nvPr>
        </p:nvSpPr>
        <p:spPr/>
        <p:txBody>
          <a:bodyPr/>
          <a:lstStyle/>
          <a:p>
            <a:pPr>
              <a:spcAft>
                <a:spcPts val="600"/>
              </a:spcAft>
            </a:pPr>
            <a:fld id="{32B354EE-31EA-4FC2-9496-7B6202183237}" type="slidenum">
              <a:rPr lang="en-US" smtClean="0"/>
              <a:pPr>
                <a:spcAft>
                  <a:spcPts val="600"/>
                </a:spcAft>
              </a:pPr>
              <a:t>11</a:t>
            </a:fld>
            <a:endParaRPr lang="en-US"/>
          </a:p>
        </p:txBody>
      </p:sp>
      <p:sp>
        <p:nvSpPr>
          <p:cNvPr id="2" name="Oval 1">
            <a:extLst>
              <a:ext uri="{FF2B5EF4-FFF2-40B4-BE49-F238E27FC236}">
                <a16:creationId xmlns:a16="http://schemas.microsoft.com/office/drawing/2014/main" id="{A5D8587D-2231-37AF-1B50-5273D4CFD152}"/>
              </a:ext>
            </a:extLst>
          </p:cNvPr>
          <p:cNvSpPr/>
          <p:nvPr/>
        </p:nvSpPr>
        <p:spPr>
          <a:xfrm>
            <a:off x="538888" y="3741160"/>
            <a:ext cx="2773680" cy="2865120"/>
          </a:xfrm>
          <a:prstGeom prst="ellipse">
            <a:avLst/>
          </a:prstGeom>
          <a:gradFill flip="none" rotWithShape="1">
            <a:gsLst>
              <a:gs pos="0">
                <a:schemeClr val="accent4">
                  <a:lumMod val="50000"/>
                </a:schemeClr>
              </a:gs>
              <a:gs pos="84000">
                <a:schemeClr val="accent4">
                  <a:lumMod val="7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900"/>
              </a:spcAft>
            </a:pPr>
            <a:r>
              <a:rPr lang="nl-NL" sz="3200" dirty="0">
                <a:solidFill>
                  <a:schemeClr val="bg1"/>
                </a:solidFill>
              </a:rPr>
              <a:t>Nature</a:t>
            </a:r>
          </a:p>
          <a:p>
            <a:pPr algn="ctr">
              <a:lnSpc>
                <a:spcPct val="90000"/>
              </a:lnSpc>
              <a:spcAft>
                <a:spcPts val="900"/>
              </a:spcAft>
            </a:pPr>
            <a:r>
              <a:rPr lang="nl-NL" sz="3200" dirty="0">
                <a:solidFill>
                  <a:schemeClr val="bg1"/>
                </a:solidFill>
              </a:rPr>
              <a:t>Connect</a:t>
            </a:r>
          </a:p>
        </p:txBody>
      </p:sp>
    </p:spTree>
    <p:extLst>
      <p:ext uri="{BB962C8B-B14F-4D97-AF65-F5344CB8AC3E}">
        <p14:creationId xmlns:p14="http://schemas.microsoft.com/office/powerpoint/2010/main" val="156937654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7650"/>
                                        </p:tgtEl>
                                        <p:attrNameLst>
                                          <p:attrName>style.visibility</p:attrName>
                                        </p:attrNameLst>
                                      </p:cBhvr>
                                      <p:to>
                                        <p:strVal val="visible"/>
                                      </p:to>
                                    </p:set>
                                    <p:animEffect transition="in" filter="fade">
                                      <p:cBhvr>
                                        <p:cTn id="7" dur="500"/>
                                        <p:tgtEl>
                                          <p:spTgt spid="276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6" descr="1.378 Euro sparen: So funktioniert es mit der 1-Euro-Regel - wmn">
            <a:extLst>
              <a:ext uri="{FF2B5EF4-FFF2-40B4-BE49-F238E27FC236}">
                <a16:creationId xmlns:a16="http://schemas.microsoft.com/office/drawing/2014/main" id="{58538379-4ED8-A29D-6A11-E3F33F46B9A2}"/>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4119495" y="0"/>
            <a:ext cx="4074836" cy="6867426"/>
          </a:xfrm>
          <a:prstGeom prst="rect">
            <a:avLst/>
          </a:prstGeom>
          <a:noFill/>
          <a:extLst>
            <a:ext uri="{909E8E84-426E-40DD-AFC4-6F175D3DCCD1}">
              <a14:hiddenFill xmlns:a14="http://schemas.microsoft.com/office/drawing/2010/main">
                <a:solidFill>
                  <a:srgbClr val="FFFFFF"/>
                </a:solidFill>
              </a14:hiddenFill>
            </a:ext>
          </a:extLst>
        </p:spPr>
      </p:pic>
      <p:sp>
        <p:nvSpPr>
          <p:cNvPr id="2" name="Footer Placeholder 1">
            <a:extLst>
              <a:ext uri="{FF2B5EF4-FFF2-40B4-BE49-F238E27FC236}">
                <a16:creationId xmlns:a16="http://schemas.microsoft.com/office/drawing/2014/main" id="{C31A69C8-7AD3-7515-1968-9BAAC045361A}"/>
              </a:ext>
            </a:extLst>
          </p:cNvPr>
          <p:cNvSpPr>
            <a:spLocks noGrp="1"/>
          </p:cNvSpPr>
          <p:nvPr>
            <p:ph type="ftr" sz="quarter" idx="4294967295"/>
          </p:nvPr>
        </p:nvSpPr>
        <p:spPr>
          <a:xfrm>
            <a:off x="920368" y="6332830"/>
            <a:ext cx="4784400" cy="273450"/>
          </a:xfrm>
          <a:prstGeom prst="rect">
            <a:avLst/>
          </a:prstGeom>
        </p:spPr>
        <p:txBody>
          <a:bodyPr/>
          <a:lstStyle/>
          <a:p>
            <a:r>
              <a:rPr lang="en-GB"/>
              <a:t>Document Name</a:t>
            </a:r>
            <a:endParaRPr lang="en-US"/>
          </a:p>
        </p:txBody>
      </p:sp>
      <p:sp>
        <p:nvSpPr>
          <p:cNvPr id="3" name="Slide Number Placeholder 2">
            <a:extLst>
              <a:ext uri="{FF2B5EF4-FFF2-40B4-BE49-F238E27FC236}">
                <a16:creationId xmlns:a16="http://schemas.microsoft.com/office/drawing/2014/main" id="{A48140CD-ABA4-8A32-ADB2-CEF4425AF62C}"/>
              </a:ext>
            </a:extLst>
          </p:cNvPr>
          <p:cNvSpPr>
            <a:spLocks noGrp="1"/>
          </p:cNvSpPr>
          <p:nvPr>
            <p:ph type="sldNum" sz="quarter" idx="12"/>
          </p:nvPr>
        </p:nvSpPr>
        <p:spPr/>
        <p:txBody>
          <a:bodyPr/>
          <a:lstStyle/>
          <a:p>
            <a:fld id="{32B354EE-31EA-4FC2-9496-7B6202183237}" type="slidenum">
              <a:rPr lang="en-US" smtClean="0"/>
              <a:pPr/>
              <a:t>12</a:t>
            </a:fld>
            <a:endParaRPr lang="en-US"/>
          </a:p>
        </p:txBody>
      </p:sp>
      <p:pic>
        <p:nvPicPr>
          <p:cNvPr id="6148" name="Picture 4" descr="photo of woman on green grass field outdoors during daytime">
            <a:extLst>
              <a:ext uri="{FF2B5EF4-FFF2-40B4-BE49-F238E27FC236}">
                <a16:creationId xmlns:a16="http://schemas.microsoft.com/office/drawing/2014/main" id="{73FA77DE-FABB-744B-91DA-1CC922320B16}"/>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17722" y="0"/>
            <a:ext cx="410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6154" name="Picture 10" descr="Waarom is duurzaamheid belangrijk? - Ecoteers">
            <a:extLst>
              <a:ext uri="{FF2B5EF4-FFF2-40B4-BE49-F238E27FC236}">
                <a16:creationId xmlns:a16="http://schemas.microsoft.com/office/drawing/2014/main" id="{3D543199-2E31-AEE0-78E9-0C6E53A9554D}"/>
              </a:ext>
            </a:extLst>
          </p:cNvPr>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8194332" y="0"/>
            <a:ext cx="4106226" cy="685800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1CC6A92D-6868-8066-A9B5-63E7C74EFBBD}"/>
              </a:ext>
            </a:extLst>
          </p:cNvPr>
          <p:cNvSpPr txBox="1"/>
          <p:nvPr/>
        </p:nvSpPr>
        <p:spPr>
          <a:xfrm>
            <a:off x="4119496" y="5173829"/>
            <a:ext cx="4074835" cy="1036522"/>
          </a:xfrm>
          <a:prstGeom prst="rect">
            <a:avLst/>
          </a:prstGeom>
          <a:noFill/>
        </p:spPr>
        <p:txBody>
          <a:bodyPr wrap="square" lIns="0" tIns="0" rIns="0" bIns="0" rtlCol="0">
            <a:noAutofit/>
          </a:bodyPr>
          <a:lstStyle>
            <a:defPPr>
              <a:defRPr lang="en-US"/>
            </a:defPPr>
            <a:lvl1pPr>
              <a:lnSpc>
                <a:spcPct val="90000"/>
              </a:lnSpc>
              <a:spcAft>
                <a:spcPts val="900"/>
              </a:spcAft>
              <a:defRPr sz="2800" b="1">
                <a:solidFill>
                  <a:schemeClr val="bg1"/>
                </a:solidFill>
              </a:defRPr>
            </a:lvl1pPr>
          </a:lstStyle>
          <a:p>
            <a:pPr algn="ctr"/>
            <a:r>
              <a:rPr lang="nl-NL" dirty="0"/>
              <a:t> </a:t>
            </a:r>
          </a:p>
          <a:p>
            <a:pPr algn="ctr"/>
            <a:r>
              <a:rPr lang="nl-NL" sz="3200" dirty="0"/>
              <a:t>PROFIT</a:t>
            </a:r>
            <a:endParaRPr lang="nl-NL" dirty="0"/>
          </a:p>
        </p:txBody>
      </p:sp>
      <p:sp>
        <p:nvSpPr>
          <p:cNvPr id="8" name="TextBox 7">
            <a:extLst>
              <a:ext uri="{FF2B5EF4-FFF2-40B4-BE49-F238E27FC236}">
                <a16:creationId xmlns:a16="http://schemas.microsoft.com/office/drawing/2014/main" id="{12391138-807B-C9F0-21D4-6F7976594E21}"/>
              </a:ext>
            </a:extLst>
          </p:cNvPr>
          <p:cNvSpPr txBox="1"/>
          <p:nvPr/>
        </p:nvSpPr>
        <p:spPr>
          <a:xfrm>
            <a:off x="8194331" y="5144633"/>
            <a:ext cx="4101774" cy="751305"/>
          </a:xfrm>
          <a:prstGeom prst="rect">
            <a:avLst/>
          </a:prstGeom>
          <a:noFill/>
        </p:spPr>
        <p:txBody>
          <a:bodyPr wrap="square" lIns="0" tIns="0" rIns="0" bIns="0" rtlCol="0">
            <a:noAutofit/>
          </a:bodyPr>
          <a:lstStyle/>
          <a:p>
            <a:pPr algn="ctr">
              <a:lnSpc>
                <a:spcPct val="90000"/>
              </a:lnSpc>
              <a:spcAft>
                <a:spcPts val="900"/>
              </a:spcAft>
            </a:pPr>
            <a:r>
              <a:rPr lang="nl-NL" sz="2800" b="1" dirty="0">
                <a:solidFill>
                  <a:schemeClr val="bg1"/>
                </a:solidFill>
              </a:rPr>
              <a:t> </a:t>
            </a:r>
          </a:p>
          <a:p>
            <a:pPr algn="ctr">
              <a:lnSpc>
                <a:spcPct val="90000"/>
              </a:lnSpc>
              <a:spcAft>
                <a:spcPts val="900"/>
              </a:spcAft>
            </a:pPr>
            <a:r>
              <a:rPr lang="nl-NL" sz="3200" b="1" dirty="0">
                <a:solidFill>
                  <a:schemeClr val="bg1"/>
                </a:solidFill>
              </a:rPr>
              <a:t>PLANET</a:t>
            </a:r>
          </a:p>
        </p:txBody>
      </p:sp>
      <p:sp>
        <p:nvSpPr>
          <p:cNvPr id="9" name="TextBox 8">
            <a:extLst>
              <a:ext uri="{FF2B5EF4-FFF2-40B4-BE49-F238E27FC236}">
                <a16:creationId xmlns:a16="http://schemas.microsoft.com/office/drawing/2014/main" id="{F5426E79-753E-64DD-FEC2-7A6A313D4C7B}"/>
              </a:ext>
            </a:extLst>
          </p:cNvPr>
          <p:cNvSpPr txBox="1"/>
          <p:nvPr/>
        </p:nvSpPr>
        <p:spPr>
          <a:xfrm>
            <a:off x="17722" y="5180911"/>
            <a:ext cx="4103999" cy="751305"/>
          </a:xfrm>
          <a:prstGeom prst="rect">
            <a:avLst/>
          </a:prstGeom>
          <a:noFill/>
        </p:spPr>
        <p:txBody>
          <a:bodyPr wrap="square" lIns="0" tIns="0" rIns="0" bIns="0" rtlCol="0">
            <a:noAutofit/>
          </a:bodyPr>
          <a:lstStyle>
            <a:defPPr>
              <a:defRPr lang="en-US"/>
            </a:defPPr>
            <a:lvl1pPr>
              <a:lnSpc>
                <a:spcPct val="90000"/>
              </a:lnSpc>
              <a:spcAft>
                <a:spcPts val="900"/>
              </a:spcAft>
              <a:defRPr sz="2800" b="1">
                <a:solidFill>
                  <a:schemeClr val="bg1"/>
                </a:solidFill>
              </a:defRPr>
            </a:lvl1pPr>
          </a:lstStyle>
          <a:p>
            <a:endParaRPr lang="nl-NL" dirty="0"/>
          </a:p>
          <a:p>
            <a:pPr algn="ctr"/>
            <a:r>
              <a:rPr lang="nl-NL" sz="3200" dirty="0"/>
              <a:t>PEOPLE</a:t>
            </a:r>
          </a:p>
        </p:txBody>
      </p:sp>
      <p:sp>
        <p:nvSpPr>
          <p:cNvPr id="4" name="Rectangle 3">
            <a:extLst>
              <a:ext uri="{FF2B5EF4-FFF2-40B4-BE49-F238E27FC236}">
                <a16:creationId xmlns:a16="http://schemas.microsoft.com/office/drawing/2014/main" id="{B73F6C55-2C8C-46D6-B4B8-816FA25D0361}"/>
              </a:ext>
            </a:extLst>
          </p:cNvPr>
          <p:cNvSpPr/>
          <p:nvPr/>
        </p:nvSpPr>
        <p:spPr>
          <a:xfrm>
            <a:off x="8223494" y="0"/>
            <a:ext cx="4024899" cy="6858000"/>
          </a:xfrm>
          <a:prstGeom prst="rect">
            <a:avLst/>
          </a:prstGeom>
          <a:solidFill>
            <a:srgbClr val="3C3C41">
              <a:alpha val="7098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900"/>
              </a:spcAft>
            </a:pPr>
            <a:endParaRPr lang="nl-NL" sz="1800" dirty="0" err="1">
              <a:solidFill>
                <a:schemeClr val="bg1"/>
              </a:solidFill>
            </a:endParaRPr>
          </a:p>
        </p:txBody>
      </p:sp>
      <p:sp>
        <p:nvSpPr>
          <p:cNvPr id="5" name="Rectangle 4">
            <a:extLst>
              <a:ext uri="{FF2B5EF4-FFF2-40B4-BE49-F238E27FC236}">
                <a16:creationId xmlns:a16="http://schemas.microsoft.com/office/drawing/2014/main" id="{8D6E2294-A603-5979-AFE6-686BE8C24F1B}"/>
              </a:ext>
            </a:extLst>
          </p:cNvPr>
          <p:cNvSpPr/>
          <p:nvPr/>
        </p:nvSpPr>
        <p:spPr>
          <a:xfrm>
            <a:off x="-14738" y="0"/>
            <a:ext cx="4136459" cy="6858000"/>
          </a:xfrm>
          <a:prstGeom prst="rect">
            <a:avLst/>
          </a:prstGeom>
          <a:solidFill>
            <a:srgbClr val="3C3C41">
              <a:alpha val="7098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900"/>
              </a:spcAft>
            </a:pPr>
            <a:endParaRPr lang="nl-NL" sz="1800" dirty="0" err="1">
              <a:solidFill>
                <a:schemeClr val="bg1"/>
              </a:solidFill>
            </a:endParaRPr>
          </a:p>
        </p:txBody>
      </p:sp>
    </p:spTree>
    <p:extLst>
      <p:ext uri="{BB962C8B-B14F-4D97-AF65-F5344CB8AC3E}">
        <p14:creationId xmlns:p14="http://schemas.microsoft.com/office/powerpoint/2010/main" val="33999631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6" descr="1.378 Euro sparen: So funktioniert es mit der 1-Euro-Regel - wmn">
            <a:extLst>
              <a:ext uri="{FF2B5EF4-FFF2-40B4-BE49-F238E27FC236}">
                <a16:creationId xmlns:a16="http://schemas.microsoft.com/office/drawing/2014/main" id="{AD03BA0F-066C-2AD0-840E-BE0E0CA85A34}"/>
              </a:ext>
            </a:extLst>
          </p:cNvPr>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r="-170"/>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A48140CD-ABA4-8A32-ADB2-CEF4425AF62C}"/>
              </a:ext>
            </a:extLst>
          </p:cNvPr>
          <p:cNvSpPr>
            <a:spLocks noGrp="1"/>
          </p:cNvSpPr>
          <p:nvPr>
            <p:ph type="sldNum" sz="quarter" idx="12"/>
          </p:nvPr>
        </p:nvSpPr>
        <p:spPr/>
        <p:txBody>
          <a:bodyPr/>
          <a:lstStyle/>
          <a:p>
            <a:fld id="{32B354EE-31EA-4FC2-9496-7B6202183237}" type="slidenum">
              <a:rPr lang="en-US" smtClean="0"/>
              <a:pPr/>
              <a:t>13</a:t>
            </a:fld>
            <a:endParaRPr lang="en-US"/>
          </a:p>
        </p:txBody>
      </p:sp>
      <p:sp>
        <p:nvSpPr>
          <p:cNvPr id="11" name="Rectangle 10">
            <a:extLst>
              <a:ext uri="{FF2B5EF4-FFF2-40B4-BE49-F238E27FC236}">
                <a16:creationId xmlns:a16="http://schemas.microsoft.com/office/drawing/2014/main" id="{78269EEE-80CA-2547-FE6D-A68DF3EA9C91}"/>
              </a:ext>
            </a:extLst>
          </p:cNvPr>
          <p:cNvSpPr/>
          <p:nvPr/>
        </p:nvSpPr>
        <p:spPr>
          <a:xfrm>
            <a:off x="0" y="0"/>
            <a:ext cx="6184900" cy="6857990"/>
          </a:xfrm>
          <a:prstGeom prst="rect">
            <a:avLst/>
          </a:prstGeom>
          <a:gradFill>
            <a:gsLst>
              <a:gs pos="0">
                <a:schemeClr val="tx1"/>
              </a:gs>
              <a:gs pos="100000">
                <a:schemeClr val="tx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900"/>
              </a:spcAft>
            </a:pPr>
            <a:endParaRPr lang="nl-NL" sz="1800" dirty="0" err="1">
              <a:solidFill>
                <a:schemeClr val="bg1"/>
              </a:solidFill>
            </a:endParaRPr>
          </a:p>
        </p:txBody>
      </p:sp>
      <p:sp>
        <p:nvSpPr>
          <p:cNvPr id="7" name="TextBox 6">
            <a:extLst>
              <a:ext uri="{FF2B5EF4-FFF2-40B4-BE49-F238E27FC236}">
                <a16:creationId xmlns:a16="http://schemas.microsoft.com/office/drawing/2014/main" id="{1CC6A92D-6868-8066-A9B5-63E7C74EFBBD}"/>
              </a:ext>
            </a:extLst>
          </p:cNvPr>
          <p:cNvSpPr txBox="1"/>
          <p:nvPr/>
        </p:nvSpPr>
        <p:spPr>
          <a:xfrm>
            <a:off x="410882" y="5051502"/>
            <a:ext cx="4074835" cy="1036522"/>
          </a:xfrm>
          <a:prstGeom prst="rect">
            <a:avLst/>
          </a:prstGeom>
          <a:noFill/>
        </p:spPr>
        <p:txBody>
          <a:bodyPr wrap="square" lIns="0" tIns="0" rIns="0" bIns="0" rtlCol="0">
            <a:noAutofit/>
          </a:bodyPr>
          <a:lstStyle>
            <a:defPPr>
              <a:defRPr lang="en-US"/>
            </a:defPPr>
            <a:lvl1pPr>
              <a:lnSpc>
                <a:spcPct val="90000"/>
              </a:lnSpc>
              <a:spcAft>
                <a:spcPts val="900"/>
              </a:spcAft>
              <a:defRPr sz="2800" b="1">
                <a:solidFill>
                  <a:schemeClr val="bg1"/>
                </a:solidFill>
              </a:defRPr>
            </a:lvl1pPr>
          </a:lstStyle>
          <a:p>
            <a:pPr algn="ctr"/>
            <a:r>
              <a:rPr lang="nl-NL" dirty="0"/>
              <a:t> </a:t>
            </a:r>
          </a:p>
          <a:p>
            <a:pPr algn="ctr"/>
            <a:r>
              <a:rPr lang="nl-NL" sz="3200" dirty="0"/>
              <a:t>PROFIT</a:t>
            </a:r>
            <a:endParaRPr lang="nl-NL" dirty="0"/>
          </a:p>
        </p:txBody>
      </p:sp>
    </p:spTree>
    <p:extLst>
      <p:ext uri="{BB962C8B-B14F-4D97-AF65-F5344CB8AC3E}">
        <p14:creationId xmlns:p14="http://schemas.microsoft.com/office/powerpoint/2010/main" val="252875855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Afbeelding 2">
            <a:extLst>
              <a:ext uri="{FF2B5EF4-FFF2-40B4-BE49-F238E27FC236}">
                <a16:creationId xmlns:a16="http://schemas.microsoft.com/office/drawing/2014/main" id="{C5CE35B6-801E-6172-E470-F702F06F8EC1}"/>
              </a:ext>
            </a:extLst>
          </p:cNvPr>
          <p:cNvPicPr>
            <a:picLocks noChangeAspect="1"/>
          </p:cNvPicPr>
          <p:nvPr/>
        </p:nvPicPr>
        <p:blipFill rotWithShape="1">
          <a:blip r:embed="rId3" cstate="email">
            <a:alphaModFix amt="85000"/>
            <a:extLst>
              <a:ext uri="{28A0092B-C50C-407E-A947-70E740481C1C}">
                <a14:useLocalDpi xmlns:a14="http://schemas.microsoft.com/office/drawing/2010/main"/>
              </a:ext>
            </a:extLst>
          </a:blip>
          <a:srcRect/>
          <a:stretch/>
        </p:blipFill>
        <p:spPr>
          <a:xfrm>
            <a:off x="1225118" y="1467943"/>
            <a:ext cx="10365364" cy="4627656"/>
          </a:xfrm>
          <a:prstGeom prst="rect">
            <a:avLst/>
          </a:prstGeom>
          <a:ln>
            <a:noFill/>
          </a:ln>
          <a:effectLst>
            <a:outerShdw blurRad="292100" dist="139700" dir="2700000" algn="tl" rotWithShape="0">
              <a:srgbClr val="333333">
                <a:alpha val="65000"/>
              </a:srgbClr>
            </a:outerShdw>
          </a:effectLst>
        </p:spPr>
      </p:pic>
      <p:sp>
        <p:nvSpPr>
          <p:cNvPr id="5" name="Text Placeholder 4">
            <a:extLst>
              <a:ext uri="{FF2B5EF4-FFF2-40B4-BE49-F238E27FC236}">
                <a16:creationId xmlns:a16="http://schemas.microsoft.com/office/drawing/2014/main" id="{12F621A5-A54A-89D1-59AE-8C1AF123D013}"/>
              </a:ext>
            </a:extLst>
          </p:cNvPr>
          <p:cNvSpPr>
            <a:spLocks noGrp="1"/>
          </p:cNvSpPr>
          <p:nvPr>
            <p:ph sz="quarter" idx="13"/>
          </p:nvPr>
        </p:nvSpPr>
        <p:spPr>
          <a:xfrm>
            <a:off x="325155" y="2192656"/>
            <a:ext cx="3916908" cy="776038"/>
          </a:xfrm>
        </p:spPr>
        <p:txBody>
          <a:bodyPr/>
          <a:lstStyle/>
          <a:p>
            <a:br>
              <a:rPr lang="nl-NL" dirty="0"/>
            </a:br>
            <a:br>
              <a:rPr lang="nl-NL" dirty="0"/>
            </a:br>
            <a:endParaRPr lang="en-BE" dirty="0"/>
          </a:p>
        </p:txBody>
      </p:sp>
      <p:sp>
        <p:nvSpPr>
          <p:cNvPr id="4" name="Title 3">
            <a:extLst>
              <a:ext uri="{FF2B5EF4-FFF2-40B4-BE49-F238E27FC236}">
                <a16:creationId xmlns:a16="http://schemas.microsoft.com/office/drawing/2014/main" id="{92355AD5-915B-B36B-4A4F-9C59A5D4AB4D}"/>
              </a:ext>
            </a:extLst>
          </p:cNvPr>
          <p:cNvSpPr>
            <a:spLocks noGrp="1"/>
          </p:cNvSpPr>
          <p:nvPr>
            <p:ph type="title"/>
          </p:nvPr>
        </p:nvSpPr>
        <p:spPr/>
        <p:txBody>
          <a:bodyPr/>
          <a:lstStyle/>
          <a:p>
            <a:r>
              <a:rPr lang="en-US" dirty="0"/>
              <a:t>Energy costs are still </a:t>
            </a:r>
            <a:r>
              <a:rPr lang="en-US" dirty="0">
                <a:solidFill>
                  <a:schemeClr val="accent3"/>
                </a:solidFill>
              </a:rPr>
              <a:t>50% higher </a:t>
            </a:r>
            <a:r>
              <a:rPr lang="en-US" dirty="0"/>
              <a:t>than in Q1 2021</a:t>
            </a:r>
            <a:br>
              <a:rPr lang="en-US" dirty="0"/>
            </a:br>
            <a:endParaRPr lang="en-BE" i="1" dirty="0">
              <a:solidFill>
                <a:schemeClr val="accent1"/>
              </a:solidFill>
            </a:endParaRPr>
          </a:p>
        </p:txBody>
      </p:sp>
    </p:spTree>
    <p:extLst>
      <p:ext uri="{BB962C8B-B14F-4D97-AF65-F5344CB8AC3E}">
        <p14:creationId xmlns:p14="http://schemas.microsoft.com/office/powerpoint/2010/main" val="34391973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light - What's the problem in designing a bright enough LED lamp ...">
            <a:extLst>
              <a:ext uri="{FF2B5EF4-FFF2-40B4-BE49-F238E27FC236}">
                <a16:creationId xmlns:a16="http://schemas.microsoft.com/office/drawing/2014/main" id="{FA561F96-527E-0114-73A7-018BE1BFBD56}"/>
              </a:ext>
            </a:extLst>
          </p:cNvPr>
          <p:cNvPicPr>
            <a:picLocks noChangeAspect="1" noChangeArrowheads="1"/>
          </p:cNvPicPr>
          <p:nvPr/>
        </p:nvPicPr>
        <p:blipFill>
          <a:blip r:embed="rId3">
            <a:extLst>
              <a:ext uri="{28A0092B-C50C-407E-A947-70E740481C1C}">
                <a14:useLocalDpi xmlns:a14="http://schemas.microsoft.com/office/drawing/2010/main"/>
              </a:ext>
            </a:extLst>
          </a:blip>
          <a:stretch>
            <a:fillRect/>
          </a:stretch>
        </p:blipFill>
        <p:spPr bwMode="auto">
          <a:xfrm rot="967892">
            <a:off x="2947646" y="781008"/>
            <a:ext cx="5846115" cy="5846115"/>
          </a:xfrm>
          <a:prstGeom prst="rect">
            <a:avLst/>
          </a:prstGeom>
          <a:solidFill>
            <a:srgbClr val="FFFFFF"/>
          </a:solidFill>
        </p:spPr>
      </p:pic>
      <p:sp>
        <p:nvSpPr>
          <p:cNvPr id="2" name="Tijdelijke aanduiding voor dianummer 1">
            <a:extLst>
              <a:ext uri="{FF2B5EF4-FFF2-40B4-BE49-F238E27FC236}">
                <a16:creationId xmlns:a16="http://schemas.microsoft.com/office/drawing/2014/main" id="{3055094E-E295-6FDC-0311-D459B1F57AFE}"/>
              </a:ext>
            </a:extLst>
          </p:cNvPr>
          <p:cNvSpPr>
            <a:spLocks noGrp="1"/>
          </p:cNvSpPr>
          <p:nvPr>
            <p:ph type="sldNum" sz="quarter" idx="12"/>
          </p:nvPr>
        </p:nvSpPr>
        <p:spPr>
          <a:xfrm>
            <a:off x="410881" y="6332830"/>
            <a:ext cx="507262" cy="273450"/>
          </a:xfrm>
        </p:spPr>
        <p:txBody>
          <a:bodyPr anchor="t">
            <a:normAutofit/>
          </a:bodyPr>
          <a:lstStyle/>
          <a:p>
            <a:pPr marL="0" marR="0" lvl="0" indent="0" algn="l" defTabSz="521797" rtl="0" eaLnBrk="1" fontAlgn="auto" latinLnBrk="0" hangingPunct="1">
              <a:lnSpc>
                <a:spcPct val="100000"/>
              </a:lnSpc>
              <a:spcBef>
                <a:spcPts val="0"/>
              </a:spcBef>
              <a:spcAft>
                <a:spcPts val="600"/>
              </a:spcAft>
              <a:buClrTx/>
              <a:buSzTx/>
              <a:buFontTx/>
              <a:buNone/>
              <a:tabLst/>
              <a:defRPr/>
            </a:pPr>
            <a:fld id="{32B354EE-31EA-4FC2-9496-7B6202183237}" type="slidenum">
              <a:rPr kumimoji="0" lang="en-US" sz="1100" b="0" i="0" u="none" strike="noStrike" kern="1200" cap="none" spc="0" normalizeH="0" baseline="0" noProof="0" smtClean="0">
                <a:ln>
                  <a:noFill/>
                </a:ln>
                <a:solidFill>
                  <a:srgbClr val="1432FF"/>
                </a:solidFill>
                <a:effectLst/>
                <a:uLnTx/>
                <a:uFillTx/>
                <a:latin typeface="Signify Relative Book"/>
                <a:ea typeface="+mn-ea"/>
                <a:cs typeface="+mn-cs"/>
              </a:rPr>
              <a:pPr marL="0" marR="0" lvl="0" indent="0" algn="l" defTabSz="521797" rtl="0" eaLnBrk="1" fontAlgn="auto" latinLnBrk="0" hangingPunct="1">
                <a:lnSpc>
                  <a:spcPct val="100000"/>
                </a:lnSpc>
                <a:spcBef>
                  <a:spcPts val="0"/>
                </a:spcBef>
                <a:spcAft>
                  <a:spcPts val="600"/>
                </a:spcAft>
                <a:buClrTx/>
                <a:buSzTx/>
                <a:buFontTx/>
                <a:buNone/>
                <a:tabLst/>
                <a:defRPr/>
              </a:pPr>
              <a:t>15</a:t>
            </a:fld>
            <a:endParaRPr kumimoji="0" lang="en-US" sz="1100" b="0" i="0" u="none" strike="noStrike" kern="1200" cap="none" spc="0" normalizeH="0" baseline="0" noProof="0">
              <a:ln>
                <a:noFill/>
              </a:ln>
              <a:solidFill>
                <a:srgbClr val="1432FF"/>
              </a:solidFill>
              <a:effectLst/>
              <a:uLnTx/>
              <a:uFillTx/>
              <a:latin typeface="Signify Relative Book"/>
              <a:ea typeface="+mn-ea"/>
              <a:cs typeface="+mn-cs"/>
            </a:endParaRPr>
          </a:p>
        </p:txBody>
      </p:sp>
      <p:pic>
        <p:nvPicPr>
          <p:cNvPr id="7" name="Afbeelding 6" descr="Afbeelding met persoon, muur, overdekt&#10;&#10;Automatisch gegenereerde beschrijving">
            <a:extLst>
              <a:ext uri="{FF2B5EF4-FFF2-40B4-BE49-F238E27FC236}">
                <a16:creationId xmlns:a16="http://schemas.microsoft.com/office/drawing/2014/main" id="{0C276E7B-A01A-09AA-D17B-F97BF61755B4}"/>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212520" y="0"/>
            <a:ext cx="19594286" cy="6858000"/>
          </a:xfrm>
          <a:prstGeom prst="rect">
            <a:avLst/>
          </a:prstGeom>
        </p:spPr>
      </p:pic>
      <p:grpSp>
        <p:nvGrpSpPr>
          <p:cNvPr id="8" name="Group 4">
            <a:extLst>
              <a:ext uri="{FF2B5EF4-FFF2-40B4-BE49-F238E27FC236}">
                <a16:creationId xmlns:a16="http://schemas.microsoft.com/office/drawing/2014/main" id="{0D35D6EF-06CC-5B03-C34F-FB6022DDDA61}"/>
              </a:ext>
            </a:extLst>
          </p:cNvPr>
          <p:cNvGrpSpPr>
            <a:grpSpLocks noChangeAspect="1"/>
          </p:cNvGrpSpPr>
          <p:nvPr/>
        </p:nvGrpSpPr>
        <p:grpSpPr bwMode="auto">
          <a:xfrm>
            <a:off x="10597892" y="6332829"/>
            <a:ext cx="1181358" cy="288000"/>
            <a:chOff x="2071" y="1578"/>
            <a:chExt cx="2587" cy="631"/>
          </a:xfrm>
          <a:gradFill>
            <a:gsLst>
              <a:gs pos="50000">
                <a:srgbClr val="00E487"/>
              </a:gs>
              <a:gs pos="100000">
                <a:srgbClr val="1ECBD0"/>
              </a:gs>
            </a:gsLst>
            <a:lin ang="18900000" scaled="0"/>
          </a:gradFill>
        </p:grpSpPr>
        <p:sp>
          <p:nvSpPr>
            <p:cNvPr id="9" name="Freeform 5">
              <a:extLst>
                <a:ext uri="{FF2B5EF4-FFF2-40B4-BE49-F238E27FC236}">
                  <a16:creationId xmlns:a16="http://schemas.microsoft.com/office/drawing/2014/main" id="{00621E77-E06F-C574-D9F4-FB2E3E4C0EC1}"/>
                </a:ext>
              </a:extLst>
            </p:cNvPr>
            <p:cNvSpPr>
              <a:spLocks/>
            </p:cNvSpPr>
            <p:nvPr userDrawn="1"/>
          </p:nvSpPr>
          <p:spPr bwMode="auto">
            <a:xfrm>
              <a:off x="2765" y="1728"/>
              <a:ext cx="244" cy="318"/>
            </a:xfrm>
            <a:custGeom>
              <a:avLst/>
              <a:gdLst>
                <a:gd name="T0" fmla="*/ 12 w 129"/>
                <a:gd name="T1" fmla="*/ 0 h 168"/>
                <a:gd name="T2" fmla="*/ 8 w 129"/>
                <a:gd name="T3" fmla="*/ 4 h 168"/>
                <a:gd name="T4" fmla="*/ 8 w 129"/>
                <a:gd name="T5" fmla="*/ 25 h 168"/>
                <a:gd name="T6" fmla="*/ 12 w 129"/>
                <a:gd name="T7" fmla="*/ 29 h 168"/>
                <a:gd name="T8" fmla="*/ 48 w 129"/>
                <a:gd name="T9" fmla="*/ 29 h 168"/>
                <a:gd name="T10" fmla="*/ 48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2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2" y="0"/>
                  </a:moveTo>
                  <a:cubicBezTo>
                    <a:pt x="9" y="0"/>
                    <a:pt x="8" y="1"/>
                    <a:pt x="8" y="4"/>
                  </a:cubicBezTo>
                  <a:cubicBezTo>
                    <a:pt x="8" y="25"/>
                    <a:pt x="8" y="25"/>
                    <a:pt x="8" y="25"/>
                  </a:cubicBezTo>
                  <a:cubicBezTo>
                    <a:pt x="8" y="27"/>
                    <a:pt x="9" y="29"/>
                    <a:pt x="12" y="29"/>
                  </a:cubicBezTo>
                  <a:cubicBezTo>
                    <a:pt x="48" y="29"/>
                    <a:pt x="48" y="29"/>
                    <a:pt x="48" y="29"/>
                  </a:cubicBezTo>
                  <a:cubicBezTo>
                    <a:pt x="48" y="140"/>
                    <a:pt x="48" y="140"/>
                    <a:pt x="48"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8" y="140"/>
                    <a:pt x="125" y="140"/>
                  </a:cubicBezTo>
                  <a:cubicBezTo>
                    <a:pt x="76" y="140"/>
                    <a:pt x="76" y="140"/>
                    <a:pt x="76" y="140"/>
                  </a:cubicBezTo>
                  <a:cubicBezTo>
                    <a:pt x="76" y="4"/>
                    <a:pt x="76" y="4"/>
                    <a:pt x="76" y="4"/>
                  </a:cubicBezTo>
                  <a:cubicBezTo>
                    <a:pt x="76" y="1"/>
                    <a:pt x="75" y="0"/>
                    <a:pt x="72" y="0"/>
                  </a:cubicBez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21797" rtl="0" eaLnBrk="1" fontAlgn="auto" latinLnBrk="0" hangingPunct="1">
                <a:lnSpc>
                  <a:spcPct val="100000"/>
                </a:lnSpc>
                <a:spcBef>
                  <a:spcPts val="0"/>
                </a:spcBef>
                <a:spcAft>
                  <a:spcPts val="0"/>
                </a:spcAft>
                <a:buClrTx/>
                <a:buSzTx/>
                <a:buFontTx/>
                <a:buNone/>
                <a:tabLst/>
                <a:defRPr/>
              </a:pPr>
              <a:endParaRPr kumimoji="0" lang="en-US" sz="2053" b="0" i="0" u="none" strike="noStrike" kern="1200" cap="none" spc="0" normalizeH="0" baseline="0" noProof="0">
                <a:ln>
                  <a:noFill/>
                </a:ln>
                <a:solidFill>
                  <a:prstClr val="black"/>
                </a:solidFill>
                <a:effectLst/>
                <a:uLnTx/>
                <a:uFillTx/>
                <a:latin typeface="Signify Relative Book"/>
                <a:ea typeface="+mn-ea"/>
                <a:cs typeface="+mn-cs"/>
              </a:endParaRPr>
            </a:p>
          </p:txBody>
        </p:sp>
        <p:sp>
          <p:nvSpPr>
            <p:cNvPr id="10" name="Freeform 6">
              <a:extLst>
                <a:ext uri="{FF2B5EF4-FFF2-40B4-BE49-F238E27FC236}">
                  <a16:creationId xmlns:a16="http://schemas.microsoft.com/office/drawing/2014/main" id="{2B591987-BF03-1436-4A3C-B83EFEC13ABC}"/>
                </a:ext>
              </a:extLst>
            </p:cNvPr>
            <p:cNvSpPr>
              <a:spLocks/>
            </p:cNvSpPr>
            <p:nvPr userDrawn="1"/>
          </p:nvSpPr>
          <p:spPr bwMode="auto">
            <a:xfrm>
              <a:off x="3798" y="1728"/>
              <a:ext cx="244" cy="318"/>
            </a:xfrm>
            <a:custGeom>
              <a:avLst/>
              <a:gdLst>
                <a:gd name="T0" fmla="*/ 11 w 129"/>
                <a:gd name="T1" fmla="*/ 0 h 168"/>
                <a:gd name="T2" fmla="*/ 8 w 129"/>
                <a:gd name="T3" fmla="*/ 4 h 168"/>
                <a:gd name="T4" fmla="*/ 8 w 129"/>
                <a:gd name="T5" fmla="*/ 25 h 168"/>
                <a:gd name="T6" fmla="*/ 11 w 129"/>
                <a:gd name="T7" fmla="*/ 29 h 168"/>
                <a:gd name="T8" fmla="*/ 47 w 129"/>
                <a:gd name="T9" fmla="*/ 29 h 168"/>
                <a:gd name="T10" fmla="*/ 47 w 129"/>
                <a:gd name="T11" fmla="*/ 140 h 168"/>
                <a:gd name="T12" fmla="*/ 3 w 129"/>
                <a:gd name="T13" fmla="*/ 140 h 168"/>
                <a:gd name="T14" fmla="*/ 0 w 129"/>
                <a:gd name="T15" fmla="*/ 143 h 168"/>
                <a:gd name="T16" fmla="*/ 0 w 129"/>
                <a:gd name="T17" fmla="*/ 165 h 168"/>
                <a:gd name="T18" fmla="*/ 3 w 129"/>
                <a:gd name="T19" fmla="*/ 168 h 168"/>
                <a:gd name="T20" fmla="*/ 125 w 129"/>
                <a:gd name="T21" fmla="*/ 168 h 168"/>
                <a:gd name="T22" fmla="*/ 129 w 129"/>
                <a:gd name="T23" fmla="*/ 165 h 168"/>
                <a:gd name="T24" fmla="*/ 129 w 129"/>
                <a:gd name="T25" fmla="*/ 143 h 168"/>
                <a:gd name="T26" fmla="*/ 125 w 129"/>
                <a:gd name="T27" fmla="*/ 140 h 168"/>
                <a:gd name="T28" fmla="*/ 76 w 129"/>
                <a:gd name="T29" fmla="*/ 140 h 168"/>
                <a:gd name="T30" fmla="*/ 76 w 129"/>
                <a:gd name="T31" fmla="*/ 4 h 168"/>
                <a:gd name="T32" fmla="*/ 72 w 129"/>
                <a:gd name="T33" fmla="*/ 0 h 168"/>
                <a:gd name="T34" fmla="*/ 11 w 129"/>
                <a:gd name="T35"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8">
                  <a:moveTo>
                    <a:pt x="11" y="0"/>
                  </a:moveTo>
                  <a:cubicBezTo>
                    <a:pt x="9" y="0"/>
                    <a:pt x="8" y="1"/>
                    <a:pt x="8" y="4"/>
                  </a:cubicBezTo>
                  <a:cubicBezTo>
                    <a:pt x="8" y="25"/>
                    <a:pt x="8" y="25"/>
                    <a:pt x="8" y="25"/>
                  </a:cubicBezTo>
                  <a:cubicBezTo>
                    <a:pt x="8" y="27"/>
                    <a:pt x="9" y="29"/>
                    <a:pt x="11" y="29"/>
                  </a:cubicBezTo>
                  <a:cubicBezTo>
                    <a:pt x="47" y="29"/>
                    <a:pt x="47" y="29"/>
                    <a:pt x="47" y="29"/>
                  </a:cubicBezTo>
                  <a:cubicBezTo>
                    <a:pt x="47" y="140"/>
                    <a:pt x="47" y="140"/>
                    <a:pt x="47" y="140"/>
                  </a:cubicBezTo>
                  <a:cubicBezTo>
                    <a:pt x="3" y="140"/>
                    <a:pt x="3" y="140"/>
                    <a:pt x="3" y="140"/>
                  </a:cubicBezTo>
                  <a:cubicBezTo>
                    <a:pt x="1" y="140"/>
                    <a:pt x="0" y="141"/>
                    <a:pt x="0" y="143"/>
                  </a:cubicBezTo>
                  <a:cubicBezTo>
                    <a:pt x="0" y="165"/>
                    <a:pt x="0" y="165"/>
                    <a:pt x="0" y="165"/>
                  </a:cubicBezTo>
                  <a:cubicBezTo>
                    <a:pt x="0" y="167"/>
                    <a:pt x="1" y="168"/>
                    <a:pt x="3" y="168"/>
                  </a:cubicBezTo>
                  <a:cubicBezTo>
                    <a:pt x="125" y="168"/>
                    <a:pt x="125" y="168"/>
                    <a:pt x="125" y="168"/>
                  </a:cubicBezTo>
                  <a:cubicBezTo>
                    <a:pt x="128" y="168"/>
                    <a:pt x="129" y="167"/>
                    <a:pt x="129" y="165"/>
                  </a:cubicBezTo>
                  <a:cubicBezTo>
                    <a:pt x="129" y="143"/>
                    <a:pt x="129" y="143"/>
                    <a:pt x="129" y="143"/>
                  </a:cubicBezTo>
                  <a:cubicBezTo>
                    <a:pt x="129" y="141"/>
                    <a:pt x="127" y="140"/>
                    <a:pt x="125" y="140"/>
                  </a:cubicBezTo>
                  <a:cubicBezTo>
                    <a:pt x="76" y="140"/>
                    <a:pt x="76" y="140"/>
                    <a:pt x="76" y="140"/>
                  </a:cubicBezTo>
                  <a:cubicBezTo>
                    <a:pt x="76" y="4"/>
                    <a:pt x="76" y="4"/>
                    <a:pt x="76" y="4"/>
                  </a:cubicBezTo>
                  <a:cubicBezTo>
                    <a:pt x="75" y="1"/>
                    <a:pt x="74" y="0"/>
                    <a:pt x="72" y="0"/>
                  </a:cubicBez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21797" rtl="0" eaLnBrk="1" fontAlgn="auto" latinLnBrk="0" hangingPunct="1">
                <a:lnSpc>
                  <a:spcPct val="100000"/>
                </a:lnSpc>
                <a:spcBef>
                  <a:spcPts val="0"/>
                </a:spcBef>
                <a:spcAft>
                  <a:spcPts val="0"/>
                </a:spcAft>
                <a:buClrTx/>
                <a:buSzTx/>
                <a:buFontTx/>
                <a:buNone/>
                <a:tabLst/>
                <a:defRPr/>
              </a:pPr>
              <a:endParaRPr kumimoji="0" lang="en-US" sz="2053" b="0" i="0" u="none" strike="noStrike" kern="1200" cap="none" spc="0" normalizeH="0" baseline="0" noProof="0">
                <a:ln>
                  <a:noFill/>
                </a:ln>
                <a:solidFill>
                  <a:prstClr val="black"/>
                </a:solidFill>
                <a:effectLst/>
                <a:uLnTx/>
                <a:uFillTx/>
                <a:latin typeface="Signify Relative Book"/>
                <a:ea typeface="+mn-ea"/>
                <a:cs typeface="+mn-cs"/>
              </a:endParaRPr>
            </a:p>
          </p:txBody>
        </p:sp>
        <p:sp>
          <p:nvSpPr>
            <p:cNvPr id="11" name="Freeform 7">
              <a:extLst>
                <a:ext uri="{FF2B5EF4-FFF2-40B4-BE49-F238E27FC236}">
                  <a16:creationId xmlns:a16="http://schemas.microsoft.com/office/drawing/2014/main" id="{0E7BD091-8F0A-F47B-69B3-13BFD79BED6B}"/>
                </a:ext>
              </a:extLst>
            </p:cNvPr>
            <p:cNvSpPr>
              <a:spLocks/>
            </p:cNvSpPr>
            <p:nvPr userDrawn="1"/>
          </p:nvSpPr>
          <p:spPr bwMode="auto">
            <a:xfrm>
              <a:off x="4361" y="1728"/>
              <a:ext cx="297" cy="464"/>
            </a:xfrm>
            <a:custGeom>
              <a:avLst/>
              <a:gdLst>
                <a:gd name="T0" fmla="*/ 132 w 157"/>
                <a:gd name="T1" fmla="*/ 0 h 245"/>
                <a:gd name="T2" fmla="*/ 127 w 157"/>
                <a:gd name="T3" fmla="*/ 3 h 245"/>
                <a:gd name="T4" fmla="*/ 127 w 157"/>
                <a:gd name="T5" fmla="*/ 3 h 245"/>
                <a:gd name="T6" fmla="*/ 79 w 157"/>
                <a:gd name="T7" fmla="*/ 128 h 245"/>
                <a:gd name="T8" fmla="*/ 30 w 157"/>
                <a:gd name="T9" fmla="*/ 4 h 245"/>
                <a:gd name="T10" fmla="*/ 25 w 157"/>
                <a:gd name="T11" fmla="*/ 0 h 245"/>
                <a:gd name="T12" fmla="*/ 4 w 157"/>
                <a:gd name="T13" fmla="*/ 0 h 245"/>
                <a:gd name="T14" fmla="*/ 0 w 157"/>
                <a:gd name="T15" fmla="*/ 3 h 245"/>
                <a:gd name="T16" fmla="*/ 1 w 157"/>
                <a:gd name="T17" fmla="*/ 6 h 245"/>
                <a:gd name="T18" fmla="*/ 1 w 157"/>
                <a:gd name="T19" fmla="*/ 6 h 245"/>
                <a:gd name="T20" fmla="*/ 1 w 157"/>
                <a:gd name="T21" fmla="*/ 6 h 245"/>
                <a:gd name="T22" fmla="*/ 64 w 157"/>
                <a:gd name="T23" fmla="*/ 168 h 245"/>
                <a:gd name="T24" fmla="*/ 59 w 157"/>
                <a:gd name="T25" fmla="*/ 182 h 245"/>
                <a:gd name="T26" fmla="*/ 48 w 157"/>
                <a:gd name="T27" fmla="*/ 205 h 245"/>
                <a:gd name="T28" fmla="*/ 38 w 157"/>
                <a:gd name="T29" fmla="*/ 215 h 245"/>
                <a:gd name="T30" fmla="*/ 30 w 157"/>
                <a:gd name="T31" fmla="*/ 217 h 245"/>
                <a:gd name="T32" fmla="*/ 26 w 157"/>
                <a:gd name="T33" fmla="*/ 216 h 245"/>
                <a:gd name="T34" fmla="*/ 14 w 157"/>
                <a:gd name="T35" fmla="*/ 213 h 245"/>
                <a:gd name="T36" fmla="*/ 7 w 157"/>
                <a:gd name="T37" fmla="*/ 210 h 245"/>
                <a:gd name="T38" fmla="*/ 3 w 157"/>
                <a:gd name="T39" fmla="*/ 215 h 245"/>
                <a:gd name="T40" fmla="*/ 3 w 157"/>
                <a:gd name="T41" fmla="*/ 233 h 245"/>
                <a:gd name="T42" fmla="*/ 3 w 157"/>
                <a:gd name="T43" fmla="*/ 233 h 245"/>
                <a:gd name="T44" fmla="*/ 7 w 157"/>
                <a:gd name="T45" fmla="*/ 240 h 245"/>
                <a:gd name="T46" fmla="*/ 32 w 157"/>
                <a:gd name="T47" fmla="*/ 245 h 245"/>
                <a:gd name="T48" fmla="*/ 54 w 157"/>
                <a:gd name="T49" fmla="*/ 238 h 245"/>
                <a:gd name="T50" fmla="*/ 73 w 157"/>
                <a:gd name="T51" fmla="*/ 220 h 245"/>
                <a:gd name="T52" fmla="*/ 79 w 157"/>
                <a:gd name="T53" fmla="*/ 208 h 245"/>
                <a:gd name="T54" fmla="*/ 156 w 157"/>
                <a:gd name="T55" fmla="*/ 6 h 245"/>
                <a:gd name="T56" fmla="*/ 157 w 157"/>
                <a:gd name="T57" fmla="*/ 3 h 245"/>
                <a:gd name="T58" fmla="*/ 153 w 157"/>
                <a:gd name="T59" fmla="*/ 0 h 245"/>
                <a:gd name="T60" fmla="*/ 132 w 157"/>
                <a:gd name="T61"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7" h="245">
                  <a:moveTo>
                    <a:pt x="132" y="0"/>
                  </a:moveTo>
                  <a:cubicBezTo>
                    <a:pt x="129" y="0"/>
                    <a:pt x="128" y="1"/>
                    <a:pt x="127" y="3"/>
                  </a:cubicBezTo>
                  <a:cubicBezTo>
                    <a:pt x="127" y="3"/>
                    <a:pt x="127" y="3"/>
                    <a:pt x="127" y="3"/>
                  </a:cubicBezTo>
                  <a:cubicBezTo>
                    <a:pt x="79" y="128"/>
                    <a:pt x="79" y="128"/>
                    <a:pt x="79" y="128"/>
                  </a:cubicBezTo>
                  <a:cubicBezTo>
                    <a:pt x="30" y="4"/>
                    <a:pt x="30" y="4"/>
                    <a:pt x="30" y="4"/>
                  </a:cubicBezTo>
                  <a:cubicBezTo>
                    <a:pt x="29" y="1"/>
                    <a:pt x="28" y="0"/>
                    <a:pt x="25" y="0"/>
                  </a:cubicBezTo>
                  <a:cubicBezTo>
                    <a:pt x="4" y="0"/>
                    <a:pt x="4" y="0"/>
                    <a:pt x="4" y="0"/>
                  </a:cubicBezTo>
                  <a:cubicBezTo>
                    <a:pt x="2" y="0"/>
                    <a:pt x="0" y="1"/>
                    <a:pt x="0" y="3"/>
                  </a:cubicBezTo>
                  <a:cubicBezTo>
                    <a:pt x="0" y="4"/>
                    <a:pt x="1" y="5"/>
                    <a:pt x="1" y="6"/>
                  </a:cubicBezTo>
                  <a:cubicBezTo>
                    <a:pt x="1" y="6"/>
                    <a:pt x="1" y="6"/>
                    <a:pt x="1" y="6"/>
                  </a:cubicBezTo>
                  <a:cubicBezTo>
                    <a:pt x="1" y="6"/>
                    <a:pt x="1" y="6"/>
                    <a:pt x="1" y="6"/>
                  </a:cubicBezTo>
                  <a:cubicBezTo>
                    <a:pt x="64" y="168"/>
                    <a:pt x="64" y="168"/>
                    <a:pt x="64" y="168"/>
                  </a:cubicBezTo>
                  <a:cubicBezTo>
                    <a:pt x="59" y="182"/>
                    <a:pt x="59" y="182"/>
                    <a:pt x="59" y="182"/>
                  </a:cubicBezTo>
                  <a:cubicBezTo>
                    <a:pt x="57" y="187"/>
                    <a:pt x="53" y="199"/>
                    <a:pt x="48" y="205"/>
                  </a:cubicBezTo>
                  <a:cubicBezTo>
                    <a:pt x="44" y="211"/>
                    <a:pt x="42" y="213"/>
                    <a:pt x="38" y="215"/>
                  </a:cubicBezTo>
                  <a:cubicBezTo>
                    <a:pt x="35" y="216"/>
                    <a:pt x="33" y="217"/>
                    <a:pt x="30" y="217"/>
                  </a:cubicBezTo>
                  <a:cubicBezTo>
                    <a:pt x="28" y="217"/>
                    <a:pt x="27" y="217"/>
                    <a:pt x="26" y="216"/>
                  </a:cubicBezTo>
                  <a:cubicBezTo>
                    <a:pt x="22" y="216"/>
                    <a:pt x="18" y="214"/>
                    <a:pt x="14" y="213"/>
                  </a:cubicBezTo>
                  <a:cubicBezTo>
                    <a:pt x="11" y="212"/>
                    <a:pt x="9" y="210"/>
                    <a:pt x="7" y="210"/>
                  </a:cubicBezTo>
                  <a:cubicBezTo>
                    <a:pt x="5" y="210"/>
                    <a:pt x="3" y="212"/>
                    <a:pt x="3" y="215"/>
                  </a:cubicBezTo>
                  <a:cubicBezTo>
                    <a:pt x="3" y="233"/>
                    <a:pt x="3" y="233"/>
                    <a:pt x="3" y="233"/>
                  </a:cubicBezTo>
                  <a:cubicBezTo>
                    <a:pt x="3" y="233"/>
                    <a:pt x="3" y="233"/>
                    <a:pt x="3" y="233"/>
                  </a:cubicBezTo>
                  <a:cubicBezTo>
                    <a:pt x="3" y="236"/>
                    <a:pt x="4" y="238"/>
                    <a:pt x="7" y="240"/>
                  </a:cubicBezTo>
                  <a:cubicBezTo>
                    <a:pt x="15" y="243"/>
                    <a:pt x="21" y="245"/>
                    <a:pt x="32" y="245"/>
                  </a:cubicBezTo>
                  <a:cubicBezTo>
                    <a:pt x="41" y="244"/>
                    <a:pt x="47" y="242"/>
                    <a:pt x="54" y="238"/>
                  </a:cubicBezTo>
                  <a:cubicBezTo>
                    <a:pt x="61" y="233"/>
                    <a:pt x="67" y="227"/>
                    <a:pt x="73" y="220"/>
                  </a:cubicBezTo>
                  <a:cubicBezTo>
                    <a:pt x="75" y="216"/>
                    <a:pt x="77" y="212"/>
                    <a:pt x="79" y="208"/>
                  </a:cubicBezTo>
                  <a:cubicBezTo>
                    <a:pt x="83" y="200"/>
                    <a:pt x="144" y="40"/>
                    <a:pt x="156" y="6"/>
                  </a:cubicBezTo>
                  <a:cubicBezTo>
                    <a:pt x="157" y="5"/>
                    <a:pt x="157" y="4"/>
                    <a:pt x="157" y="3"/>
                  </a:cubicBezTo>
                  <a:cubicBezTo>
                    <a:pt x="157" y="1"/>
                    <a:pt x="155" y="0"/>
                    <a:pt x="153" y="0"/>
                  </a:cubicBezTo>
                  <a:lnTo>
                    <a:pt x="1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21797" rtl="0" eaLnBrk="1" fontAlgn="auto" latinLnBrk="0" hangingPunct="1">
                <a:lnSpc>
                  <a:spcPct val="100000"/>
                </a:lnSpc>
                <a:spcBef>
                  <a:spcPts val="0"/>
                </a:spcBef>
                <a:spcAft>
                  <a:spcPts val="0"/>
                </a:spcAft>
                <a:buClrTx/>
                <a:buSzTx/>
                <a:buFontTx/>
                <a:buNone/>
                <a:tabLst/>
                <a:defRPr/>
              </a:pPr>
              <a:endParaRPr kumimoji="0" lang="en-US" sz="2053" b="0" i="0" u="none" strike="noStrike" kern="1200" cap="none" spc="0" normalizeH="0" baseline="0" noProof="0">
                <a:ln>
                  <a:noFill/>
                </a:ln>
                <a:solidFill>
                  <a:prstClr val="black"/>
                </a:solidFill>
                <a:effectLst/>
                <a:uLnTx/>
                <a:uFillTx/>
                <a:latin typeface="Signify Relative Book"/>
                <a:ea typeface="+mn-ea"/>
                <a:cs typeface="+mn-cs"/>
              </a:endParaRPr>
            </a:p>
          </p:txBody>
        </p:sp>
        <p:sp>
          <p:nvSpPr>
            <p:cNvPr id="12" name="Freeform 8">
              <a:extLst>
                <a:ext uri="{FF2B5EF4-FFF2-40B4-BE49-F238E27FC236}">
                  <a16:creationId xmlns:a16="http://schemas.microsoft.com/office/drawing/2014/main" id="{34E89D31-8496-3295-B8AA-F12685B7768C}"/>
                </a:ext>
              </a:extLst>
            </p:cNvPr>
            <p:cNvSpPr>
              <a:spLocks/>
            </p:cNvSpPr>
            <p:nvPr userDrawn="1"/>
          </p:nvSpPr>
          <p:spPr bwMode="auto">
            <a:xfrm>
              <a:off x="3457" y="1726"/>
              <a:ext cx="263" cy="322"/>
            </a:xfrm>
            <a:custGeom>
              <a:avLst/>
              <a:gdLst>
                <a:gd name="T0" fmla="*/ 28 w 139"/>
                <a:gd name="T1" fmla="*/ 21 h 170"/>
                <a:gd name="T2" fmla="*/ 28 w 139"/>
                <a:gd name="T3" fmla="*/ 6 h 170"/>
                <a:gd name="T4" fmla="*/ 25 w 139"/>
                <a:gd name="T5" fmla="*/ 3 h 170"/>
                <a:gd name="T6" fmla="*/ 4 w 139"/>
                <a:gd name="T7" fmla="*/ 3 h 170"/>
                <a:gd name="T8" fmla="*/ 0 w 139"/>
                <a:gd name="T9" fmla="*/ 6 h 170"/>
                <a:gd name="T10" fmla="*/ 0 w 139"/>
                <a:gd name="T11" fmla="*/ 167 h 170"/>
                <a:gd name="T12" fmla="*/ 4 w 139"/>
                <a:gd name="T13" fmla="*/ 170 h 170"/>
                <a:gd name="T14" fmla="*/ 25 w 139"/>
                <a:gd name="T15" fmla="*/ 170 h 170"/>
                <a:gd name="T16" fmla="*/ 28 w 139"/>
                <a:gd name="T17" fmla="*/ 167 h 170"/>
                <a:gd name="T18" fmla="*/ 28 w 139"/>
                <a:gd name="T19" fmla="*/ 68 h 170"/>
                <a:gd name="T20" fmla="*/ 70 w 139"/>
                <a:gd name="T21" fmla="*/ 28 h 170"/>
                <a:gd name="T22" fmla="*/ 111 w 139"/>
                <a:gd name="T23" fmla="*/ 68 h 170"/>
                <a:gd name="T24" fmla="*/ 111 w 139"/>
                <a:gd name="T25" fmla="*/ 167 h 170"/>
                <a:gd name="T26" fmla="*/ 111 w 139"/>
                <a:gd name="T27" fmla="*/ 167 h 170"/>
                <a:gd name="T28" fmla="*/ 114 w 139"/>
                <a:gd name="T29" fmla="*/ 170 h 170"/>
                <a:gd name="T30" fmla="*/ 136 w 139"/>
                <a:gd name="T31" fmla="*/ 170 h 170"/>
                <a:gd name="T32" fmla="*/ 139 w 139"/>
                <a:gd name="T33" fmla="*/ 167 h 170"/>
                <a:gd name="T34" fmla="*/ 139 w 139"/>
                <a:gd name="T35" fmla="*/ 68 h 170"/>
                <a:gd name="T36" fmla="*/ 139 w 139"/>
                <a:gd name="T37" fmla="*/ 68 h 170"/>
                <a:gd name="T38" fmla="*/ 139 w 139"/>
                <a:gd name="T39" fmla="*/ 68 h 170"/>
                <a:gd name="T40" fmla="*/ 120 w 139"/>
                <a:gd name="T41" fmla="*/ 20 h 170"/>
                <a:gd name="T42" fmla="*/ 70 w 139"/>
                <a:gd name="T43" fmla="*/ 0 h 170"/>
                <a:gd name="T44" fmla="*/ 28 w 139"/>
                <a:gd name="T45" fmla="*/ 2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170">
                  <a:moveTo>
                    <a:pt x="28" y="21"/>
                  </a:moveTo>
                  <a:cubicBezTo>
                    <a:pt x="28" y="6"/>
                    <a:pt x="28" y="6"/>
                    <a:pt x="28" y="6"/>
                  </a:cubicBezTo>
                  <a:cubicBezTo>
                    <a:pt x="28" y="4"/>
                    <a:pt x="27" y="3"/>
                    <a:pt x="25" y="3"/>
                  </a:cubicBezTo>
                  <a:cubicBezTo>
                    <a:pt x="4" y="3"/>
                    <a:pt x="4" y="3"/>
                    <a:pt x="4" y="3"/>
                  </a:cubicBezTo>
                  <a:cubicBezTo>
                    <a:pt x="1" y="3"/>
                    <a:pt x="0" y="4"/>
                    <a:pt x="0" y="6"/>
                  </a:cubicBezTo>
                  <a:cubicBezTo>
                    <a:pt x="0" y="167"/>
                    <a:pt x="0" y="167"/>
                    <a:pt x="0" y="167"/>
                  </a:cubicBezTo>
                  <a:cubicBezTo>
                    <a:pt x="0" y="169"/>
                    <a:pt x="1" y="170"/>
                    <a:pt x="4" y="170"/>
                  </a:cubicBezTo>
                  <a:cubicBezTo>
                    <a:pt x="25" y="170"/>
                    <a:pt x="25" y="170"/>
                    <a:pt x="25" y="170"/>
                  </a:cubicBezTo>
                  <a:cubicBezTo>
                    <a:pt x="27" y="170"/>
                    <a:pt x="28" y="169"/>
                    <a:pt x="28" y="167"/>
                  </a:cubicBezTo>
                  <a:cubicBezTo>
                    <a:pt x="28" y="68"/>
                    <a:pt x="28" y="68"/>
                    <a:pt x="28" y="68"/>
                  </a:cubicBezTo>
                  <a:cubicBezTo>
                    <a:pt x="28" y="49"/>
                    <a:pt x="42" y="28"/>
                    <a:pt x="70" y="28"/>
                  </a:cubicBezTo>
                  <a:cubicBezTo>
                    <a:pt x="97" y="28"/>
                    <a:pt x="111" y="49"/>
                    <a:pt x="111" y="68"/>
                  </a:cubicBezTo>
                  <a:cubicBezTo>
                    <a:pt x="111" y="167"/>
                    <a:pt x="111" y="167"/>
                    <a:pt x="111" y="167"/>
                  </a:cubicBezTo>
                  <a:cubicBezTo>
                    <a:pt x="111" y="167"/>
                    <a:pt x="111" y="167"/>
                    <a:pt x="111" y="167"/>
                  </a:cubicBezTo>
                  <a:cubicBezTo>
                    <a:pt x="111" y="169"/>
                    <a:pt x="112" y="170"/>
                    <a:pt x="114" y="170"/>
                  </a:cubicBezTo>
                  <a:cubicBezTo>
                    <a:pt x="136" y="170"/>
                    <a:pt x="136" y="170"/>
                    <a:pt x="136" y="170"/>
                  </a:cubicBezTo>
                  <a:cubicBezTo>
                    <a:pt x="138" y="170"/>
                    <a:pt x="139" y="169"/>
                    <a:pt x="139" y="167"/>
                  </a:cubicBezTo>
                  <a:cubicBezTo>
                    <a:pt x="139" y="68"/>
                    <a:pt x="139" y="68"/>
                    <a:pt x="139" y="68"/>
                  </a:cubicBezTo>
                  <a:cubicBezTo>
                    <a:pt x="139" y="68"/>
                    <a:pt x="139" y="68"/>
                    <a:pt x="139" y="68"/>
                  </a:cubicBezTo>
                  <a:cubicBezTo>
                    <a:pt x="139" y="68"/>
                    <a:pt x="139" y="68"/>
                    <a:pt x="139" y="68"/>
                  </a:cubicBezTo>
                  <a:cubicBezTo>
                    <a:pt x="139" y="51"/>
                    <a:pt x="133" y="35"/>
                    <a:pt x="120" y="20"/>
                  </a:cubicBezTo>
                  <a:cubicBezTo>
                    <a:pt x="109" y="7"/>
                    <a:pt x="88" y="0"/>
                    <a:pt x="70" y="0"/>
                  </a:cubicBezTo>
                  <a:cubicBezTo>
                    <a:pt x="41" y="0"/>
                    <a:pt x="28" y="21"/>
                    <a:pt x="28"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21797" rtl="0" eaLnBrk="1" fontAlgn="auto" latinLnBrk="0" hangingPunct="1">
                <a:lnSpc>
                  <a:spcPct val="100000"/>
                </a:lnSpc>
                <a:spcBef>
                  <a:spcPts val="0"/>
                </a:spcBef>
                <a:spcAft>
                  <a:spcPts val="0"/>
                </a:spcAft>
                <a:buClrTx/>
                <a:buSzTx/>
                <a:buFontTx/>
                <a:buNone/>
                <a:tabLst/>
                <a:defRPr/>
              </a:pPr>
              <a:endParaRPr kumimoji="0" lang="en-US" sz="2053" b="0" i="0" u="none" strike="noStrike" kern="1200" cap="none" spc="0" normalizeH="0" baseline="0" noProof="0">
                <a:ln>
                  <a:noFill/>
                </a:ln>
                <a:solidFill>
                  <a:prstClr val="black"/>
                </a:solidFill>
                <a:effectLst/>
                <a:uLnTx/>
                <a:uFillTx/>
                <a:latin typeface="Signify Relative Book"/>
                <a:ea typeface="+mn-ea"/>
                <a:cs typeface="+mn-cs"/>
              </a:endParaRPr>
            </a:p>
          </p:txBody>
        </p:sp>
        <p:sp>
          <p:nvSpPr>
            <p:cNvPr id="13" name="Freeform 9">
              <a:extLst>
                <a:ext uri="{FF2B5EF4-FFF2-40B4-BE49-F238E27FC236}">
                  <a16:creationId xmlns:a16="http://schemas.microsoft.com/office/drawing/2014/main" id="{DDD691F9-B1D4-1394-EC79-93B537C52039}"/>
                </a:ext>
              </a:extLst>
            </p:cNvPr>
            <p:cNvSpPr>
              <a:spLocks/>
            </p:cNvSpPr>
            <p:nvPr userDrawn="1"/>
          </p:nvSpPr>
          <p:spPr bwMode="auto">
            <a:xfrm>
              <a:off x="2264" y="1724"/>
              <a:ext cx="246" cy="328"/>
            </a:xfrm>
            <a:custGeom>
              <a:avLst/>
              <a:gdLst>
                <a:gd name="T0" fmla="*/ 4 w 130"/>
                <a:gd name="T1" fmla="*/ 48 h 173"/>
                <a:gd name="T2" fmla="*/ 56 w 130"/>
                <a:gd name="T3" fmla="*/ 97 h 173"/>
                <a:gd name="T4" fmla="*/ 57 w 130"/>
                <a:gd name="T5" fmla="*/ 98 h 173"/>
                <a:gd name="T6" fmla="*/ 101 w 130"/>
                <a:gd name="T7" fmla="*/ 124 h 173"/>
                <a:gd name="T8" fmla="*/ 66 w 130"/>
                <a:gd name="T9" fmla="*/ 146 h 173"/>
                <a:gd name="T10" fmla="*/ 30 w 130"/>
                <a:gd name="T11" fmla="*/ 118 h 173"/>
                <a:gd name="T12" fmla="*/ 26 w 130"/>
                <a:gd name="T13" fmla="*/ 114 h 173"/>
                <a:gd name="T14" fmla="*/ 5 w 130"/>
                <a:gd name="T15" fmla="*/ 114 h 173"/>
                <a:gd name="T16" fmla="*/ 0 w 130"/>
                <a:gd name="T17" fmla="*/ 118 h 173"/>
                <a:gd name="T18" fmla="*/ 65 w 130"/>
                <a:gd name="T19" fmla="*/ 173 h 173"/>
                <a:gd name="T20" fmla="*/ 130 w 130"/>
                <a:gd name="T21" fmla="*/ 120 h 173"/>
                <a:gd name="T22" fmla="*/ 72 w 130"/>
                <a:gd name="T23" fmla="*/ 74 h 173"/>
                <a:gd name="T24" fmla="*/ 32 w 130"/>
                <a:gd name="T25" fmla="*/ 48 h 173"/>
                <a:gd name="T26" fmla="*/ 63 w 130"/>
                <a:gd name="T27" fmla="*/ 27 h 173"/>
                <a:gd name="T28" fmla="*/ 97 w 130"/>
                <a:gd name="T29" fmla="*/ 49 h 173"/>
                <a:gd name="T30" fmla="*/ 102 w 130"/>
                <a:gd name="T31" fmla="*/ 53 h 173"/>
                <a:gd name="T32" fmla="*/ 120 w 130"/>
                <a:gd name="T33" fmla="*/ 53 h 173"/>
                <a:gd name="T34" fmla="*/ 125 w 130"/>
                <a:gd name="T35" fmla="*/ 48 h 173"/>
                <a:gd name="T36" fmla="*/ 63 w 130"/>
                <a:gd name="T37" fmla="*/ 0 h 173"/>
                <a:gd name="T38" fmla="*/ 4 w 130"/>
                <a:gd name="T39" fmla="*/ 4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173">
                  <a:moveTo>
                    <a:pt x="4" y="48"/>
                  </a:moveTo>
                  <a:cubicBezTo>
                    <a:pt x="4" y="77"/>
                    <a:pt x="19" y="91"/>
                    <a:pt x="56" y="97"/>
                  </a:cubicBezTo>
                  <a:cubicBezTo>
                    <a:pt x="57" y="98"/>
                    <a:pt x="57" y="98"/>
                    <a:pt x="57" y="98"/>
                  </a:cubicBezTo>
                  <a:cubicBezTo>
                    <a:pt x="83" y="102"/>
                    <a:pt x="101" y="105"/>
                    <a:pt x="101" y="124"/>
                  </a:cubicBezTo>
                  <a:cubicBezTo>
                    <a:pt x="101" y="139"/>
                    <a:pt x="83" y="146"/>
                    <a:pt x="66" y="146"/>
                  </a:cubicBezTo>
                  <a:cubicBezTo>
                    <a:pt x="46" y="146"/>
                    <a:pt x="33" y="136"/>
                    <a:pt x="30" y="118"/>
                  </a:cubicBezTo>
                  <a:cubicBezTo>
                    <a:pt x="30" y="116"/>
                    <a:pt x="29" y="114"/>
                    <a:pt x="26" y="114"/>
                  </a:cubicBezTo>
                  <a:cubicBezTo>
                    <a:pt x="5" y="114"/>
                    <a:pt x="5" y="114"/>
                    <a:pt x="5" y="114"/>
                  </a:cubicBezTo>
                  <a:cubicBezTo>
                    <a:pt x="2" y="114"/>
                    <a:pt x="0" y="116"/>
                    <a:pt x="0" y="118"/>
                  </a:cubicBezTo>
                  <a:cubicBezTo>
                    <a:pt x="0" y="150"/>
                    <a:pt x="27" y="173"/>
                    <a:pt x="65" y="173"/>
                  </a:cubicBezTo>
                  <a:cubicBezTo>
                    <a:pt x="104" y="173"/>
                    <a:pt x="130" y="151"/>
                    <a:pt x="130" y="120"/>
                  </a:cubicBezTo>
                  <a:cubicBezTo>
                    <a:pt x="130" y="86"/>
                    <a:pt x="100" y="79"/>
                    <a:pt x="72" y="74"/>
                  </a:cubicBezTo>
                  <a:cubicBezTo>
                    <a:pt x="37" y="68"/>
                    <a:pt x="32" y="58"/>
                    <a:pt x="32" y="48"/>
                  </a:cubicBezTo>
                  <a:cubicBezTo>
                    <a:pt x="32" y="32"/>
                    <a:pt x="49" y="27"/>
                    <a:pt x="63" y="27"/>
                  </a:cubicBezTo>
                  <a:cubicBezTo>
                    <a:pt x="82" y="27"/>
                    <a:pt x="94" y="34"/>
                    <a:pt x="97" y="49"/>
                  </a:cubicBezTo>
                  <a:cubicBezTo>
                    <a:pt x="98" y="51"/>
                    <a:pt x="98" y="53"/>
                    <a:pt x="102" y="53"/>
                  </a:cubicBezTo>
                  <a:cubicBezTo>
                    <a:pt x="120" y="53"/>
                    <a:pt x="120" y="53"/>
                    <a:pt x="120" y="53"/>
                  </a:cubicBezTo>
                  <a:cubicBezTo>
                    <a:pt x="123" y="53"/>
                    <a:pt x="125" y="51"/>
                    <a:pt x="125" y="48"/>
                  </a:cubicBezTo>
                  <a:cubicBezTo>
                    <a:pt x="125" y="19"/>
                    <a:pt x="100" y="0"/>
                    <a:pt x="63" y="0"/>
                  </a:cubicBezTo>
                  <a:cubicBezTo>
                    <a:pt x="22" y="0"/>
                    <a:pt x="4" y="25"/>
                    <a:pt x="4" y="4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21797" rtl="0" eaLnBrk="1" fontAlgn="auto" latinLnBrk="0" hangingPunct="1">
                <a:lnSpc>
                  <a:spcPct val="100000"/>
                </a:lnSpc>
                <a:spcBef>
                  <a:spcPts val="0"/>
                </a:spcBef>
                <a:spcAft>
                  <a:spcPts val="0"/>
                </a:spcAft>
                <a:buClrTx/>
                <a:buSzTx/>
                <a:buFontTx/>
                <a:buNone/>
                <a:tabLst/>
                <a:defRPr/>
              </a:pPr>
              <a:endParaRPr kumimoji="0" lang="en-US" sz="2053" b="0" i="0" u="none" strike="noStrike" kern="1200" cap="none" spc="0" normalizeH="0" baseline="0" noProof="0">
                <a:ln>
                  <a:noFill/>
                </a:ln>
                <a:solidFill>
                  <a:prstClr val="black"/>
                </a:solidFill>
                <a:effectLst/>
                <a:uLnTx/>
                <a:uFillTx/>
                <a:latin typeface="Signify Relative Book"/>
                <a:ea typeface="+mn-ea"/>
                <a:cs typeface="+mn-cs"/>
              </a:endParaRPr>
            </a:p>
          </p:txBody>
        </p:sp>
        <p:sp>
          <p:nvSpPr>
            <p:cNvPr id="14" name="Freeform 10">
              <a:extLst>
                <a:ext uri="{FF2B5EF4-FFF2-40B4-BE49-F238E27FC236}">
                  <a16:creationId xmlns:a16="http://schemas.microsoft.com/office/drawing/2014/main" id="{6B72D56C-1A0D-EB68-BE08-A1736DEFE93B}"/>
                </a:ext>
              </a:extLst>
            </p:cNvPr>
            <p:cNvSpPr>
              <a:spLocks/>
            </p:cNvSpPr>
            <p:nvPr userDrawn="1"/>
          </p:nvSpPr>
          <p:spPr bwMode="auto">
            <a:xfrm>
              <a:off x="3062" y="1722"/>
              <a:ext cx="312" cy="474"/>
            </a:xfrm>
            <a:custGeom>
              <a:avLst/>
              <a:gdLst>
                <a:gd name="T0" fmla="*/ 67 w 165"/>
                <a:gd name="T1" fmla="*/ 0 h 250"/>
                <a:gd name="T2" fmla="*/ 0 w 165"/>
                <a:gd name="T3" fmla="*/ 86 h 250"/>
                <a:gd name="T4" fmla="*/ 82 w 165"/>
                <a:gd name="T5" fmla="*/ 174 h 250"/>
                <a:gd name="T6" fmla="*/ 137 w 165"/>
                <a:gd name="T7" fmla="*/ 152 h 250"/>
                <a:gd name="T8" fmla="*/ 137 w 165"/>
                <a:gd name="T9" fmla="*/ 173 h 250"/>
                <a:gd name="T10" fmla="*/ 89 w 165"/>
                <a:gd name="T11" fmla="*/ 222 h 250"/>
                <a:gd name="T12" fmla="*/ 48 w 165"/>
                <a:gd name="T13" fmla="*/ 194 h 250"/>
                <a:gd name="T14" fmla="*/ 43 w 165"/>
                <a:gd name="T15" fmla="*/ 190 h 250"/>
                <a:gd name="T16" fmla="*/ 24 w 165"/>
                <a:gd name="T17" fmla="*/ 190 h 250"/>
                <a:gd name="T18" fmla="*/ 19 w 165"/>
                <a:gd name="T19" fmla="*/ 195 h 250"/>
                <a:gd name="T20" fmla="*/ 89 w 165"/>
                <a:gd name="T21" fmla="*/ 250 h 250"/>
                <a:gd name="T22" fmla="*/ 165 w 165"/>
                <a:gd name="T23" fmla="*/ 174 h 250"/>
                <a:gd name="T24" fmla="*/ 165 w 165"/>
                <a:gd name="T25" fmla="*/ 7 h 250"/>
                <a:gd name="T26" fmla="*/ 162 w 165"/>
                <a:gd name="T27" fmla="*/ 4 h 250"/>
                <a:gd name="T28" fmla="*/ 140 w 165"/>
                <a:gd name="T29" fmla="*/ 4 h 250"/>
                <a:gd name="T30" fmla="*/ 137 w 165"/>
                <a:gd name="T31" fmla="*/ 7 h 250"/>
                <a:gd name="T32" fmla="*/ 137 w 165"/>
                <a:gd name="T33" fmla="*/ 21 h 250"/>
                <a:gd name="T34" fmla="*/ 99 w 165"/>
                <a:gd name="T35" fmla="*/ 0 h 250"/>
                <a:gd name="T36" fmla="*/ 96 w 165"/>
                <a:gd name="T37" fmla="*/ 3 h 250"/>
                <a:gd name="T38" fmla="*/ 96 w 165"/>
                <a:gd name="T39" fmla="*/ 28 h 250"/>
                <a:gd name="T40" fmla="*/ 97 w 165"/>
                <a:gd name="T41" fmla="*/ 31 h 250"/>
                <a:gd name="T42" fmla="*/ 138 w 165"/>
                <a:gd name="T43" fmla="*/ 87 h 250"/>
                <a:gd name="T44" fmla="*/ 83 w 165"/>
                <a:gd name="T45" fmla="*/ 146 h 250"/>
                <a:gd name="T46" fmla="*/ 29 w 165"/>
                <a:gd name="T47" fmla="*/ 87 h 250"/>
                <a:gd name="T48" fmla="*/ 68 w 165"/>
                <a:gd name="T49" fmla="*/ 31 h 250"/>
                <a:gd name="T50" fmla="*/ 70 w 165"/>
                <a:gd name="T51" fmla="*/ 29 h 250"/>
                <a:gd name="T52" fmla="*/ 70 w 165"/>
                <a:gd name="T53" fmla="*/ 3 h 250"/>
                <a:gd name="T54" fmla="*/ 67 w 165"/>
                <a:gd name="T55" fmla="*/ 0 h 250"/>
                <a:gd name="T56" fmla="*/ 67 w 165"/>
                <a:gd name="T57"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5" h="250">
                  <a:moveTo>
                    <a:pt x="67" y="0"/>
                  </a:moveTo>
                  <a:cubicBezTo>
                    <a:pt x="29" y="8"/>
                    <a:pt x="0" y="44"/>
                    <a:pt x="0" y="86"/>
                  </a:cubicBezTo>
                  <a:cubicBezTo>
                    <a:pt x="0" y="135"/>
                    <a:pt x="37" y="174"/>
                    <a:pt x="82" y="174"/>
                  </a:cubicBezTo>
                  <a:cubicBezTo>
                    <a:pt x="103" y="174"/>
                    <a:pt x="122" y="166"/>
                    <a:pt x="137" y="152"/>
                  </a:cubicBezTo>
                  <a:cubicBezTo>
                    <a:pt x="137" y="173"/>
                    <a:pt x="137" y="173"/>
                    <a:pt x="137" y="173"/>
                  </a:cubicBezTo>
                  <a:cubicBezTo>
                    <a:pt x="137" y="205"/>
                    <a:pt x="120" y="222"/>
                    <a:pt x="89" y="222"/>
                  </a:cubicBezTo>
                  <a:cubicBezTo>
                    <a:pt x="66" y="222"/>
                    <a:pt x="52" y="213"/>
                    <a:pt x="48" y="194"/>
                  </a:cubicBezTo>
                  <a:cubicBezTo>
                    <a:pt x="47" y="192"/>
                    <a:pt x="46" y="190"/>
                    <a:pt x="43" y="190"/>
                  </a:cubicBezTo>
                  <a:cubicBezTo>
                    <a:pt x="24" y="190"/>
                    <a:pt x="24" y="190"/>
                    <a:pt x="24" y="190"/>
                  </a:cubicBezTo>
                  <a:cubicBezTo>
                    <a:pt x="21" y="190"/>
                    <a:pt x="19" y="192"/>
                    <a:pt x="19" y="195"/>
                  </a:cubicBezTo>
                  <a:cubicBezTo>
                    <a:pt x="22" y="228"/>
                    <a:pt x="51" y="250"/>
                    <a:pt x="89" y="250"/>
                  </a:cubicBezTo>
                  <a:cubicBezTo>
                    <a:pt x="135" y="250"/>
                    <a:pt x="165" y="219"/>
                    <a:pt x="165" y="174"/>
                  </a:cubicBezTo>
                  <a:cubicBezTo>
                    <a:pt x="165" y="7"/>
                    <a:pt x="165" y="7"/>
                    <a:pt x="165" y="7"/>
                  </a:cubicBezTo>
                  <a:cubicBezTo>
                    <a:pt x="165" y="5"/>
                    <a:pt x="164" y="4"/>
                    <a:pt x="162" y="4"/>
                  </a:cubicBezTo>
                  <a:cubicBezTo>
                    <a:pt x="140" y="4"/>
                    <a:pt x="140" y="4"/>
                    <a:pt x="140" y="4"/>
                  </a:cubicBezTo>
                  <a:cubicBezTo>
                    <a:pt x="138" y="4"/>
                    <a:pt x="137" y="5"/>
                    <a:pt x="137" y="7"/>
                  </a:cubicBezTo>
                  <a:cubicBezTo>
                    <a:pt x="137" y="21"/>
                    <a:pt x="137" y="21"/>
                    <a:pt x="137" y="21"/>
                  </a:cubicBezTo>
                  <a:cubicBezTo>
                    <a:pt x="126" y="11"/>
                    <a:pt x="113" y="4"/>
                    <a:pt x="99" y="0"/>
                  </a:cubicBezTo>
                  <a:cubicBezTo>
                    <a:pt x="97" y="0"/>
                    <a:pt x="96" y="1"/>
                    <a:pt x="96" y="3"/>
                  </a:cubicBezTo>
                  <a:cubicBezTo>
                    <a:pt x="96" y="28"/>
                    <a:pt x="96" y="28"/>
                    <a:pt x="96" y="28"/>
                  </a:cubicBezTo>
                  <a:cubicBezTo>
                    <a:pt x="96" y="29"/>
                    <a:pt x="96" y="30"/>
                    <a:pt x="97" y="31"/>
                  </a:cubicBezTo>
                  <a:cubicBezTo>
                    <a:pt x="121" y="37"/>
                    <a:pt x="138" y="60"/>
                    <a:pt x="138" y="87"/>
                  </a:cubicBezTo>
                  <a:cubicBezTo>
                    <a:pt x="138" y="119"/>
                    <a:pt x="114" y="146"/>
                    <a:pt x="83" y="146"/>
                  </a:cubicBezTo>
                  <a:cubicBezTo>
                    <a:pt x="53" y="146"/>
                    <a:pt x="29" y="119"/>
                    <a:pt x="29" y="87"/>
                  </a:cubicBezTo>
                  <a:cubicBezTo>
                    <a:pt x="29" y="61"/>
                    <a:pt x="45" y="38"/>
                    <a:pt x="68" y="31"/>
                  </a:cubicBezTo>
                  <a:cubicBezTo>
                    <a:pt x="69" y="31"/>
                    <a:pt x="70" y="30"/>
                    <a:pt x="70" y="29"/>
                  </a:cubicBezTo>
                  <a:cubicBezTo>
                    <a:pt x="70" y="3"/>
                    <a:pt x="70" y="3"/>
                    <a:pt x="70" y="3"/>
                  </a:cubicBezTo>
                  <a:cubicBezTo>
                    <a:pt x="70" y="1"/>
                    <a:pt x="69" y="0"/>
                    <a:pt x="67" y="0"/>
                  </a:cubicBezTo>
                  <a:cubicBezTo>
                    <a:pt x="67" y="0"/>
                    <a:pt x="67" y="0"/>
                    <a:pt x="6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21797" rtl="0" eaLnBrk="1" fontAlgn="auto" latinLnBrk="0" hangingPunct="1">
                <a:lnSpc>
                  <a:spcPct val="100000"/>
                </a:lnSpc>
                <a:spcBef>
                  <a:spcPts val="0"/>
                </a:spcBef>
                <a:spcAft>
                  <a:spcPts val="0"/>
                </a:spcAft>
                <a:buClrTx/>
                <a:buSzTx/>
                <a:buFontTx/>
                <a:buNone/>
                <a:tabLst/>
                <a:defRPr/>
              </a:pPr>
              <a:endParaRPr kumimoji="0" lang="en-US" sz="2053" b="0" i="0" u="none" strike="noStrike" kern="1200" cap="none" spc="0" normalizeH="0" baseline="0" noProof="0">
                <a:ln>
                  <a:noFill/>
                </a:ln>
                <a:solidFill>
                  <a:prstClr val="black"/>
                </a:solidFill>
                <a:effectLst/>
                <a:uLnTx/>
                <a:uFillTx/>
                <a:latin typeface="Signify Relative Book"/>
                <a:ea typeface="+mn-ea"/>
                <a:cs typeface="+mn-cs"/>
              </a:endParaRPr>
            </a:p>
          </p:txBody>
        </p:sp>
        <p:sp>
          <p:nvSpPr>
            <p:cNvPr id="15" name="Oval 11">
              <a:extLst>
                <a:ext uri="{FF2B5EF4-FFF2-40B4-BE49-F238E27FC236}">
                  <a16:creationId xmlns:a16="http://schemas.microsoft.com/office/drawing/2014/main" id="{2F95DC92-0321-87D5-18D2-48B49D421330}"/>
                </a:ext>
              </a:extLst>
            </p:cNvPr>
            <p:cNvSpPr>
              <a:spLocks noChangeArrowheads="1"/>
            </p:cNvSpPr>
            <p:nvPr userDrawn="1"/>
          </p:nvSpPr>
          <p:spPr bwMode="auto">
            <a:xfrm>
              <a:off x="284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21797" rtl="0" eaLnBrk="1" fontAlgn="auto" latinLnBrk="0" hangingPunct="1">
                <a:lnSpc>
                  <a:spcPct val="100000"/>
                </a:lnSpc>
                <a:spcBef>
                  <a:spcPts val="0"/>
                </a:spcBef>
                <a:spcAft>
                  <a:spcPts val="0"/>
                </a:spcAft>
                <a:buClrTx/>
                <a:buSzTx/>
                <a:buFontTx/>
                <a:buNone/>
                <a:tabLst/>
                <a:defRPr/>
              </a:pPr>
              <a:endParaRPr kumimoji="0" lang="en-US" sz="2053" b="0" i="0" u="none" strike="noStrike" kern="1200" cap="none" spc="0" normalizeH="0" baseline="0" noProof="0">
                <a:ln>
                  <a:noFill/>
                </a:ln>
                <a:solidFill>
                  <a:prstClr val="black"/>
                </a:solidFill>
                <a:effectLst/>
                <a:uLnTx/>
                <a:uFillTx/>
                <a:latin typeface="Signify Relative Book"/>
                <a:ea typeface="+mn-ea"/>
                <a:cs typeface="+mn-cs"/>
              </a:endParaRPr>
            </a:p>
          </p:txBody>
        </p:sp>
        <p:sp>
          <p:nvSpPr>
            <p:cNvPr id="16" name="Oval 12">
              <a:extLst>
                <a:ext uri="{FF2B5EF4-FFF2-40B4-BE49-F238E27FC236}">
                  <a16:creationId xmlns:a16="http://schemas.microsoft.com/office/drawing/2014/main" id="{EF83BA81-A425-EF05-2ED9-451642386C55}"/>
                </a:ext>
              </a:extLst>
            </p:cNvPr>
            <p:cNvSpPr>
              <a:spLocks noChangeArrowheads="1"/>
            </p:cNvSpPr>
            <p:nvPr userDrawn="1"/>
          </p:nvSpPr>
          <p:spPr bwMode="auto">
            <a:xfrm>
              <a:off x="3873" y="1589"/>
              <a:ext cx="87"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21797" rtl="0" eaLnBrk="1" fontAlgn="auto" latinLnBrk="0" hangingPunct="1">
                <a:lnSpc>
                  <a:spcPct val="100000"/>
                </a:lnSpc>
                <a:spcBef>
                  <a:spcPts val="0"/>
                </a:spcBef>
                <a:spcAft>
                  <a:spcPts val="0"/>
                </a:spcAft>
                <a:buClrTx/>
                <a:buSzTx/>
                <a:buFontTx/>
                <a:buNone/>
                <a:tabLst/>
                <a:defRPr/>
              </a:pPr>
              <a:endParaRPr kumimoji="0" lang="en-US" sz="2053" b="0" i="0" u="none" strike="noStrike" kern="1200" cap="none" spc="0" normalizeH="0" baseline="0" noProof="0">
                <a:ln>
                  <a:noFill/>
                </a:ln>
                <a:solidFill>
                  <a:prstClr val="black"/>
                </a:solidFill>
                <a:effectLst/>
                <a:uLnTx/>
                <a:uFillTx/>
                <a:latin typeface="Signify Relative Book"/>
                <a:ea typeface="+mn-ea"/>
                <a:cs typeface="+mn-cs"/>
              </a:endParaRPr>
            </a:p>
          </p:txBody>
        </p:sp>
        <p:sp>
          <p:nvSpPr>
            <p:cNvPr id="17" name="Freeform 13">
              <a:extLst>
                <a:ext uri="{FF2B5EF4-FFF2-40B4-BE49-F238E27FC236}">
                  <a16:creationId xmlns:a16="http://schemas.microsoft.com/office/drawing/2014/main" id="{ADA9EE44-37A6-F1B4-D295-D8974128244D}"/>
                </a:ext>
              </a:extLst>
            </p:cNvPr>
            <p:cNvSpPr>
              <a:spLocks/>
            </p:cNvSpPr>
            <p:nvPr userDrawn="1"/>
          </p:nvSpPr>
          <p:spPr bwMode="auto">
            <a:xfrm>
              <a:off x="4062" y="1584"/>
              <a:ext cx="242" cy="462"/>
            </a:xfrm>
            <a:custGeom>
              <a:avLst/>
              <a:gdLst>
                <a:gd name="T0" fmla="*/ 39 w 128"/>
                <a:gd name="T1" fmla="*/ 55 h 244"/>
                <a:gd name="T2" fmla="*/ 39 w 128"/>
                <a:gd name="T3" fmla="*/ 76 h 244"/>
                <a:gd name="T4" fmla="*/ 4 w 128"/>
                <a:gd name="T5" fmla="*/ 76 h 244"/>
                <a:gd name="T6" fmla="*/ 0 w 128"/>
                <a:gd name="T7" fmla="*/ 81 h 244"/>
                <a:gd name="T8" fmla="*/ 0 w 128"/>
                <a:gd name="T9" fmla="*/ 99 h 244"/>
                <a:gd name="T10" fmla="*/ 4 w 128"/>
                <a:gd name="T11" fmla="*/ 103 h 244"/>
                <a:gd name="T12" fmla="*/ 39 w 128"/>
                <a:gd name="T13" fmla="*/ 103 h 244"/>
                <a:gd name="T14" fmla="*/ 39 w 128"/>
                <a:gd name="T15" fmla="*/ 239 h 244"/>
                <a:gd name="T16" fmla="*/ 44 w 128"/>
                <a:gd name="T17" fmla="*/ 244 h 244"/>
                <a:gd name="T18" fmla="*/ 62 w 128"/>
                <a:gd name="T19" fmla="*/ 244 h 244"/>
                <a:gd name="T20" fmla="*/ 67 w 128"/>
                <a:gd name="T21" fmla="*/ 239 h 244"/>
                <a:gd name="T22" fmla="*/ 67 w 128"/>
                <a:gd name="T23" fmla="*/ 103 h 244"/>
                <a:gd name="T24" fmla="*/ 120 w 128"/>
                <a:gd name="T25" fmla="*/ 103 h 244"/>
                <a:gd name="T26" fmla="*/ 125 w 128"/>
                <a:gd name="T27" fmla="*/ 99 h 244"/>
                <a:gd name="T28" fmla="*/ 125 w 128"/>
                <a:gd name="T29" fmla="*/ 81 h 244"/>
                <a:gd name="T30" fmla="*/ 120 w 128"/>
                <a:gd name="T31" fmla="*/ 76 h 244"/>
                <a:gd name="T32" fmla="*/ 67 w 128"/>
                <a:gd name="T33" fmla="*/ 76 h 244"/>
                <a:gd name="T34" fmla="*/ 67 w 128"/>
                <a:gd name="T35" fmla="*/ 55 h 244"/>
                <a:gd name="T36" fmla="*/ 91 w 128"/>
                <a:gd name="T37" fmla="*/ 27 h 244"/>
                <a:gd name="T38" fmla="*/ 122 w 128"/>
                <a:gd name="T39" fmla="*/ 37 h 244"/>
                <a:gd name="T40" fmla="*/ 125 w 128"/>
                <a:gd name="T41" fmla="*/ 38 h 244"/>
                <a:gd name="T42" fmla="*/ 128 w 128"/>
                <a:gd name="T43" fmla="*/ 33 h 244"/>
                <a:gd name="T44" fmla="*/ 128 w 128"/>
                <a:gd name="T45" fmla="*/ 16 h 244"/>
                <a:gd name="T46" fmla="*/ 125 w 128"/>
                <a:gd name="T47" fmla="*/ 9 h 244"/>
                <a:gd name="T48" fmla="*/ 89 w 128"/>
                <a:gd name="T49" fmla="*/ 0 h 244"/>
                <a:gd name="T50" fmla="*/ 39 w 128"/>
                <a:gd name="T51" fmla="*/ 55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244">
                  <a:moveTo>
                    <a:pt x="39" y="55"/>
                  </a:moveTo>
                  <a:cubicBezTo>
                    <a:pt x="39" y="76"/>
                    <a:pt x="39" y="76"/>
                    <a:pt x="39" y="76"/>
                  </a:cubicBezTo>
                  <a:cubicBezTo>
                    <a:pt x="4" y="76"/>
                    <a:pt x="4" y="76"/>
                    <a:pt x="4" y="76"/>
                  </a:cubicBezTo>
                  <a:cubicBezTo>
                    <a:pt x="1" y="76"/>
                    <a:pt x="0" y="78"/>
                    <a:pt x="0" y="81"/>
                  </a:cubicBezTo>
                  <a:cubicBezTo>
                    <a:pt x="0" y="99"/>
                    <a:pt x="0" y="99"/>
                    <a:pt x="0" y="99"/>
                  </a:cubicBezTo>
                  <a:cubicBezTo>
                    <a:pt x="0" y="102"/>
                    <a:pt x="1" y="103"/>
                    <a:pt x="4" y="103"/>
                  </a:cubicBezTo>
                  <a:cubicBezTo>
                    <a:pt x="39" y="103"/>
                    <a:pt x="39" y="103"/>
                    <a:pt x="39" y="103"/>
                  </a:cubicBezTo>
                  <a:cubicBezTo>
                    <a:pt x="39" y="239"/>
                    <a:pt x="39" y="239"/>
                    <a:pt x="39" y="239"/>
                  </a:cubicBezTo>
                  <a:cubicBezTo>
                    <a:pt x="39" y="242"/>
                    <a:pt x="41" y="244"/>
                    <a:pt x="44" y="244"/>
                  </a:cubicBezTo>
                  <a:cubicBezTo>
                    <a:pt x="62" y="244"/>
                    <a:pt x="62" y="244"/>
                    <a:pt x="62" y="244"/>
                  </a:cubicBezTo>
                  <a:cubicBezTo>
                    <a:pt x="65" y="244"/>
                    <a:pt x="67" y="242"/>
                    <a:pt x="67" y="239"/>
                  </a:cubicBezTo>
                  <a:cubicBezTo>
                    <a:pt x="67" y="103"/>
                    <a:pt x="67" y="103"/>
                    <a:pt x="67" y="103"/>
                  </a:cubicBezTo>
                  <a:cubicBezTo>
                    <a:pt x="120" y="103"/>
                    <a:pt x="120" y="103"/>
                    <a:pt x="120" y="103"/>
                  </a:cubicBezTo>
                  <a:cubicBezTo>
                    <a:pt x="123" y="103"/>
                    <a:pt x="125" y="102"/>
                    <a:pt x="125" y="99"/>
                  </a:cubicBezTo>
                  <a:cubicBezTo>
                    <a:pt x="125" y="81"/>
                    <a:pt x="125" y="81"/>
                    <a:pt x="125" y="81"/>
                  </a:cubicBezTo>
                  <a:cubicBezTo>
                    <a:pt x="125" y="78"/>
                    <a:pt x="123" y="76"/>
                    <a:pt x="120" y="76"/>
                  </a:cubicBezTo>
                  <a:cubicBezTo>
                    <a:pt x="67" y="76"/>
                    <a:pt x="67" y="76"/>
                    <a:pt x="67" y="76"/>
                  </a:cubicBezTo>
                  <a:cubicBezTo>
                    <a:pt x="67" y="55"/>
                    <a:pt x="67" y="55"/>
                    <a:pt x="67" y="55"/>
                  </a:cubicBezTo>
                  <a:cubicBezTo>
                    <a:pt x="67" y="38"/>
                    <a:pt x="76" y="27"/>
                    <a:pt x="91" y="27"/>
                  </a:cubicBezTo>
                  <a:cubicBezTo>
                    <a:pt x="102" y="27"/>
                    <a:pt x="110" y="30"/>
                    <a:pt x="122" y="37"/>
                  </a:cubicBezTo>
                  <a:cubicBezTo>
                    <a:pt x="123" y="38"/>
                    <a:pt x="124" y="38"/>
                    <a:pt x="125" y="38"/>
                  </a:cubicBezTo>
                  <a:cubicBezTo>
                    <a:pt x="127" y="38"/>
                    <a:pt x="128" y="36"/>
                    <a:pt x="128" y="33"/>
                  </a:cubicBezTo>
                  <a:cubicBezTo>
                    <a:pt x="128" y="16"/>
                    <a:pt x="128" y="16"/>
                    <a:pt x="128" y="16"/>
                  </a:cubicBezTo>
                  <a:cubicBezTo>
                    <a:pt x="128" y="13"/>
                    <a:pt x="128" y="11"/>
                    <a:pt x="125" y="9"/>
                  </a:cubicBezTo>
                  <a:cubicBezTo>
                    <a:pt x="114" y="3"/>
                    <a:pt x="103" y="0"/>
                    <a:pt x="89" y="0"/>
                  </a:cubicBezTo>
                  <a:cubicBezTo>
                    <a:pt x="54" y="0"/>
                    <a:pt x="39" y="29"/>
                    <a:pt x="39"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21797" rtl="0" eaLnBrk="1" fontAlgn="auto" latinLnBrk="0" hangingPunct="1">
                <a:lnSpc>
                  <a:spcPct val="100000"/>
                </a:lnSpc>
                <a:spcBef>
                  <a:spcPts val="0"/>
                </a:spcBef>
                <a:spcAft>
                  <a:spcPts val="0"/>
                </a:spcAft>
                <a:buClrTx/>
                <a:buSzTx/>
                <a:buFontTx/>
                <a:buNone/>
                <a:tabLst/>
                <a:defRPr/>
              </a:pPr>
              <a:endParaRPr kumimoji="0" lang="en-US" sz="2053" b="0" i="0" u="none" strike="noStrike" kern="1200" cap="none" spc="0" normalizeH="0" baseline="0" noProof="0">
                <a:ln>
                  <a:noFill/>
                </a:ln>
                <a:solidFill>
                  <a:prstClr val="black"/>
                </a:solidFill>
                <a:effectLst/>
                <a:uLnTx/>
                <a:uFillTx/>
                <a:latin typeface="Signify Relative Book"/>
                <a:ea typeface="+mn-ea"/>
                <a:cs typeface="+mn-cs"/>
              </a:endParaRPr>
            </a:p>
          </p:txBody>
        </p:sp>
        <p:sp>
          <p:nvSpPr>
            <p:cNvPr id="18" name="Freeform 14">
              <a:extLst>
                <a:ext uri="{FF2B5EF4-FFF2-40B4-BE49-F238E27FC236}">
                  <a16:creationId xmlns:a16="http://schemas.microsoft.com/office/drawing/2014/main" id="{6EC49125-9406-B873-B26D-D3E18095DD6E}"/>
                </a:ext>
              </a:extLst>
            </p:cNvPr>
            <p:cNvSpPr>
              <a:spLocks/>
            </p:cNvSpPr>
            <p:nvPr userDrawn="1"/>
          </p:nvSpPr>
          <p:spPr bwMode="auto">
            <a:xfrm>
              <a:off x="2071" y="1578"/>
              <a:ext cx="632" cy="631"/>
            </a:xfrm>
            <a:custGeom>
              <a:avLst/>
              <a:gdLst>
                <a:gd name="T0" fmla="*/ 181 w 334"/>
                <a:gd name="T1" fmla="*/ 1 h 333"/>
                <a:gd name="T2" fmla="*/ 180 w 334"/>
                <a:gd name="T3" fmla="*/ 4 h 333"/>
                <a:gd name="T4" fmla="*/ 180 w 334"/>
                <a:gd name="T5" fmla="*/ 26 h 333"/>
                <a:gd name="T6" fmla="*/ 180 w 334"/>
                <a:gd name="T7" fmla="*/ 26 h 333"/>
                <a:gd name="T8" fmla="*/ 182 w 334"/>
                <a:gd name="T9" fmla="*/ 28 h 333"/>
                <a:gd name="T10" fmla="*/ 306 w 334"/>
                <a:gd name="T11" fmla="*/ 166 h 333"/>
                <a:gd name="T12" fmla="*/ 167 w 334"/>
                <a:gd name="T13" fmla="*/ 305 h 333"/>
                <a:gd name="T14" fmla="*/ 28 w 334"/>
                <a:gd name="T15" fmla="*/ 166 h 333"/>
                <a:gd name="T16" fmla="*/ 152 w 334"/>
                <a:gd name="T17" fmla="*/ 28 h 333"/>
                <a:gd name="T18" fmla="*/ 154 w 334"/>
                <a:gd name="T19" fmla="*/ 26 h 333"/>
                <a:gd name="T20" fmla="*/ 154 w 334"/>
                <a:gd name="T21" fmla="*/ 26 h 333"/>
                <a:gd name="T22" fmla="*/ 154 w 334"/>
                <a:gd name="T23" fmla="*/ 4 h 333"/>
                <a:gd name="T24" fmla="*/ 153 w 334"/>
                <a:gd name="T25" fmla="*/ 1 h 333"/>
                <a:gd name="T26" fmla="*/ 150 w 334"/>
                <a:gd name="T27" fmla="*/ 0 h 333"/>
                <a:gd name="T28" fmla="*/ 149 w 334"/>
                <a:gd name="T29" fmla="*/ 0 h 333"/>
                <a:gd name="T30" fmla="*/ 149 w 334"/>
                <a:gd name="T31" fmla="*/ 0 h 333"/>
                <a:gd name="T32" fmla="*/ 0 w 334"/>
                <a:gd name="T33" fmla="*/ 166 h 333"/>
                <a:gd name="T34" fmla="*/ 167 w 334"/>
                <a:gd name="T35" fmla="*/ 333 h 333"/>
                <a:gd name="T36" fmla="*/ 334 w 334"/>
                <a:gd name="T37" fmla="*/ 166 h 333"/>
                <a:gd name="T38" fmla="*/ 185 w 334"/>
                <a:gd name="T39" fmla="*/ 0 h 333"/>
                <a:gd name="T40" fmla="*/ 185 w 334"/>
                <a:gd name="T41" fmla="*/ 0 h 333"/>
                <a:gd name="T42" fmla="*/ 184 w 334"/>
                <a:gd name="T43" fmla="*/ 0 h 333"/>
                <a:gd name="T44" fmla="*/ 181 w 334"/>
                <a:gd name="T45" fmla="*/ 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4" h="333">
                  <a:moveTo>
                    <a:pt x="181" y="1"/>
                  </a:moveTo>
                  <a:cubicBezTo>
                    <a:pt x="180" y="2"/>
                    <a:pt x="180" y="3"/>
                    <a:pt x="180" y="4"/>
                  </a:cubicBezTo>
                  <a:cubicBezTo>
                    <a:pt x="180" y="26"/>
                    <a:pt x="180" y="26"/>
                    <a:pt x="180" y="26"/>
                  </a:cubicBezTo>
                  <a:cubicBezTo>
                    <a:pt x="180" y="26"/>
                    <a:pt x="180" y="26"/>
                    <a:pt x="180" y="26"/>
                  </a:cubicBezTo>
                  <a:cubicBezTo>
                    <a:pt x="180" y="27"/>
                    <a:pt x="181" y="28"/>
                    <a:pt x="182" y="28"/>
                  </a:cubicBezTo>
                  <a:cubicBezTo>
                    <a:pt x="251" y="35"/>
                    <a:pt x="306" y="94"/>
                    <a:pt x="306" y="166"/>
                  </a:cubicBezTo>
                  <a:cubicBezTo>
                    <a:pt x="306" y="243"/>
                    <a:pt x="244" y="305"/>
                    <a:pt x="167" y="305"/>
                  </a:cubicBezTo>
                  <a:cubicBezTo>
                    <a:pt x="90" y="305"/>
                    <a:pt x="28" y="243"/>
                    <a:pt x="28" y="166"/>
                  </a:cubicBezTo>
                  <a:cubicBezTo>
                    <a:pt x="28" y="94"/>
                    <a:pt x="82" y="35"/>
                    <a:pt x="152" y="28"/>
                  </a:cubicBezTo>
                  <a:cubicBezTo>
                    <a:pt x="153" y="28"/>
                    <a:pt x="154" y="27"/>
                    <a:pt x="154" y="26"/>
                  </a:cubicBezTo>
                  <a:cubicBezTo>
                    <a:pt x="154" y="26"/>
                    <a:pt x="154" y="26"/>
                    <a:pt x="154" y="26"/>
                  </a:cubicBezTo>
                  <a:cubicBezTo>
                    <a:pt x="154" y="4"/>
                    <a:pt x="154" y="4"/>
                    <a:pt x="154" y="4"/>
                  </a:cubicBezTo>
                  <a:cubicBezTo>
                    <a:pt x="154" y="3"/>
                    <a:pt x="154" y="2"/>
                    <a:pt x="153" y="1"/>
                  </a:cubicBezTo>
                  <a:cubicBezTo>
                    <a:pt x="152" y="0"/>
                    <a:pt x="151" y="0"/>
                    <a:pt x="150" y="0"/>
                  </a:cubicBezTo>
                  <a:cubicBezTo>
                    <a:pt x="149" y="0"/>
                    <a:pt x="149" y="0"/>
                    <a:pt x="149" y="0"/>
                  </a:cubicBezTo>
                  <a:cubicBezTo>
                    <a:pt x="149" y="0"/>
                    <a:pt x="149" y="0"/>
                    <a:pt x="149" y="0"/>
                  </a:cubicBezTo>
                  <a:cubicBezTo>
                    <a:pt x="65" y="9"/>
                    <a:pt x="0" y="80"/>
                    <a:pt x="0" y="166"/>
                  </a:cubicBezTo>
                  <a:cubicBezTo>
                    <a:pt x="0" y="258"/>
                    <a:pt x="75" y="333"/>
                    <a:pt x="167" y="333"/>
                  </a:cubicBezTo>
                  <a:cubicBezTo>
                    <a:pt x="259" y="333"/>
                    <a:pt x="334" y="258"/>
                    <a:pt x="334" y="166"/>
                  </a:cubicBezTo>
                  <a:cubicBezTo>
                    <a:pt x="334" y="80"/>
                    <a:pt x="269" y="9"/>
                    <a:pt x="185" y="0"/>
                  </a:cubicBezTo>
                  <a:cubicBezTo>
                    <a:pt x="185" y="0"/>
                    <a:pt x="185" y="0"/>
                    <a:pt x="185" y="0"/>
                  </a:cubicBezTo>
                  <a:cubicBezTo>
                    <a:pt x="185" y="0"/>
                    <a:pt x="184" y="0"/>
                    <a:pt x="184" y="0"/>
                  </a:cubicBezTo>
                  <a:cubicBezTo>
                    <a:pt x="183" y="0"/>
                    <a:pt x="182" y="0"/>
                    <a:pt x="18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521797" rtl="0" eaLnBrk="1" fontAlgn="auto" latinLnBrk="0" hangingPunct="1">
                <a:lnSpc>
                  <a:spcPct val="100000"/>
                </a:lnSpc>
                <a:spcBef>
                  <a:spcPts val="0"/>
                </a:spcBef>
                <a:spcAft>
                  <a:spcPts val="0"/>
                </a:spcAft>
                <a:buClrTx/>
                <a:buSzTx/>
                <a:buFontTx/>
                <a:buNone/>
                <a:tabLst/>
                <a:defRPr/>
              </a:pPr>
              <a:endParaRPr kumimoji="0" lang="en-US" sz="2053" b="0" i="0" u="none" strike="noStrike" kern="1200" cap="none" spc="0" normalizeH="0" baseline="0" noProof="0">
                <a:ln>
                  <a:noFill/>
                </a:ln>
                <a:solidFill>
                  <a:prstClr val="black"/>
                </a:solidFill>
                <a:effectLst/>
                <a:uLnTx/>
                <a:uFillTx/>
                <a:latin typeface="Signify Relative Book"/>
                <a:ea typeface="+mn-ea"/>
                <a:cs typeface="+mn-cs"/>
              </a:endParaRPr>
            </a:p>
          </p:txBody>
        </p:sp>
      </p:grpSp>
      <p:sp>
        <p:nvSpPr>
          <p:cNvPr id="3" name="Oval 2">
            <a:extLst>
              <a:ext uri="{FF2B5EF4-FFF2-40B4-BE49-F238E27FC236}">
                <a16:creationId xmlns:a16="http://schemas.microsoft.com/office/drawing/2014/main" id="{0BAEC862-803C-BA9A-0ED3-B0F492612CBF}"/>
              </a:ext>
            </a:extLst>
          </p:cNvPr>
          <p:cNvSpPr/>
          <p:nvPr/>
        </p:nvSpPr>
        <p:spPr>
          <a:xfrm>
            <a:off x="323738" y="251720"/>
            <a:ext cx="2377440" cy="2255520"/>
          </a:xfrm>
          <a:prstGeom prst="ellipse">
            <a:avLst/>
          </a:prstGeom>
          <a:gradFill flip="none" rotWithShape="1">
            <a:gsLst>
              <a:gs pos="0">
                <a:schemeClr val="accent4">
                  <a:lumMod val="50000"/>
                </a:schemeClr>
              </a:gs>
              <a:gs pos="84000">
                <a:schemeClr val="accent4">
                  <a:lumMod val="7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21797" rtl="0" eaLnBrk="1" fontAlgn="auto" latinLnBrk="0" hangingPunct="1">
              <a:lnSpc>
                <a:spcPct val="90000"/>
              </a:lnSpc>
              <a:spcBef>
                <a:spcPts val="0"/>
              </a:spcBef>
              <a:spcAft>
                <a:spcPts val="900"/>
              </a:spcAft>
              <a:buClrTx/>
              <a:buSzTx/>
              <a:buFontTx/>
              <a:buNone/>
              <a:tabLst/>
              <a:defRPr/>
            </a:pPr>
            <a:r>
              <a:rPr kumimoji="0" lang="nl-NL" sz="3600" b="0" i="0" u="none" strike="noStrike" kern="1200" cap="none" spc="0" normalizeH="0" baseline="0" noProof="0" dirty="0">
                <a:ln>
                  <a:noFill/>
                </a:ln>
                <a:solidFill>
                  <a:prstClr val="white"/>
                </a:solidFill>
                <a:effectLst/>
                <a:uLnTx/>
                <a:uFillTx/>
                <a:latin typeface="Signify Relative Book"/>
                <a:ea typeface="+mn-ea"/>
                <a:cs typeface="+mn-cs"/>
              </a:rPr>
              <a:t>LED</a:t>
            </a:r>
          </a:p>
        </p:txBody>
      </p:sp>
    </p:spTree>
    <p:extLst>
      <p:ext uri="{BB962C8B-B14F-4D97-AF65-F5344CB8AC3E}">
        <p14:creationId xmlns:p14="http://schemas.microsoft.com/office/powerpoint/2010/main" val="197221767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5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C0F484F-2ADD-165D-4670-B0BBEA8CF936}"/>
              </a:ext>
            </a:extLst>
          </p:cNvPr>
          <p:cNvSpPr>
            <a:spLocks noGrp="1"/>
          </p:cNvSpPr>
          <p:nvPr>
            <p:ph type="sldNum" sz="quarter" idx="12"/>
          </p:nvPr>
        </p:nvSpPr>
        <p:spPr/>
        <p:txBody>
          <a:bodyPr/>
          <a:lstStyle/>
          <a:p>
            <a:fld id="{32B354EE-31EA-4FC2-9496-7B6202183237}" type="slidenum">
              <a:rPr lang="en-US" smtClean="0"/>
              <a:t>16</a:t>
            </a:fld>
            <a:endParaRPr lang="en-US"/>
          </a:p>
        </p:txBody>
      </p:sp>
      <p:sp>
        <p:nvSpPr>
          <p:cNvPr id="4" name="Content Placeholder 3">
            <a:extLst>
              <a:ext uri="{FF2B5EF4-FFF2-40B4-BE49-F238E27FC236}">
                <a16:creationId xmlns:a16="http://schemas.microsoft.com/office/drawing/2014/main" id="{0B58E80E-E62D-7741-EF30-11C844AC8EFC}"/>
              </a:ext>
            </a:extLst>
          </p:cNvPr>
          <p:cNvSpPr>
            <a:spLocks noGrp="1"/>
          </p:cNvSpPr>
          <p:nvPr>
            <p:ph sz="quarter" idx="13"/>
          </p:nvPr>
        </p:nvSpPr>
        <p:spPr/>
        <p:txBody>
          <a:bodyPr/>
          <a:lstStyle/>
          <a:p>
            <a:endParaRPr lang="nl-NL"/>
          </a:p>
        </p:txBody>
      </p:sp>
      <p:pic>
        <p:nvPicPr>
          <p:cNvPr id="7" name="Picture 6">
            <a:extLst>
              <a:ext uri="{FF2B5EF4-FFF2-40B4-BE49-F238E27FC236}">
                <a16:creationId xmlns:a16="http://schemas.microsoft.com/office/drawing/2014/main" id="{BDC1D8B8-400E-D325-2C52-6F285BCEE07D}"/>
              </a:ext>
            </a:extLst>
          </p:cNvPr>
          <p:cNvPicPr>
            <a:picLocks noChangeAspect="1"/>
          </p:cNvPicPr>
          <p:nvPr/>
        </p:nvPicPr>
        <p:blipFill>
          <a:blip r:embed="rId2"/>
          <a:stretch>
            <a:fillRect/>
          </a:stretch>
        </p:blipFill>
        <p:spPr>
          <a:xfrm>
            <a:off x="0" y="1022733"/>
            <a:ext cx="12308779" cy="4993184"/>
          </a:xfrm>
          <a:prstGeom prst="rect">
            <a:avLst/>
          </a:prstGeom>
        </p:spPr>
      </p:pic>
      <p:sp>
        <p:nvSpPr>
          <p:cNvPr id="10" name="Rectangle 9">
            <a:extLst>
              <a:ext uri="{FF2B5EF4-FFF2-40B4-BE49-F238E27FC236}">
                <a16:creationId xmlns:a16="http://schemas.microsoft.com/office/drawing/2014/main" id="{5F11D087-88A4-2BDD-4E82-1F0E7E4049FA}"/>
              </a:ext>
            </a:extLst>
          </p:cNvPr>
          <p:cNvSpPr/>
          <p:nvPr/>
        </p:nvSpPr>
        <p:spPr>
          <a:xfrm>
            <a:off x="7092176" y="245328"/>
            <a:ext cx="4871224" cy="55899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900"/>
              </a:spcAft>
            </a:pPr>
            <a:endParaRPr lang="nl-NL" sz="1800" dirty="0" err="1">
              <a:solidFill>
                <a:schemeClr val="bg1"/>
              </a:solidFill>
            </a:endParaRPr>
          </a:p>
        </p:txBody>
      </p:sp>
      <p:sp>
        <p:nvSpPr>
          <p:cNvPr id="2" name="Oval 1">
            <a:extLst>
              <a:ext uri="{FF2B5EF4-FFF2-40B4-BE49-F238E27FC236}">
                <a16:creationId xmlns:a16="http://schemas.microsoft.com/office/drawing/2014/main" id="{9F1398FE-E88F-9BF1-0CE1-A7F70CE68891}"/>
              </a:ext>
            </a:extLst>
          </p:cNvPr>
          <p:cNvSpPr/>
          <p:nvPr/>
        </p:nvSpPr>
        <p:spPr>
          <a:xfrm>
            <a:off x="3227227" y="541261"/>
            <a:ext cx="1950720" cy="1870636"/>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900"/>
              </a:spcAft>
            </a:pPr>
            <a:r>
              <a:rPr lang="nl-NL" sz="3600" dirty="0">
                <a:solidFill>
                  <a:schemeClr val="bg1"/>
                </a:solidFill>
              </a:rPr>
              <a:t>- 85%</a:t>
            </a:r>
          </a:p>
          <a:p>
            <a:pPr algn="ctr">
              <a:lnSpc>
                <a:spcPct val="90000"/>
              </a:lnSpc>
              <a:spcAft>
                <a:spcPts val="900"/>
              </a:spcAft>
            </a:pPr>
            <a:r>
              <a:rPr lang="nl-NL" sz="900" dirty="0">
                <a:solidFill>
                  <a:schemeClr val="bg1"/>
                </a:solidFill>
              </a:rPr>
              <a:t>Minder energieverbruik</a:t>
            </a:r>
          </a:p>
        </p:txBody>
      </p:sp>
    </p:spTree>
    <p:extLst>
      <p:ext uri="{BB962C8B-B14F-4D97-AF65-F5344CB8AC3E}">
        <p14:creationId xmlns:p14="http://schemas.microsoft.com/office/powerpoint/2010/main" val="230973662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C0F484F-2ADD-165D-4670-B0BBEA8CF936}"/>
              </a:ext>
            </a:extLst>
          </p:cNvPr>
          <p:cNvSpPr>
            <a:spLocks noGrp="1"/>
          </p:cNvSpPr>
          <p:nvPr>
            <p:ph type="sldNum" sz="quarter" idx="12"/>
          </p:nvPr>
        </p:nvSpPr>
        <p:spPr/>
        <p:txBody>
          <a:bodyPr/>
          <a:lstStyle/>
          <a:p>
            <a:fld id="{32B354EE-31EA-4FC2-9496-7B6202183237}" type="slidenum">
              <a:rPr lang="en-US" smtClean="0"/>
              <a:t>17</a:t>
            </a:fld>
            <a:endParaRPr lang="en-US"/>
          </a:p>
        </p:txBody>
      </p:sp>
      <p:sp>
        <p:nvSpPr>
          <p:cNvPr id="4" name="Content Placeholder 3">
            <a:extLst>
              <a:ext uri="{FF2B5EF4-FFF2-40B4-BE49-F238E27FC236}">
                <a16:creationId xmlns:a16="http://schemas.microsoft.com/office/drawing/2014/main" id="{0B58E80E-E62D-7741-EF30-11C844AC8EFC}"/>
              </a:ext>
            </a:extLst>
          </p:cNvPr>
          <p:cNvSpPr>
            <a:spLocks noGrp="1"/>
          </p:cNvSpPr>
          <p:nvPr>
            <p:ph sz="quarter" idx="13"/>
          </p:nvPr>
        </p:nvSpPr>
        <p:spPr/>
        <p:txBody>
          <a:bodyPr/>
          <a:lstStyle/>
          <a:p>
            <a:endParaRPr lang="nl-NL"/>
          </a:p>
        </p:txBody>
      </p:sp>
      <p:pic>
        <p:nvPicPr>
          <p:cNvPr id="7" name="Picture 6">
            <a:extLst>
              <a:ext uri="{FF2B5EF4-FFF2-40B4-BE49-F238E27FC236}">
                <a16:creationId xmlns:a16="http://schemas.microsoft.com/office/drawing/2014/main" id="{BDC1D8B8-400E-D325-2C52-6F285BCEE07D}"/>
              </a:ext>
            </a:extLst>
          </p:cNvPr>
          <p:cNvPicPr>
            <a:picLocks noChangeAspect="1"/>
          </p:cNvPicPr>
          <p:nvPr/>
        </p:nvPicPr>
        <p:blipFill>
          <a:blip r:embed="rId3"/>
          <a:stretch>
            <a:fillRect/>
          </a:stretch>
        </p:blipFill>
        <p:spPr>
          <a:xfrm>
            <a:off x="0" y="1022733"/>
            <a:ext cx="12308779" cy="4993184"/>
          </a:xfrm>
          <a:prstGeom prst="rect">
            <a:avLst/>
          </a:prstGeom>
        </p:spPr>
      </p:pic>
      <p:sp>
        <p:nvSpPr>
          <p:cNvPr id="8" name="Oval 7">
            <a:extLst>
              <a:ext uri="{FF2B5EF4-FFF2-40B4-BE49-F238E27FC236}">
                <a16:creationId xmlns:a16="http://schemas.microsoft.com/office/drawing/2014/main" id="{F8FE6542-4B15-0879-01FA-898D9CCCAE19}"/>
              </a:ext>
            </a:extLst>
          </p:cNvPr>
          <p:cNvSpPr/>
          <p:nvPr/>
        </p:nvSpPr>
        <p:spPr>
          <a:xfrm>
            <a:off x="7280323" y="585866"/>
            <a:ext cx="1950720" cy="1870636"/>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900"/>
              </a:spcAft>
            </a:pPr>
            <a:r>
              <a:rPr lang="nl-NL" sz="3600" dirty="0">
                <a:solidFill>
                  <a:schemeClr val="bg1"/>
                </a:solidFill>
              </a:rPr>
              <a:t>- 60%</a:t>
            </a:r>
          </a:p>
          <a:p>
            <a:pPr algn="ctr">
              <a:lnSpc>
                <a:spcPct val="90000"/>
              </a:lnSpc>
              <a:spcAft>
                <a:spcPts val="900"/>
              </a:spcAft>
            </a:pPr>
            <a:r>
              <a:rPr lang="nl-NL" sz="900" dirty="0">
                <a:solidFill>
                  <a:schemeClr val="bg1"/>
                </a:solidFill>
              </a:rPr>
              <a:t>Minder energieverbruik</a:t>
            </a:r>
          </a:p>
        </p:txBody>
      </p:sp>
    </p:spTree>
    <p:extLst>
      <p:ext uri="{BB962C8B-B14F-4D97-AF65-F5344CB8AC3E}">
        <p14:creationId xmlns:p14="http://schemas.microsoft.com/office/powerpoint/2010/main" val="2025309997"/>
      </p:ext>
    </p:extLst>
  </p:cSld>
  <p:clrMapOvr>
    <a:masterClrMapping/>
  </p:clrMapOvr>
  <p:transition spd="slow">
    <p:wipe dir="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C0F484F-2ADD-165D-4670-B0BBEA8CF936}"/>
              </a:ext>
            </a:extLst>
          </p:cNvPr>
          <p:cNvSpPr>
            <a:spLocks noGrp="1"/>
          </p:cNvSpPr>
          <p:nvPr>
            <p:ph type="sldNum" sz="quarter" idx="12"/>
          </p:nvPr>
        </p:nvSpPr>
        <p:spPr/>
        <p:txBody>
          <a:bodyPr/>
          <a:lstStyle/>
          <a:p>
            <a:fld id="{32B354EE-31EA-4FC2-9496-7B6202183237}" type="slidenum">
              <a:rPr lang="en-US" smtClean="0"/>
              <a:t>18</a:t>
            </a:fld>
            <a:endParaRPr lang="en-US"/>
          </a:p>
        </p:txBody>
      </p:sp>
      <p:sp>
        <p:nvSpPr>
          <p:cNvPr id="4" name="Content Placeholder 3">
            <a:extLst>
              <a:ext uri="{FF2B5EF4-FFF2-40B4-BE49-F238E27FC236}">
                <a16:creationId xmlns:a16="http://schemas.microsoft.com/office/drawing/2014/main" id="{0B58E80E-E62D-7741-EF30-11C844AC8EFC}"/>
              </a:ext>
            </a:extLst>
          </p:cNvPr>
          <p:cNvSpPr>
            <a:spLocks noGrp="1"/>
          </p:cNvSpPr>
          <p:nvPr>
            <p:ph sz="quarter" idx="13"/>
          </p:nvPr>
        </p:nvSpPr>
        <p:spPr/>
        <p:txBody>
          <a:bodyPr/>
          <a:lstStyle/>
          <a:p>
            <a:endParaRPr lang="nl-NL"/>
          </a:p>
        </p:txBody>
      </p:sp>
      <p:pic>
        <p:nvPicPr>
          <p:cNvPr id="7" name="Picture 6">
            <a:extLst>
              <a:ext uri="{FF2B5EF4-FFF2-40B4-BE49-F238E27FC236}">
                <a16:creationId xmlns:a16="http://schemas.microsoft.com/office/drawing/2014/main" id="{BDC1D8B8-400E-D325-2C52-6F285BCEE07D}"/>
              </a:ext>
            </a:extLst>
          </p:cNvPr>
          <p:cNvPicPr>
            <a:picLocks noChangeAspect="1"/>
          </p:cNvPicPr>
          <p:nvPr/>
        </p:nvPicPr>
        <p:blipFill>
          <a:blip r:embed="rId3"/>
          <a:stretch>
            <a:fillRect/>
          </a:stretch>
        </p:blipFill>
        <p:spPr>
          <a:xfrm>
            <a:off x="0" y="1022733"/>
            <a:ext cx="12308779" cy="4993184"/>
          </a:xfrm>
          <a:prstGeom prst="rect">
            <a:avLst/>
          </a:prstGeom>
        </p:spPr>
      </p:pic>
      <p:sp>
        <p:nvSpPr>
          <p:cNvPr id="8" name="Oval 7">
            <a:extLst>
              <a:ext uri="{FF2B5EF4-FFF2-40B4-BE49-F238E27FC236}">
                <a16:creationId xmlns:a16="http://schemas.microsoft.com/office/drawing/2014/main" id="{F8FE6542-4B15-0879-01FA-898D9CCCAE19}"/>
              </a:ext>
            </a:extLst>
          </p:cNvPr>
          <p:cNvSpPr/>
          <p:nvPr/>
        </p:nvSpPr>
        <p:spPr>
          <a:xfrm>
            <a:off x="10358059" y="445843"/>
            <a:ext cx="1950720" cy="1870636"/>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900"/>
              </a:spcAft>
            </a:pPr>
            <a:r>
              <a:rPr lang="nl-NL" sz="3600" dirty="0">
                <a:solidFill>
                  <a:schemeClr val="bg1"/>
                </a:solidFill>
              </a:rPr>
              <a:t>30€/ year</a:t>
            </a:r>
            <a:endParaRPr lang="nl-NL" sz="900" dirty="0">
              <a:solidFill>
                <a:schemeClr val="bg1"/>
              </a:solidFill>
            </a:endParaRPr>
          </a:p>
        </p:txBody>
      </p:sp>
    </p:spTree>
    <p:extLst>
      <p:ext uri="{BB962C8B-B14F-4D97-AF65-F5344CB8AC3E}">
        <p14:creationId xmlns:p14="http://schemas.microsoft.com/office/powerpoint/2010/main" val="3246129"/>
      </p:ext>
    </p:extLst>
  </p:cSld>
  <p:clrMapOvr>
    <a:masterClrMapping/>
  </p:clrMapOvr>
  <p:transition spd="slow">
    <p:wipe dir="r"/>
  </p:transition>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3C3C4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2AD5BF3-ED4A-1604-55E2-44102A2B75CF}"/>
              </a:ext>
            </a:extLst>
          </p:cNvPr>
          <p:cNvSpPr>
            <a:spLocks noGrp="1"/>
          </p:cNvSpPr>
          <p:nvPr>
            <p:ph type="body" idx="1"/>
          </p:nvPr>
        </p:nvSpPr>
        <p:spPr>
          <a:xfrm>
            <a:off x="338328" y="2696523"/>
            <a:ext cx="5633418" cy="1878602"/>
          </a:xfrm>
        </p:spPr>
        <p:txBody>
          <a:bodyPr anchor="t"/>
          <a:lstStyle/>
          <a:p>
            <a:r>
              <a:rPr lang="en-US" sz="1800" b="0" dirty="0">
                <a:solidFill>
                  <a:schemeClr val="bg1">
                    <a:lumMod val="95000"/>
                  </a:schemeClr>
                </a:solidFill>
                <a:latin typeface="Signify Raisonne DemiBold" panose="020B0703030201040104"/>
              </a:rPr>
              <a:t>Switching all Public indoor light points in </a:t>
            </a:r>
            <a:r>
              <a:rPr lang="en-US" sz="3200" dirty="0">
                <a:solidFill>
                  <a:schemeClr val="accent3"/>
                </a:solidFill>
                <a:latin typeface="Signify Raisonne DemiBold" panose="020B0703030201040104"/>
              </a:rPr>
              <a:t>Belgium</a:t>
            </a:r>
            <a:r>
              <a:rPr lang="en-US" sz="1800" b="0" dirty="0">
                <a:solidFill>
                  <a:schemeClr val="bg1">
                    <a:lumMod val="95000"/>
                  </a:schemeClr>
                </a:solidFill>
                <a:latin typeface="Signify Raisonne DemiBold" panose="020B0703030201040104"/>
              </a:rPr>
              <a:t> to LED, could </a:t>
            </a:r>
            <a:r>
              <a:rPr lang="en-US" b="0" dirty="0">
                <a:solidFill>
                  <a:schemeClr val="bg1">
                    <a:lumMod val="95000"/>
                  </a:schemeClr>
                </a:solidFill>
                <a:latin typeface="Signify Raisonne DemiBold" panose="020B0703030201040104"/>
              </a:rPr>
              <a:t>annually</a:t>
            </a:r>
            <a:r>
              <a:rPr lang="en-US" sz="1800" b="0" dirty="0">
                <a:solidFill>
                  <a:schemeClr val="bg1">
                    <a:lumMod val="95000"/>
                  </a:schemeClr>
                </a:solidFill>
                <a:latin typeface="Signify Raisonne DemiBold" panose="020B0703030201040104"/>
              </a:rPr>
              <a:t> reduce emission by </a:t>
            </a:r>
            <a:r>
              <a:rPr lang="en-US" sz="1800" b="0" dirty="0">
                <a:solidFill>
                  <a:schemeClr val="accent3"/>
                </a:solidFill>
                <a:latin typeface="Signify Raisonne DemiBold" panose="020B0703030201040104"/>
              </a:rPr>
              <a:t>&gt;</a:t>
            </a:r>
            <a:r>
              <a:rPr lang="en-US" sz="1800" dirty="0">
                <a:solidFill>
                  <a:schemeClr val="accent3"/>
                </a:solidFill>
                <a:latin typeface="Signify Raisonne DemiBold" panose="020B0703030201040104"/>
              </a:rPr>
              <a:t>75 tonnes of CO2</a:t>
            </a:r>
            <a:r>
              <a:rPr lang="en-US" sz="1800" b="0" dirty="0">
                <a:solidFill>
                  <a:schemeClr val="bg1">
                    <a:lumMod val="95000"/>
                  </a:schemeClr>
                </a:solidFill>
                <a:latin typeface="Signify Raisonne DemiBold" panose="020B0703030201040104"/>
              </a:rPr>
              <a:t>, saving </a:t>
            </a:r>
            <a:r>
              <a:rPr lang="en-US" sz="1800" b="0" dirty="0">
                <a:solidFill>
                  <a:schemeClr val="accent3"/>
                </a:solidFill>
                <a:latin typeface="Signify Raisonne DemiBold" panose="020B0703030201040104"/>
              </a:rPr>
              <a:t>&gt;</a:t>
            </a:r>
            <a:r>
              <a:rPr lang="en-US" sz="1800" dirty="0">
                <a:solidFill>
                  <a:schemeClr val="accent3"/>
                </a:solidFill>
                <a:latin typeface="Signify Raisonne DemiBold" panose="020B0703030201040104"/>
              </a:rPr>
              <a:t>€130 Million </a:t>
            </a:r>
            <a:r>
              <a:rPr lang="en-US" sz="1800" b="0" dirty="0">
                <a:solidFill>
                  <a:schemeClr val="bg1">
                    <a:lumMod val="95000"/>
                  </a:schemeClr>
                </a:solidFill>
                <a:latin typeface="Signify Raisonne DemiBold" panose="020B0703030201040104"/>
              </a:rPr>
              <a:t>in energy costs</a:t>
            </a:r>
          </a:p>
        </p:txBody>
      </p:sp>
      <p:pic>
        <p:nvPicPr>
          <p:cNvPr id="12" name="Picture 11">
            <a:extLst>
              <a:ext uri="{FF2B5EF4-FFF2-40B4-BE49-F238E27FC236}">
                <a16:creationId xmlns:a16="http://schemas.microsoft.com/office/drawing/2014/main" id="{A6E40E72-F56D-BF19-BD00-910D21B79166}"/>
              </a:ext>
            </a:extLst>
          </p:cNvPr>
          <p:cNvPicPr>
            <a:picLocks noChangeAspect="1"/>
          </p:cNvPicPr>
          <p:nvPr/>
        </p:nvPicPr>
        <p:blipFill>
          <a:blip r:embed="rId3"/>
          <a:stretch>
            <a:fillRect/>
          </a:stretch>
        </p:blipFill>
        <p:spPr>
          <a:xfrm>
            <a:off x="8560335" y="2874057"/>
            <a:ext cx="574492" cy="696725"/>
          </a:xfrm>
          <a:prstGeom prst="rect">
            <a:avLst/>
          </a:prstGeom>
        </p:spPr>
      </p:pic>
      <p:pic>
        <p:nvPicPr>
          <p:cNvPr id="18" name="Picture 17">
            <a:extLst>
              <a:ext uri="{FF2B5EF4-FFF2-40B4-BE49-F238E27FC236}">
                <a16:creationId xmlns:a16="http://schemas.microsoft.com/office/drawing/2014/main" id="{E407DD22-4947-51F9-4D8E-4E7C5CABABF7}"/>
              </a:ext>
            </a:extLst>
          </p:cNvPr>
          <p:cNvPicPr>
            <a:picLocks noChangeAspect="1"/>
          </p:cNvPicPr>
          <p:nvPr/>
        </p:nvPicPr>
        <p:blipFill>
          <a:blip r:embed="rId4"/>
          <a:stretch>
            <a:fillRect/>
          </a:stretch>
        </p:blipFill>
        <p:spPr>
          <a:xfrm>
            <a:off x="5218857" y="5192309"/>
            <a:ext cx="550683" cy="608045"/>
          </a:xfrm>
          <a:prstGeom prst="rect">
            <a:avLst/>
          </a:prstGeom>
        </p:spPr>
      </p:pic>
      <p:cxnSp>
        <p:nvCxnSpPr>
          <p:cNvPr id="80" name="Straight Connector 79">
            <a:extLst>
              <a:ext uri="{FF2B5EF4-FFF2-40B4-BE49-F238E27FC236}">
                <a16:creationId xmlns:a16="http://schemas.microsoft.com/office/drawing/2014/main" id="{56CB5B0D-F0B5-77F0-6712-34C2B40D0934}"/>
              </a:ext>
            </a:extLst>
          </p:cNvPr>
          <p:cNvCxnSpPr>
            <a:cxnSpLocks/>
          </p:cNvCxnSpPr>
          <p:nvPr/>
        </p:nvCxnSpPr>
        <p:spPr>
          <a:xfrm flipV="1">
            <a:off x="7227626" y="-20420"/>
            <a:ext cx="0" cy="1034672"/>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A5E0E556-8512-A6D9-61F2-D336E6AD8370}"/>
              </a:ext>
            </a:extLst>
          </p:cNvPr>
          <p:cNvSpPr>
            <a:spLocks noGrp="1"/>
          </p:cNvSpPr>
          <p:nvPr>
            <p:ph type="title"/>
          </p:nvPr>
        </p:nvSpPr>
        <p:spPr>
          <a:xfrm>
            <a:off x="358591" y="847049"/>
            <a:ext cx="4504503" cy="776038"/>
          </a:xfrm>
          <a:noFill/>
        </p:spPr>
        <p:txBody>
          <a:bodyPr/>
          <a:lstStyle/>
          <a:p>
            <a:pPr>
              <a:lnSpc>
                <a:spcPts val="3600"/>
              </a:lnSpc>
            </a:pPr>
            <a:r>
              <a:rPr lang="en-US" dirty="0">
                <a:solidFill>
                  <a:srgbClr val="00E487"/>
                </a:solidFill>
                <a:latin typeface="Signify Raisonne DemiBold" panose="020B0703030201040104" pitchFamily="34" charset="0"/>
              </a:rPr>
              <a:t>Lighting is the quickest path to greener and smarter world</a:t>
            </a:r>
          </a:p>
        </p:txBody>
      </p:sp>
      <p:cxnSp>
        <p:nvCxnSpPr>
          <p:cNvPr id="86" name="Straight Connector 85">
            <a:extLst>
              <a:ext uri="{FF2B5EF4-FFF2-40B4-BE49-F238E27FC236}">
                <a16:creationId xmlns:a16="http://schemas.microsoft.com/office/drawing/2014/main" id="{45A31109-8557-E277-218F-6538B9333F8F}"/>
              </a:ext>
            </a:extLst>
          </p:cNvPr>
          <p:cNvCxnSpPr>
            <a:cxnSpLocks/>
            <a:stCxn id="90" idx="0"/>
            <a:endCxn id="91" idx="0"/>
          </p:cNvCxnSpPr>
          <p:nvPr/>
        </p:nvCxnSpPr>
        <p:spPr>
          <a:xfrm>
            <a:off x="7505965" y="1287529"/>
            <a:ext cx="1474074" cy="75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1ED6ACD1-7973-CF00-3240-98E9B1607AC9}"/>
              </a:ext>
            </a:extLst>
          </p:cNvPr>
          <p:cNvPicPr>
            <a:picLocks noChangeAspect="1"/>
          </p:cNvPicPr>
          <p:nvPr/>
        </p:nvPicPr>
        <p:blipFill>
          <a:blip r:embed="rId5"/>
          <a:stretch>
            <a:fillRect/>
          </a:stretch>
        </p:blipFill>
        <p:spPr>
          <a:xfrm>
            <a:off x="6200328" y="1543442"/>
            <a:ext cx="706323" cy="555795"/>
          </a:xfrm>
          <a:prstGeom prst="rect">
            <a:avLst/>
          </a:prstGeom>
        </p:spPr>
      </p:pic>
      <p:sp>
        <p:nvSpPr>
          <p:cNvPr id="47" name="TextBox 46">
            <a:extLst>
              <a:ext uri="{FF2B5EF4-FFF2-40B4-BE49-F238E27FC236}">
                <a16:creationId xmlns:a16="http://schemas.microsoft.com/office/drawing/2014/main" id="{4754BC35-BEB6-1840-E595-A9F22D2D20FE}"/>
              </a:ext>
            </a:extLst>
          </p:cNvPr>
          <p:cNvSpPr txBox="1"/>
          <p:nvPr/>
        </p:nvSpPr>
        <p:spPr>
          <a:xfrm>
            <a:off x="7009473" y="1579831"/>
            <a:ext cx="2853368" cy="492443"/>
          </a:xfrm>
          <a:prstGeom prst="rect">
            <a:avLst/>
          </a:prstGeom>
          <a:noFill/>
          <a:ln>
            <a:noFill/>
          </a:ln>
        </p:spPr>
        <p:txBody>
          <a:bodyPr wrap="square" lIns="0" tIns="0" rIns="0" bIns="0" rtlCol="0" anchor="t">
            <a:spAutoFit/>
          </a:bodyPr>
          <a:lstStyle/>
          <a:p>
            <a:pPr marL="0" marR="0" lvl="0" indent="0" algn="l" defTabSz="521711"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E487"/>
                </a:solidFill>
                <a:effectLst/>
                <a:uLnTx/>
                <a:uFillTx/>
                <a:latin typeface="Signify Raisonne DemiBold" panose="020B0703030201040104" pitchFamily="34" charset="0"/>
                <a:ea typeface="+mn-ea"/>
                <a:cs typeface="+mn-cs"/>
              </a:rPr>
              <a:t>Education</a:t>
            </a:r>
            <a:endParaRPr kumimoji="0" lang="en-US" sz="2054" b="1" i="0" u="none" strike="noStrike" kern="1200" cap="none" spc="0" normalizeH="0" baseline="0" noProof="0" dirty="0">
              <a:ln>
                <a:noFill/>
              </a:ln>
              <a:solidFill>
                <a:srgbClr val="00E487"/>
              </a:solidFill>
              <a:effectLst/>
              <a:uLnTx/>
              <a:uFillTx/>
              <a:latin typeface="Signify Raisonne DemiBold" panose="020B0703030201040104" pitchFamily="34" charset="0"/>
              <a:ea typeface="+mn-ea"/>
              <a:cs typeface="+mn-cs"/>
            </a:endParaRPr>
          </a:p>
          <a:p>
            <a:pPr marL="0" marR="0" lvl="0" indent="0" algn="l" defTabSz="521711"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Signify Relative Book" panose="02000506040000020004" pitchFamily="50" charset="0"/>
                <a:ea typeface="+mn-ea"/>
                <a:cs typeface="+mn-cs"/>
              </a:rPr>
              <a:t>22 tCO</a:t>
            </a:r>
            <a:r>
              <a:rPr kumimoji="0" lang="en-US" sz="1600" b="0" i="0" u="none" strike="noStrike" kern="1200" cap="none" spc="0" normalizeH="0" baseline="-25000" noProof="0" dirty="0">
                <a:ln>
                  <a:noFill/>
                </a:ln>
                <a:solidFill>
                  <a:prstClr val="white">
                    <a:lumMod val="95000"/>
                  </a:prstClr>
                </a:solidFill>
                <a:effectLst/>
                <a:uLnTx/>
                <a:uFillTx/>
                <a:latin typeface="Signify Relative Book" panose="02000506040000020004" pitchFamily="50" charset="0"/>
                <a:ea typeface="+mn-ea"/>
                <a:cs typeface="+mn-cs"/>
              </a:rPr>
              <a:t>2 </a:t>
            </a:r>
            <a:r>
              <a:rPr kumimoji="0" lang="en-US" sz="1600" b="0" i="0" u="none" strike="noStrike" kern="1200" cap="none" spc="0" normalizeH="0" baseline="0" noProof="0" dirty="0">
                <a:ln>
                  <a:noFill/>
                </a:ln>
                <a:solidFill>
                  <a:srgbClr val="00E487"/>
                </a:solidFill>
                <a:effectLst/>
                <a:uLnTx/>
                <a:uFillTx/>
                <a:latin typeface="Signify Relative Book" panose="02000506040000020004" pitchFamily="50" charset="0"/>
                <a:ea typeface="+mn-ea"/>
                <a:cs typeface="+mn-cs"/>
              </a:rPr>
              <a:t>| </a:t>
            </a:r>
            <a:r>
              <a:rPr kumimoji="0" lang="en-US" sz="1600" b="0" i="0" u="none" strike="noStrike" kern="1200" cap="none" spc="0" normalizeH="0" baseline="0" noProof="0" dirty="0">
                <a:ln>
                  <a:noFill/>
                </a:ln>
                <a:solidFill>
                  <a:prstClr val="white">
                    <a:lumMod val="95000"/>
                  </a:prstClr>
                </a:solidFill>
                <a:effectLst/>
                <a:uLnTx/>
                <a:uFillTx/>
                <a:latin typeface="Signify Relative Book" panose="02000506040000020004" pitchFamily="50" charset="0"/>
                <a:ea typeface="+mn-ea"/>
                <a:cs typeface="+mn-cs"/>
              </a:rPr>
              <a:t>€39 </a:t>
            </a:r>
            <a:r>
              <a:rPr kumimoji="0" lang="en-US" sz="1600" b="0" i="0" u="none" strike="noStrike" kern="1200" cap="none" spc="0" normalizeH="0" baseline="0" noProof="0" dirty="0" err="1">
                <a:ln>
                  <a:noFill/>
                </a:ln>
                <a:solidFill>
                  <a:prstClr val="white">
                    <a:lumMod val="95000"/>
                  </a:prstClr>
                </a:solidFill>
                <a:effectLst/>
                <a:uLnTx/>
                <a:uFillTx/>
                <a:latin typeface="Signify Relative Book" panose="02000506040000020004" pitchFamily="50" charset="0"/>
                <a:ea typeface="+mn-ea"/>
                <a:cs typeface="+mn-cs"/>
              </a:rPr>
              <a:t>mln</a:t>
            </a:r>
            <a:endParaRPr kumimoji="0" lang="en-US" sz="1600" b="0" i="0" u="none" strike="noStrike" kern="1200" cap="none" spc="0" normalizeH="0" baseline="0" noProof="0" dirty="0">
              <a:ln>
                <a:noFill/>
              </a:ln>
              <a:solidFill>
                <a:prstClr val="white">
                  <a:lumMod val="95000"/>
                </a:prstClr>
              </a:solidFill>
              <a:effectLst/>
              <a:uLnTx/>
              <a:uFillTx/>
              <a:latin typeface="Signify Relative Book" panose="02000506040000020004" pitchFamily="50" charset="0"/>
              <a:ea typeface="+mn-ea"/>
              <a:cs typeface="+mn-cs"/>
            </a:endParaRPr>
          </a:p>
        </p:txBody>
      </p:sp>
      <p:sp>
        <p:nvSpPr>
          <p:cNvPr id="90" name="Arc 89">
            <a:extLst>
              <a:ext uri="{FF2B5EF4-FFF2-40B4-BE49-F238E27FC236}">
                <a16:creationId xmlns:a16="http://schemas.microsoft.com/office/drawing/2014/main" id="{FDFC6F60-11B3-475E-FFA0-D363A3C8195B}"/>
              </a:ext>
            </a:extLst>
          </p:cNvPr>
          <p:cNvSpPr/>
          <p:nvPr/>
        </p:nvSpPr>
        <p:spPr>
          <a:xfrm rot="10800000">
            <a:off x="7227626" y="731734"/>
            <a:ext cx="556678" cy="555795"/>
          </a:xfrm>
          <a:prstGeom prst="arc">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521711" rtl="0" eaLnBrk="1" fontAlgn="auto" latinLnBrk="0" hangingPunct="1">
              <a:lnSpc>
                <a:spcPct val="100000"/>
              </a:lnSpc>
              <a:spcBef>
                <a:spcPts val="0"/>
              </a:spcBef>
              <a:spcAft>
                <a:spcPts val="0"/>
              </a:spcAft>
              <a:buClrTx/>
              <a:buSzTx/>
              <a:buFontTx/>
              <a:buNone/>
              <a:tabLst/>
              <a:defRPr/>
            </a:pPr>
            <a:endParaRPr kumimoji="0" lang="en-US" sz="2054" b="0" i="0" u="none" strike="noStrike" kern="1200" cap="none" spc="0" normalizeH="0" baseline="0" noProof="0">
              <a:ln>
                <a:noFill/>
              </a:ln>
              <a:solidFill>
                <a:prstClr val="black"/>
              </a:solidFill>
              <a:effectLst/>
              <a:uLnTx/>
              <a:uFillTx/>
              <a:latin typeface="Calibri"/>
              <a:ea typeface="+mn-ea"/>
              <a:cs typeface="+mn-cs"/>
            </a:endParaRPr>
          </a:p>
        </p:txBody>
      </p:sp>
      <p:sp>
        <p:nvSpPr>
          <p:cNvPr id="91" name="Arc 90">
            <a:extLst>
              <a:ext uri="{FF2B5EF4-FFF2-40B4-BE49-F238E27FC236}">
                <a16:creationId xmlns:a16="http://schemas.microsoft.com/office/drawing/2014/main" id="{3D0F4AE6-55B7-FE6F-CF76-27013D437A6B}"/>
              </a:ext>
            </a:extLst>
          </p:cNvPr>
          <p:cNvSpPr/>
          <p:nvPr/>
        </p:nvSpPr>
        <p:spPr>
          <a:xfrm rot="10800000" flipH="1" flipV="1">
            <a:off x="8696919" y="1287812"/>
            <a:ext cx="535296" cy="558689"/>
          </a:xfrm>
          <a:prstGeom prst="arc">
            <a:avLst>
              <a:gd name="adj1" fmla="val 16390527"/>
              <a:gd name="adj2" fmla="val 20444407"/>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521711" rtl="0" eaLnBrk="1" fontAlgn="auto" latinLnBrk="0" hangingPunct="1">
              <a:lnSpc>
                <a:spcPct val="100000"/>
              </a:lnSpc>
              <a:spcBef>
                <a:spcPts val="0"/>
              </a:spcBef>
              <a:spcAft>
                <a:spcPts val="0"/>
              </a:spcAft>
              <a:buClrTx/>
              <a:buSzTx/>
              <a:buFontTx/>
              <a:buNone/>
              <a:tabLst/>
              <a:defRPr/>
            </a:pPr>
            <a:endParaRPr kumimoji="0" lang="en-US" sz="2054" b="0" i="0" u="none" strike="noStrike" kern="1200" cap="none" spc="0" normalizeH="0" baseline="0" noProof="0">
              <a:ln>
                <a:noFill/>
              </a:ln>
              <a:solidFill>
                <a:prstClr val="black"/>
              </a:solidFill>
              <a:effectLst/>
              <a:uLnTx/>
              <a:uFillTx/>
              <a:latin typeface="Calibri"/>
              <a:ea typeface="+mn-ea"/>
              <a:cs typeface="+mn-cs"/>
            </a:endParaRPr>
          </a:p>
        </p:txBody>
      </p:sp>
      <p:sp>
        <p:nvSpPr>
          <p:cNvPr id="92" name="Arc 91">
            <a:extLst>
              <a:ext uri="{FF2B5EF4-FFF2-40B4-BE49-F238E27FC236}">
                <a16:creationId xmlns:a16="http://schemas.microsoft.com/office/drawing/2014/main" id="{BFE0C452-BC8E-0D60-2B4B-103CB4837C0D}"/>
              </a:ext>
            </a:extLst>
          </p:cNvPr>
          <p:cNvSpPr/>
          <p:nvPr/>
        </p:nvSpPr>
        <p:spPr>
          <a:xfrm rot="5400000">
            <a:off x="8670740" y="1750347"/>
            <a:ext cx="540000" cy="540000"/>
          </a:xfrm>
          <a:prstGeom prst="arc">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521711" rtl="0" eaLnBrk="1" fontAlgn="auto" latinLnBrk="0" hangingPunct="1">
              <a:lnSpc>
                <a:spcPct val="100000"/>
              </a:lnSpc>
              <a:spcBef>
                <a:spcPts val="0"/>
              </a:spcBef>
              <a:spcAft>
                <a:spcPts val="0"/>
              </a:spcAft>
              <a:buClrTx/>
              <a:buSzTx/>
              <a:buFontTx/>
              <a:buNone/>
              <a:tabLst/>
              <a:defRPr/>
            </a:pPr>
            <a:endParaRPr kumimoji="0" lang="en-US" sz="2054" b="0" i="0" u="none" strike="noStrike" kern="1200" cap="none" spc="0" normalizeH="0" baseline="0" noProof="0">
              <a:ln>
                <a:noFill/>
              </a:ln>
              <a:solidFill>
                <a:prstClr val="black"/>
              </a:solidFill>
              <a:effectLst/>
              <a:uLnTx/>
              <a:uFillTx/>
              <a:latin typeface="Calibri"/>
              <a:ea typeface="+mn-ea"/>
              <a:cs typeface="+mn-cs"/>
            </a:endParaRPr>
          </a:p>
        </p:txBody>
      </p:sp>
      <p:cxnSp>
        <p:nvCxnSpPr>
          <p:cNvPr id="93" name="Straight Connector 92">
            <a:extLst>
              <a:ext uri="{FF2B5EF4-FFF2-40B4-BE49-F238E27FC236}">
                <a16:creationId xmlns:a16="http://schemas.microsoft.com/office/drawing/2014/main" id="{25E2E801-DF8C-1B5A-AD27-CF27E7EFD8E1}"/>
              </a:ext>
            </a:extLst>
          </p:cNvPr>
          <p:cNvCxnSpPr>
            <a:cxnSpLocks/>
            <a:stCxn id="92" idx="0"/>
          </p:cNvCxnSpPr>
          <p:nvPr/>
        </p:nvCxnSpPr>
        <p:spPr>
          <a:xfrm flipV="1">
            <a:off x="9210740" y="1684311"/>
            <a:ext cx="2352" cy="336036"/>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0147BE8-900F-25EC-15B5-F3A2CEEB2B76}"/>
              </a:ext>
            </a:extLst>
          </p:cNvPr>
          <p:cNvCxnSpPr>
            <a:cxnSpLocks/>
            <a:endCxn id="92" idx="2"/>
          </p:cNvCxnSpPr>
          <p:nvPr/>
        </p:nvCxnSpPr>
        <p:spPr>
          <a:xfrm flipV="1">
            <a:off x="8077379" y="2290347"/>
            <a:ext cx="863361" cy="8711"/>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97" name="Arc 96">
            <a:extLst>
              <a:ext uri="{FF2B5EF4-FFF2-40B4-BE49-F238E27FC236}">
                <a16:creationId xmlns:a16="http://schemas.microsoft.com/office/drawing/2014/main" id="{C07E4217-9B33-9861-07B6-E69BD0602DE9}"/>
              </a:ext>
            </a:extLst>
          </p:cNvPr>
          <p:cNvSpPr/>
          <p:nvPr/>
        </p:nvSpPr>
        <p:spPr>
          <a:xfrm rot="5400000" flipH="1" flipV="1">
            <a:off x="7879148" y="2284919"/>
            <a:ext cx="540000" cy="540000"/>
          </a:xfrm>
          <a:prstGeom prst="arc">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521711" rtl="0" eaLnBrk="1" fontAlgn="auto" latinLnBrk="0" hangingPunct="1">
              <a:lnSpc>
                <a:spcPct val="100000"/>
              </a:lnSpc>
              <a:spcBef>
                <a:spcPts val="0"/>
              </a:spcBef>
              <a:spcAft>
                <a:spcPts val="0"/>
              </a:spcAft>
              <a:buClrTx/>
              <a:buSzTx/>
              <a:buFontTx/>
              <a:buNone/>
              <a:tabLst/>
              <a:defRPr/>
            </a:pPr>
            <a:endParaRPr kumimoji="0" lang="en-US" sz="2054" b="0" i="0" u="none" strike="noStrike" kern="1200" cap="none" spc="0" normalizeH="0" baseline="0" noProof="0">
              <a:ln>
                <a:noFill/>
              </a:ln>
              <a:solidFill>
                <a:prstClr val="black"/>
              </a:solidFill>
              <a:effectLst/>
              <a:uLnTx/>
              <a:uFillTx/>
              <a:latin typeface="Calibri"/>
              <a:ea typeface="+mn-ea"/>
              <a:cs typeface="+mn-cs"/>
            </a:endParaRPr>
          </a:p>
        </p:txBody>
      </p:sp>
      <p:cxnSp>
        <p:nvCxnSpPr>
          <p:cNvPr id="98" name="Straight Connector 97">
            <a:extLst>
              <a:ext uri="{FF2B5EF4-FFF2-40B4-BE49-F238E27FC236}">
                <a16:creationId xmlns:a16="http://schemas.microsoft.com/office/drawing/2014/main" id="{310419B4-2342-D1FF-7901-DC04E4303AD9}"/>
              </a:ext>
            </a:extLst>
          </p:cNvPr>
          <p:cNvCxnSpPr>
            <a:cxnSpLocks/>
            <a:stCxn id="101" idx="2"/>
            <a:endCxn id="97" idx="0"/>
          </p:cNvCxnSpPr>
          <p:nvPr/>
        </p:nvCxnSpPr>
        <p:spPr>
          <a:xfrm flipV="1">
            <a:off x="7878026" y="2554919"/>
            <a:ext cx="1122" cy="844022"/>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01" name="Arc 100">
            <a:extLst>
              <a:ext uri="{FF2B5EF4-FFF2-40B4-BE49-F238E27FC236}">
                <a16:creationId xmlns:a16="http://schemas.microsoft.com/office/drawing/2014/main" id="{08DFD714-56B3-2CC0-9AFC-487FED3C403E}"/>
              </a:ext>
            </a:extLst>
          </p:cNvPr>
          <p:cNvSpPr/>
          <p:nvPr/>
        </p:nvSpPr>
        <p:spPr>
          <a:xfrm rot="10800000">
            <a:off x="7878026" y="3128941"/>
            <a:ext cx="558131" cy="540000"/>
          </a:xfrm>
          <a:prstGeom prst="arc">
            <a:avLst>
              <a:gd name="adj1" fmla="val 15301238"/>
              <a:gd name="adj2" fmla="val 0"/>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521711" rtl="0" eaLnBrk="1" fontAlgn="auto" latinLnBrk="0" hangingPunct="1">
              <a:lnSpc>
                <a:spcPct val="100000"/>
              </a:lnSpc>
              <a:spcBef>
                <a:spcPts val="0"/>
              </a:spcBef>
              <a:spcAft>
                <a:spcPts val="0"/>
              </a:spcAft>
              <a:buClrTx/>
              <a:buSzTx/>
              <a:buFontTx/>
              <a:buNone/>
              <a:tabLst/>
              <a:defRPr/>
            </a:pPr>
            <a:endParaRPr kumimoji="0" lang="en-US" sz="2054" b="0" i="0" u="none" strike="noStrike" kern="1200" cap="none" spc="0" normalizeH="0" baseline="0" noProof="0">
              <a:ln>
                <a:noFill/>
              </a:ln>
              <a:solidFill>
                <a:prstClr val="black"/>
              </a:solidFill>
              <a:effectLst/>
              <a:uLnTx/>
              <a:uFillTx/>
              <a:latin typeface="Calibri"/>
              <a:ea typeface="+mn-ea"/>
              <a:cs typeface="+mn-cs"/>
            </a:endParaRPr>
          </a:p>
        </p:txBody>
      </p:sp>
      <p:cxnSp>
        <p:nvCxnSpPr>
          <p:cNvPr id="102" name="Straight Connector 101">
            <a:extLst>
              <a:ext uri="{FF2B5EF4-FFF2-40B4-BE49-F238E27FC236}">
                <a16:creationId xmlns:a16="http://schemas.microsoft.com/office/drawing/2014/main" id="{2D189516-408D-E7B2-6B29-7BB5A453A752}"/>
              </a:ext>
            </a:extLst>
          </p:cNvPr>
          <p:cNvCxnSpPr>
            <a:cxnSpLocks/>
            <a:endCxn id="103" idx="0"/>
          </p:cNvCxnSpPr>
          <p:nvPr/>
        </p:nvCxnSpPr>
        <p:spPr>
          <a:xfrm>
            <a:off x="8180201" y="3654187"/>
            <a:ext cx="809187" cy="8711"/>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03" name="Arc 102">
            <a:extLst>
              <a:ext uri="{FF2B5EF4-FFF2-40B4-BE49-F238E27FC236}">
                <a16:creationId xmlns:a16="http://schemas.microsoft.com/office/drawing/2014/main" id="{AC5A1D5D-EA22-75FE-48AA-210A96DF1DD3}"/>
              </a:ext>
            </a:extLst>
          </p:cNvPr>
          <p:cNvSpPr/>
          <p:nvPr/>
        </p:nvSpPr>
        <p:spPr>
          <a:xfrm rot="10800000" flipH="1" flipV="1">
            <a:off x="8719388" y="3662898"/>
            <a:ext cx="540000" cy="540000"/>
          </a:xfrm>
          <a:prstGeom prst="arc">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521711" rtl="0" eaLnBrk="1" fontAlgn="auto" latinLnBrk="0" hangingPunct="1">
              <a:lnSpc>
                <a:spcPct val="100000"/>
              </a:lnSpc>
              <a:spcBef>
                <a:spcPts val="0"/>
              </a:spcBef>
              <a:spcAft>
                <a:spcPts val="0"/>
              </a:spcAft>
              <a:buClrTx/>
              <a:buSzTx/>
              <a:buFontTx/>
              <a:buNone/>
              <a:tabLst/>
              <a:defRPr/>
            </a:pPr>
            <a:endParaRPr kumimoji="0" lang="en-US" sz="2054" b="0" i="0" u="none" strike="noStrike" kern="1200" cap="none" spc="0" normalizeH="0" baseline="0" noProof="0">
              <a:ln>
                <a:noFill/>
              </a:ln>
              <a:solidFill>
                <a:prstClr val="black"/>
              </a:solidFill>
              <a:effectLst/>
              <a:uLnTx/>
              <a:uFillTx/>
              <a:latin typeface="Calibri"/>
              <a:ea typeface="+mn-ea"/>
              <a:cs typeface="+mn-cs"/>
            </a:endParaRPr>
          </a:p>
        </p:txBody>
      </p:sp>
      <p:sp>
        <p:nvSpPr>
          <p:cNvPr id="104" name="Arc 103">
            <a:extLst>
              <a:ext uri="{FF2B5EF4-FFF2-40B4-BE49-F238E27FC236}">
                <a16:creationId xmlns:a16="http://schemas.microsoft.com/office/drawing/2014/main" id="{29B3001E-57C0-A137-AFDE-D6B80B50E8B2}"/>
              </a:ext>
            </a:extLst>
          </p:cNvPr>
          <p:cNvSpPr/>
          <p:nvPr/>
        </p:nvSpPr>
        <p:spPr>
          <a:xfrm rot="5400000">
            <a:off x="8719388" y="4305125"/>
            <a:ext cx="540000" cy="540000"/>
          </a:xfrm>
          <a:prstGeom prst="arc">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521711" rtl="0" eaLnBrk="1" fontAlgn="auto" latinLnBrk="0" hangingPunct="1">
              <a:lnSpc>
                <a:spcPct val="100000"/>
              </a:lnSpc>
              <a:spcBef>
                <a:spcPts val="0"/>
              </a:spcBef>
              <a:spcAft>
                <a:spcPts val="0"/>
              </a:spcAft>
              <a:buClrTx/>
              <a:buSzTx/>
              <a:buFontTx/>
              <a:buNone/>
              <a:tabLst/>
              <a:defRPr/>
            </a:pPr>
            <a:endParaRPr kumimoji="0" lang="en-US" sz="2054" b="0" i="0" u="none" strike="noStrike" kern="1200" cap="none" spc="0" normalizeH="0" baseline="0" noProof="0">
              <a:ln>
                <a:noFill/>
              </a:ln>
              <a:solidFill>
                <a:prstClr val="black"/>
              </a:solidFill>
              <a:effectLst/>
              <a:uLnTx/>
              <a:uFillTx/>
              <a:latin typeface="Calibri"/>
              <a:ea typeface="+mn-ea"/>
              <a:cs typeface="+mn-cs"/>
            </a:endParaRPr>
          </a:p>
        </p:txBody>
      </p:sp>
      <p:cxnSp>
        <p:nvCxnSpPr>
          <p:cNvPr id="105" name="Straight Connector 104">
            <a:extLst>
              <a:ext uri="{FF2B5EF4-FFF2-40B4-BE49-F238E27FC236}">
                <a16:creationId xmlns:a16="http://schemas.microsoft.com/office/drawing/2014/main" id="{658A7C05-2FAB-0B86-D5E7-A01403180FF5}"/>
              </a:ext>
            </a:extLst>
          </p:cNvPr>
          <p:cNvCxnSpPr>
            <a:cxnSpLocks/>
            <a:stCxn id="104" idx="0"/>
            <a:endCxn id="103" idx="2"/>
          </p:cNvCxnSpPr>
          <p:nvPr/>
        </p:nvCxnSpPr>
        <p:spPr>
          <a:xfrm flipV="1">
            <a:off x="9259388" y="3932898"/>
            <a:ext cx="0" cy="642227"/>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74" name="Oval 73">
            <a:extLst>
              <a:ext uri="{FF2B5EF4-FFF2-40B4-BE49-F238E27FC236}">
                <a16:creationId xmlns:a16="http://schemas.microsoft.com/office/drawing/2014/main" id="{86F9F320-4525-3253-D83B-8100D6FAE3D9}"/>
              </a:ext>
            </a:extLst>
          </p:cNvPr>
          <p:cNvSpPr/>
          <p:nvPr/>
        </p:nvSpPr>
        <p:spPr>
          <a:xfrm>
            <a:off x="8696919" y="3612700"/>
            <a:ext cx="108000" cy="108000"/>
          </a:xfrm>
          <a:prstGeom prst="ellipse">
            <a:avLst/>
          </a:prstGeom>
          <a:solidFill>
            <a:srgbClr val="3C3C4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2171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err="1">
              <a:ln>
                <a:noFill/>
              </a:ln>
              <a:solidFill>
                <a:prstClr val="white"/>
              </a:solidFill>
              <a:effectLst/>
              <a:uLnTx/>
              <a:uFillTx/>
              <a:latin typeface="Calibri"/>
              <a:ea typeface="+mn-ea"/>
              <a:cs typeface="+mn-cs"/>
            </a:endParaRPr>
          </a:p>
        </p:txBody>
      </p:sp>
      <p:cxnSp>
        <p:nvCxnSpPr>
          <p:cNvPr id="108" name="Straight Connector 107">
            <a:extLst>
              <a:ext uri="{FF2B5EF4-FFF2-40B4-BE49-F238E27FC236}">
                <a16:creationId xmlns:a16="http://schemas.microsoft.com/office/drawing/2014/main" id="{037DD1BA-0A62-AAEA-C470-CC67AC17D5CF}"/>
              </a:ext>
            </a:extLst>
          </p:cNvPr>
          <p:cNvCxnSpPr>
            <a:cxnSpLocks/>
            <a:stCxn id="110" idx="2"/>
            <a:endCxn id="104" idx="2"/>
          </p:cNvCxnSpPr>
          <p:nvPr/>
        </p:nvCxnSpPr>
        <p:spPr>
          <a:xfrm>
            <a:off x="5187094" y="4842106"/>
            <a:ext cx="3802294" cy="3019"/>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0" name="Arc 109">
            <a:extLst>
              <a:ext uri="{FF2B5EF4-FFF2-40B4-BE49-F238E27FC236}">
                <a16:creationId xmlns:a16="http://schemas.microsoft.com/office/drawing/2014/main" id="{48A5C28B-BAF0-E528-694E-FA66608CC60F}"/>
              </a:ext>
            </a:extLst>
          </p:cNvPr>
          <p:cNvSpPr/>
          <p:nvPr/>
        </p:nvSpPr>
        <p:spPr>
          <a:xfrm rot="5400000" flipH="1" flipV="1">
            <a:off x="4917094" y="4842106"/>
            <a:ext cx="540000" cy="540000"/>
          </a:xfrm>
          <a:prstGeom prst="arc">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521711" rtl="0" eaLnBrk="1" fontAlgn="auto" latinLnBrk="0" hangingPunct="1">
              <a:lnSpc>
                <a:spcPct val="100000"/>
              </a:lnSpc>
              <a:spcBef>
                <a:spcPts val="0"/>
              </a:spcBef>
              <a:spcAft>
                <a:spcPts val="0"/>
              </a:spcAft>
              <a:buClrTx/>
              <a:buSzTx/>
              <a:buFontTx/>
              <a:buNone/>
              <a:tabLst/>
              <a:defRPr/>
            </a:pPr>
            <a:endParaRPr kumimoji="0" lang="en-US" sz="2054" b="0" i="0" u="none" strike="noStrike" kern="1200" cap="none" spc="0" normalizeH="0" baseline="0" noProof="0">
              <a:ln>
                <a:noFill/>
              </a:ln>
              <a:solidFill>
                <a:prstClr val="black"/>
              </a:solidFill>
              <a:effectLst/>
              <a:uLnTx/>
              <a:uFillTx/>
              <a:latin typeface="Calibri"/>
              <a:ea typeface="+mn-ea"/>
              <a:cs typeface="+mn-cs"/>
            </a:endParaRPr>
          </a:p>
        </p:txBody>
      </p:sp>
      <p:cxnSp>
        <p:nvCxnSpPr>
          <p:cNvPr id="111" name="Straight Connector 110">
            <a:extLst>
              <a:ext uri="{FF2B5EF4-FFF2-40B4-BE49-F238E27FC236}">
                <a16:creationId xmlns:a16="http://schemas.microsoft.com/office/drawing/2014/main" id="{5805C5DE-7C1D-B478-0690-E1FB789FDD2A}"/>
              </a:ext>
            </a:extLst>
          </p:cNvPr>
          <p:cNvCxnSpPr>
            <a:cxnSpLocks/>
            <a:stCxn id="112" idx="2"/>
            <a:endCxn id="110" idx="0"/>
          </p:cNvCxnSpPr>
          <p:nvPr/>
        </p:nvCxnSpPr>
        <p:spPr>
          <a:xfrm flipH="1" flipV="1">
            <a:off x="4917094" y="5112106"/>
            <a:ext cx="1" cy="826859"/>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2" name="Arc 111">
            <a:extLst>
              <a:ext uri="{FF2B5EF4-FFF2-40B4-BE49-F238E27FC236}">
                <a16:creationId xmlns:a16="http://schemas.microsoft.com/office/drawing/2014/main" id="{B9CBF72A-5594-6CFB-0600-0F7D5E9145B2}"/>
              </a:ext>
            </a:extLst>
          </p:cNvPr>
          <p:cNvSpPr/>
          <p:nvPr/>
        </p:nvSpPr>
        <p:spPr>
          <a:xfrm rot="10800000">
            <a:off x="4917095" y="5668965"/>
            <a:ext cx="540000" cy="540000"/>
          </a:xfrm>
          <a:prstGeom prst="arc">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521711" rtl="0" eaLnBrk="1" fontAlgn="auto" latinLnBrk="0" hangingPunct="1">
              <a:lnSpc>
                <a:spcPct val="100000"/>
              </a:lnSpc>
              <a:spcBef>
                <a:spcPts val="0"/>
              </a:spcBef>
              <a:spcAft>
                <a:spcPts val="0"/>
              </a:spcAft>
              <a:buClrTx/>
              <a:buSzTx/>
              <a:buFontTx/>
              <a:buNone/>
              <a:tabLst/>
              <a:defRPr/>
            </a:pPr>
            <a:endParaRPr kumimoji="0" lang="en-US" sz="2054" b="0" i="0" u="none" strike="noStrike" kern="1200" cap="none" spc="0" normalizeH="0" baseline="0" noProof="0">
              <a:ln>
                <a:noFill/>
              </a:ln>
              <a:solidFill>
                <a:prstClr val="black"/>
              </a:solidFill>
              <a:effectLst/>
              <a:uLnTx/>
              <a:uFillTx/>
              <a:latin typeface="Calibri"/>
              <a:ea typeface="+mn-ea"/>
              <a:cs typeface="+mn-cs"/>
            </a:endParaRPr>
          </a:p>
        </p:txBody>
      </p:sp>
      <p:sp>
        <p:nvSpPr>
          <p:cNvPr id="77" name="Oval 76">
            <a:extLst>
              <a:ext uri="{FF2B5EF4-FFF2-40B4-BE49-F238E27FC236}">
                <a16:creationId xmlns:a16="http://schemas.microsoft.com/office/drawing/2014/main" id="{DB1C0EDF-AE74-73E4-5F54-0113D278C6A3}"/>
              </a:ext>
            </a:extLst>
          </p:cNvPr>
          <p:cNvSpPr/>
          <p:nvPr/>
        </p:nvSpPr>
        <p:spPr>
          <a:xfrm>
            <a:off x="4863094" y="5498324"/>
            <a:ext cx="108000" cy="108000"/>
          </a:xfrm>
          <a:prstGeom prst="ellipse">
            <a:avLst/>
          </a:prstGeom>
          <a:solidFill>
            <a:srgbClr val="3C3C4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2171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err="1">
              <a:ln>
                <a:noFill/>
              </a:ln>
              <a:solidFill>
                <a:prstClr val="white"/>
              </a:solidFill>
              <a:effectLst/>
              <a:uLnTx/>
              <a:uFillTx/>
              <a:latin typeface="Calibri"/>
              <a:ea typeface="+mn-ea"/>
              <a:cs typeface="+mn-cs"/>
            </a:endParaRPr>
          </a:p>
        </p:txBody>
      </p:sp>
      <p:cxnSp>
        <p:nvCxnSpPr>
          <p:cNvPr id="113" name="Straight Connector 112">
            <a:extLst>
              <a:ext uri="{FF2B5EF4-FFF2-40B4-BE49-F238E27FC236}">
                <a16:creationId xmlns:a16="http://schemas.microsoft.com/office/drawing/2014/main" id="{C9976FDD-9770-C82B-14D8-D165F55DD69C}"/>
              </a:ext>
            </a:extLst>
          </p:cNvPr>
          <p:cNvCxnSpPr>
            <a:cxnSpLocks/>
            <a:stCxn id="112" idx="0"/>
          </p:cNvCxnSpPr>
          <p:nvPr/>
        </p:nvCxnSpPr>
        <p:spPr>
          <a:xfrm>
            <a:off x="5187095" y="6208965"/>
            <a:ext cx="7107884" cy="1"/>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7" name="TextBox 116">
            <a:extLst>
              <a:ext uri="{FF2B5EF4-FFF2-40B4-BE49-F238E27FC236}">
                <a16:creationId xmlns:a16="http://schemas.microsoft.com/office/drawing/2014/main" id="{9E19DF33-BB46-3364-DD85-59E72B34ACF4}"/>
              </a:ext>
            </a:extLst>
          </p:cNvPr>
          <p:cNvSpPr txBox="1"/>
          <p:nvPr/>
        </p:nvSpPr>
        <p:spPr>
          <a:xfrm>
            <a:off x="9159092" y="2989983"/>
            <a:ext cx="2853368" cy="473528"/>
          </a:xfrm>
          <a:prstGeom prst="rect">
            <a:avLst/>
          </a:prstGeom>
          <a:noFill/>
          <a:ln>
            <a:noFill/>
          </a:ln>
        </p:spPr>
        <p:txBody>
          <a:bodyPr wrap="square" lIns="0" tIns="0" rIns="0" bIns="0" rtlCol="0" anchor="t">
            <a:spAutoFit/>
          </a:bodyPr>
          <a:lstStyle/>
          <a:p>
            <a:pPr marL="0" marR="0" lvl="0" indent="0" algn="l" defTabSz="521711" rtl="0" eaLnBrk="1" fontAlgn="auto" latinLnBrk="0" hangingPunct="1">
              <a:lnSpc>
                <a:spcPts val="18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E487"/>
                </a:solidFill>
                <a:effectLst/>
                <a:uLnTx/>
                <a:uFillTx/>
                <a:latin typeface="Signify Raisonne DemiBold" panose="020B0703030201040104" pitchFamily="34" charset="0"/>
                <a:ea typeface="+mn-ea"/>
                <a:cs typeface="+mn-cs"/>
              </a:rPr>
              <a:t>Municipal Buildings</a:t>
            </a:r>
          </a:p>
          <a:p>
            <a:pPr marL="0" marR="0" lvl="0" indent="0" algn="l" defTabSz="521711" rtl="0" eaLnBrk="1" fontAlgn="auto" latinLnBrk="0" hangingPunct="1">
              <a:lnSpc>
                <a:spcPts val="18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Signify Relative Book" panose="02000506040000020004" pitchFamily="50" charset="0"/>
                <a:ea typeface="+mn-ea"/>
                <a:cs typeface="+mn-cs"/>
              </a:rPr>
              <a:t>14 tCO</a:t>
            </a:r>
            <a:r>
              <a:rPr kumimoji="0" lang="en-US" sz="1600" b="0" i="0" u="none" strike="noStrike" kern="1200" cap="none" spc="0" normalizeH="0" baseline="-25000" noProof="0" dirty="0">
                <a:ln>
                  <a:noFill/>
                </a:ln>
                <a:solidFill>
                  <a:prstClr val="white">
                    <a:lumMod val="95000"/>
                  </a:prstClr>
                </a:solidFill>
                <a:effectLst/>
                <a:uLnTx/>
                <a:uFillTx/>
                <a:latin typeface="Signify Relative Book" panose="02000506040000020004" pitchFamily="50" charset="0"/>
                <a:ea typeface="+mn-ea"/>
                <a:cs typeface="+mn-cs"/>
              </a:rPr>
              <a:t>2</a:t>
            </a:r>
            <a:r>
              <a:rPr kumimoji="0" lang="en-US" sz="1600" b="0" i="0" u="none" strike="noStrike" kern="1200" cap="none" spc="0" normalizeH="0" baseline="0" noProof="0" dirty="0">
                <a:ln>
                  <a:noFill/>
                </a:ln>
                <a:solidFill>
                  <a:prstClr val="white">
                    <a:lumMod val="95000"/>
                  </a:prstClr>
                </a:solidFill>
                <a:effectLst/>
                <a:uLnTx/>
                <a:uFillTx/>
                <a:latin typeface="Signify Relative Book" panose="02000506040000020004" pitchFamily="50" charset="0"/>
                <a:ea typeface="+mn-ea"/>
                <a:cs typeface="+mn-cs"/>
              </a:rPr>
              <a:t> </a:t>
            </a:r>
            <a:r>
              <a:rPr kumimoji="0" lang="en-US" sz="1600" b="0" i="0" u="none" strike="noStrike" kern="1200" cap="none" spc="0" normalizeH="0" baseline="0" noProof="0" dirty="0">
                <a:ln>
                  <a:noFill/>
                </a:ln>
                <a:solidFill>
                  <a:srgbClr val="00E487"/>
                </a:solidFill>
                <a:effectLst/>
                <a:uLnTx/>
                <a:uFillTx/>
                <a:latin typeface="Signify Relative Book" panose="02000506040000020004" pitchFamily="50" charset="0"/>
                <a:ea typeface="+mn-ea"/>
                <a:cs typeface="+mn-cs"/>
              </a:rPr>
              <a:t>|</a:t>
            </a:r>
            <a:r>
              <a:rPr kumimoji="0" lang="en-US" sz="1600" b="0" i="0" u="none" strike="noStrike" kern="1200" cap="none" spc="0" normalizeH="0" baseline="0" noProof="0" dirty="0">
                <a:ln>
                  <a:noFill/>
                </a:ln>
                <a:solidFill>
                  <a:prstClr val="white">
                    <a:lumMod val="95000"/>
                  </a:prstClr>
                </a:solidFill>
                <a:effectLst/>
                <a:uLnTx/>
                <a:uFillTx/>
                <a:latin typeface="Signify Relative Book" panose="02000506040000020004" pitchFamily="50" charset="0"/>
                <a:ea typeface="+mn-ea"/>
                <a:cs typeface="+mn-cs"/>
              </a:rPr>
              <a:t> €25 </a:t>
            </a:r>
            <a:r>
              <a:rPr kumimoji="0" lang="en-US" sz="1600" b="0" i="0" u="none" strike="noStrike" kern="1200" cap="none" spc="0" normalizeH="0" baseline="0" noProof="0" dirty="0" err="1">
                <a:ln>
                  <a:noFill/>
                </a:ln>
                <a:solidFill>
                  <a:prstClr val="white">
                    <a:lumMod val="95000"/>
                  </a:prstClr>
                </a:solidFill>
                <a:effectLst/>
                <a:uLnTx/>
                <a:uFillTx/>
                <a:latin typeface="Signify Relative Book" panose="02000506040000020004" pitchFamily="50" charset="0"/>
                <a:ea typeface="+mn-ea"/>
                <a:cs typeface="+mn-cs"/>
              </a:rPr>
              <a:t>mln</a:t>
            </a:r>
            <a:endParaRPr kumimoji="0" lang="en-US" sz="1600" b="0" i="0" u="none" strike="noStrike" kern="1200" cap="none" spc="0" normalizeH="0" baseline="0" noProof="0" dirty="0">
              <a:ln>
                <a:noFill/>
              </a:ln>
              <a:solidFill>
                <a:prstClr val="white">
                  <a:lumMod val="95000"/>
                </a:prstClr>
              </a:solidFill>
              <a:effectLst/>
              <a:uLnTx/>
              <a:uFillTx/>
              <a:latin typeface="Signify Relative Book" panose="02000506040000020004" pitchFamily="50" charset="0"/>
              <a:ea typeface="+mn-ea"/>
              <a:cs typeface="+mn-cs"/>
            </a:endParaRPr>
          </a:p>
        </p:txBody>
      </p:sp>
      <p:sp>
        <p:nvSpPr>
          <p:cNvPr id="121" name="TextBox 120">
            <a:extLst>
              <a:ext uri="{FF2B5EF4-FFF2-40B4-BE49-F238E27FC236}">
                <a16:creationId xmlns:a16="http://schemas.microsoft.com/office/drawing/2014/main" id="{BD1B2343-D26F-FFE2-A4B5-E9E7062715B6}"/>
              </a:ext>
            </a:extLst>
          </p:cNvPr>
          <p:cNvSpPr txBox="1"/>
          <p:nvPr/>
        </p:nvSpPr>
        <p:spPr>
          <a:xfrm>
            <a:off x="5854942" y="5312783"/>
            <a:ext cx="2853368" cy="473528"/>
          </a:xfrm>
          <a:prstGeom prst="rect">
            <a:avLst/>
          </a:prstGeom>
          <a:noFill/>
          <a:ln>
            <a:noFill/>
          </a:ln>
        </p:spPr>
        <p:txBody>
          <a:bodyPr wrap="square" lIns="0" tIns="0" rIns="0" bIns="0" rtlCol="0" anchor="t">
            <a:spAutoFit/>
          </a:bodyPr>
          <a:lstStyle/>
          <a:p>
            <a:pPr marL="0" marR="0" lvl="0" indent="0" algn="l" defTabSz="521711" rtl="0" eaLnBrk="1" fontAlgn="auto" latinLnBrk="0" hangingPunct="1">
              <a:lnSpc>
                <a:spcPts val="18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E487"/>
                </a:solidFill>
                <a:effectLst/>
                <a:uLnTx/>
                <a:uFillTx/>
                <a:latin typeface="Signify Raisonne DemiBold" panose="020B0703030201040104" pitchFamily="34" charset="0"/>
                <a:ea typeface="+mn-ea"/>
                <a:cs typeface="+mn-cs"/>
              </a:rPr>
              <a:t>Offices</a:t>
            </a:r>
          </a:p>
          <a:p>
            <a:pPr marL="0" marR="0" lvl="0" indent="0" algn="l" defTabSz="521711" rtl="0" eaLnBrk="1" fontAlgn="auto" latinLnBrk="0" hangingPunct="1">
              <a:lnSpc>
                <a:spcPts val="18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95000"/>
                  </a:prstClr>
                </a:solidFill>
                <a:effectLst/>
                <a:uLnTx/>
                <a:uFillTx/>
                <a:latin typeface="Signify Relative Book" panose="02000506040000020004" pitchFamily="50" charset="0"/>
                <a:ea typeface="+mn-ea"/>
                <a:cs typeface="+mn-cs"/>
              </a:rPr>
              <a:t>40 tCO</a:t>
            </a:r>
            <a:r>
              <a:rPr kumimoji="0" lang="en-US" sz="1600" b="0" i="0" u="none" strike="noStrike" kern="1200" cap="none" spc="0" normalizeH="0" baseline="-25000" noProof="0" dirty="0">
                <a:ln>
                  <a:noFill/>
                </a:ln>
                <a:solidFill>
                  <a:prstClr val="white">
                    <a:lumMod val="95000"/>
                  </a:prstClr>
                </a:solidFill>
                <a:effectLst/>
                <a:uLnTx/>
                <a:uFillTx/>
                <a:latin typeface="Signify Relative Book" panose="02000506040000020004" pitchFamily="50" charset="0"/>
                <a:ea typeface="+mn-ea"/>
                <a:cs typeface="+mn-cs"/>
              </a:rPr>
              <a:t>2</a:t>
            </a:r>
            <a:r>
              <a:rPr kumimoji="0" lang="en-US" sz="1600" b="0" i="0" u="none" strike="noStrike" kern="1200" cap="none" spc="0" normalizeH="0" baseline="0" noProof="0" dirty="0">
                <a:ln>
                  <a:noFill/>
                </a:ln>
                <a:solidFill>
                  <a:prstClr val="white">
                    <a:lumMod val="95000"/>
                  </a:prstClr>
                </a:solidFill>
                <a:effectLst/>
                <a:uLnTx/>
                <a:uFillTx/>
                <a:latin typeface="Signify Relative Book" panose="02000506040000020004" pitchFamily="50" charset="0"/>
                <a:ea typeface="+mn-ea"/>
                <a:cs typeface="+mn-cs"/>
              </a:rPr>
              <a:t> </a:t>
            </a:r>
            <a:r>
              <a:rPr kumimoji="0" lang="en-US" sz="1600" b="0" i="0" u="none" strike="noStrike" kern="1200" cap="none" spc="0" normalizeH="0" baseline="0" noProof="0" dirty="0">
                <a:ln>
                  <a:noFill/>
                </a:ln>
                <a:solidFill>
                  <a:srgbClr val="00E487"/>
                </a:solidFill>
                <a:effectLst/>
                <a:uLnTx/>
                <a:uFillTx/>
                <a:latin typeface="Signify Relative Book" panose="02000506040000020004" pitchFamily="50" charset="0"/>
                <a:ea typeface="+mn-ea"/>
                <a:cs typeface="+mn-cs"/>
              </a:rPr>
              <a:t>| </a:t>
            </a:r>
            <a:r>
              <a:rPr kumimoji="0" lang="en-US" sz="1600" b="0" i="0" u="none" strike="noStrike" kern="1200" cap="none" spc="0" normalizeH="0" baseline="0" noProof="0" dirty="0">
                <a:ln>
                  <a:noFill/>
                </a:ln>
                <a:solidFill>
                  <a:prstClr val="white">
                    <a:lumMod val="95000"/>
                  </a:prstClr>
                </a:solidFill>
                <a:effectLst/>
                <a:uLnTx/>
                <a:uFillTx/>
                <a:latin typeface="Signify Relative Book" panose="02000506040000020004" pitchFamily="50" charset="0"/>
                <a:ea typeface="+mn-ea"/>
                <a:cs typeface="+mn-cs"/>
              </a:rPr>
              <a:t>€70 </a:t>
            </a:r>
            <a:r>
              <a:rPr kumimoji="0" lang="en-US" sz="1600" b="0" i="0" u="none" strike="noStrike" kern="1200" cap="none" spc="0" normalizeH="0" baseline="0" noProof="0" dirty="0" err="1">
                <a:ln>
                  <a:noFill/>
                </a:ln>
                <a:solidFill>
                  <a:prstClr val="white">
                    <a:lumMod val="95000"/>
                  </a:prstClr>
                </a:solidFill>
                <a:effectLst/>
                <a:uLnTx/>
                <a:uFillTx/>
                <a:latin typeface="Signify Relative Book" panose="02000506040000020004" pitchFamily="50" charset="0"/>
                <a:ea typeface="+mn-ea"/>
                <a:cs typeface="+mn-cs"/>
              </a:rPr>
              <a:t>mln</a:t>
            </a:r>
            <a:endParaRPr kumimoji="0" lang="en-US" sz="1600" b="0" i="0" u="none" strike="noStrike" kern="1200" cap="none" spc="0" normalizeH="0" baseline="0" noProof="0" dirty="0">
              <a:ln>
                <a:noFill/>
              </a:ln>
              <a:solidFill>
                <a:prstClr val="white">
                  <a:lumMod val="95000"/>
                </a:prstClr>
              </a:solidFill>
              <a:effectLst/>
              <a:uLnTx/>
              <a:uFillTx/>
              <a:latin typeface="Signify Relative Book" panose="02000506040000020004" pitchFamily="50" charset="0"/>
              <a:ea typeface="+mn-ea"/>
              <a:cs typeface="+mn-cs"/>
            </a:endParaRPr>
          </a:p>
        </p:txBody>
      </p:sp>
      <p:pic>
        <p:nvPicPr>
          <p:cNvPr id="13" name="Picture 12" descr="Logo, company name&#10;&#10;Description automatically generated">
            <a:extLst>
              <a:ext uri="{FF2B5EF4-FFF2-40B4-BE49-F238E27FC236}">
                <a16:creationId xmlns:a16="http://schemas.microsoft.com/office/drawing/2014/main" id="{B04B3294-6F35-BF09-1549-1F242C492493}"/>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92716" y="190480"/>
            <a:ext cx="1545968" cy="612000"/>
          </a:xfrm>
          <a:prstGeom prst="rect">
            <a:avLst/>
          </a:prstGeom>
        </p:spPr>
      </p:pic>
      <p:sp>
        <p:nvSpPr>
          <p:cNvPr id="3" name="TextBox 2">
            <a:extLst>
              <a:ext uri="{FF2B5EF4-FFF2-40B4-BE49-F238E27FC236}">
                <a16:creationId xmlns:a16="http://schemas.microsoft.com/office/drawing/2014/main" id="{BB7AAA9D-4859-86CB-075D-F09BA4390A42}"/>
              </a:ext>
            </a:extLst>
          </p:cNvPr>
          <p:cNvSpPr txBox="1"/>
          <p:nvPr/>
        </p:nvSpPr>
        <p:spPr>
          <a:xfrm>
            <a:off x="0" y="6073170"/>
            <a:ext cx="5971746" cy="784830"/>
          </a:xfrm>
          <a:prstGeom prst="rect">
            <a:avLst/>
          </a:prstGeom>
          <a:noFill/>
        </p:spPr>
        <p:txBody>
          <a:bodyPr wrap="square">
            <a:spAutoFit/>
          </a:bodyPr>
          <a:lstStyle/>
          <a:p>
            <a:pPr marL="0" marR="0" lvl="0" indent="0" algn="l" defTabSz="521711"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65000"/>
                  </a:prstClr>
                </a:solidFill>
                <a:effectLst/>
                <a:uLnTx/>
                <a:uFillTx/>
                <a:latin typeface="Calibri"/>
                <a:ea typeface="+mn-ea"/>
                <a:cs typeface="+mn-cs"/>
              </a:rPr>
              <a:t>Thousands separator is . - Decimal separator is ,</a:t>
            </a:r>
          </a:p>
          <a:p>
            <a:pPr marL="0" marR="0" lvl="0" indent="0" algn="l" defTabSz="521711"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65000"/>
                  </a:prstClr>
                </a:solidFill>
                <a:effectLst/>
                <a:uLnTx/>
                <a:uFillTx/>
                <a:latin typeface="Calibri"/>
                <a:ea typeface="+mn-ea"/>
                <a:cs typeface="+mn-cs"/>
              </a:rPr>
              <a:t>The diagram represents a selection of light points' applications in the EU27 countries. Data presented here is a simulation within the framework of the Europe Green Switch conventional light point conversion model, which is a program run by Signify to help its customers accelerate the switch to energy-efficient lighting products, systems and services. All figures and data presented here are illustrative and based on forecasts and assumptions.</a:t>
            </a:r>
          </a:p>
          <a:p>
            <a:pPr marL="0" marR="0" lvl="0" indent="0" algn="l" defTabSz="521711" rtl="0" eaLnBrk="1" fontAlgn="auto" latinLnBrk="0" hangingPunct="1">
              <a:lnSpc>
                <a:spcPct val="10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65000"/>
                  </a:prstClr>
                </a:solidFill>
                <a:effectLst/>
                <a:uLnTx/>
                <a:uFillTx/>
                <a:latin typeface="Calibri"/>
                <a:ea typeface="+mn-ea"/>
                <a:cs typeface="+mn-cs"/>
              </a:rPr>
              <a:t>Price of Electricity Corporations (€/kWh) = 0,297, Price of Electricity Households (€/kWh) = 0,449</a:t>
            </a:r>
          </a:p>
        </p:txBody>
      </p:sp>
      <p:sp>
        <p:nvSpPr>
          <p:cNvPr id="34" name="Oval 33">
            <a:extLst>
              <a:ext uri="{FF2B5EF4-FFF2-40B4-BE49-F238E27FC236}">
                <a16:creationId xmlns:a16="http://schemas.microsoft.com/office/drawing/2014/main" id="{8388218A-7DB2-6671-538D-D24E049AE837}"/>
              </a:ext>
            </a:extLst>
          </p:cNvPr>
          <p:cNvSpPr/>
          <p:nvPr/>
        </p:nvSpPr>
        <p:spPr>
          <a:xfrm>
            <a:off x="9147393" y="1729476"/>
            <a:ext cx="108000" cy="108000"/>
          </a:xfrm>
          <a:prstGeom prst="ellipse">
            <a:avLst/>
          </a:prstGeom>
          <a:solidFill>
            <a:srgbClr val="3C3C4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2171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err="1">
              <a:ln>
                <a:noFill/>
              </a:ln>
              <a:solidFill>
                <a:prstClr val="white"/>
              </a:solidFill>
              <a:effectLst/>
              <a:uLnTx/>
              <a:uFillTx/>
              <a:latin typeface="Calibri"/>
              <a:ea typeface="+mn-ea"/>
              <a:cs typeface="+mn-cs"/>
            </a:endParaRPr>
          </a:p>
        </p:txBody>
      </p:sp>
      <p:cxnSp>
        <p:nvCxnSpPr>
          <p:cNvPr id="39" name="Straight Connector 38">
            <a:extLst>
              <a:ext uri="{FF2B5EF4-FFF2-40B4-BE49-F238E27FC236}">
                <a16:creationId xmlns:a16="http://schemas.microsoft.com/office/drawing/2014/main" id="{4706CAED-41C1-3449-6022-243304C15066}"/>
              </a:ext>
            </a:extLst>
          </p:cNvPr>
          <p:cNvCxnSpPr>
            <a:cxnSpLocks/>
          </p:cNvCxnSpPr>
          <p:nvPr/>
        </p:nvCxnSpPr>
        <p:spPr>
          <a:xfrm flipV="1">
            <a:off x="9195299" y="1486636"/>
            <a:ext cx="15441" cy="26329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22984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blue sky with clouds and the sun&#10;&#10;Description automatically generated">
            <a:extLst>
              <a:ext uri="{FF2B5EF4-FFF2-40B4-BE49-F238E27FC236}">
                <a16:creationId xmlns:a16="http://schemas.microsoft.com/office/drawing/2014/main" id="{4B69D73E-5C23-21C7-F8F0-57A6E9336771}"/>
              </a:ext>
            </a:extLst>
          </p:cNvPr>
          <p:cNvPicPr>
            <a:picLocks noChangeAspect="1"/>
          </p:cNvPicPr>
          <p:nvPr/>
        </p:nvPicPr>
        <p:blipFill rotWithShape="1">
          <a:blip r:embed="rId3"/>
          <a:srcRect r="1779" b="1"/>
          <a:stretch/>
        </p:blipFill>
        <p:spPr>
          <a:xfrm>
            <a:off x="20" y="10"/>
            <a:ext cx="12191980" cy="6857990"/>
          </a:xfrm>
          <a:prstGeom prst="rect">
            <a:avLst/>
          </a:prstGeom>
          <a:noFill/>
        </p:spPr>
      </p:pic>
    </p:spTree>
    <p:extLst>
      <p:ext uri="{BB962C8B-B14F-4D97-AF65-F5344CB8AC3E}">
        <p14:creationId xmlns:p14="http://schemas.microsoft.com/office/powerpoint/2010/main" val="252029978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Grafik 94">
            <a:extLst>
              <a:ext uri="{FF2B5EF4-FFF2-40B4-BE49-F238E27FC236}">
                <a16:creationId xmlns:a16="http://schemas.microsoft.com/office/drawing/2014/main" id="{C0674C25-73F4-416A-A728-E1D72BE6B7DE}"/>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backgroundRemoval t="7317" b="89431" l="3793" r="100000">
                        <a14:foregroundMark x1="12759" y1="26016" x2="13448" y2="68293"/>
                        <a14:foregroundMark x1="12069" y1="68293" x2="3793" y2="65041"/>
                        <a14:foregroundMark x1="11724" y1="31707" x2="5172" y2="30081"/>
                      </a14:backgroundRemoval>
                    </a14:imgEffect>
                  </a14:imgLayer>
                </a14:imgProps>
              </a:ext>
              <a:ext uri="{28A0092B-C50C-407E-A947-70E740481C1C}">
                <a14:useLocalDpi xmlns:a14="http://schemas.microsoft.com/office/drawing/2010/main"/>
              </a:ext>
            </a:extLst>
          </a:blip>
          <a:srcRect t="-1" b="-41328"/>
          <a:stretch/>
        </p:blipFill>
        <p:spPr>
          <a:xfrm rot="10800000">
            <a:off x="435442" y="3897134"/>
            <a:ext cx="660061" cy="395290"/>
          </a:xfrm>
          <a:prstGeom prst="rect">
            <a:avLst/>
          </a:prstGeom>
        </p:spPr>
      </p:pic>
      <p:pic>
        <p:nvPicPr>
          <p:cNvPr id="25" name="Grafik 100">
            <a:extLst>
              <a:ext uri="{FF2B5EF4-FFF2-40B4-BE49-F238E27FC236}">
                <a16:creationId xmlns:a16="http://schemas.microsoft.com/office/drawing/2014/main" id="{ADB461A8-D43D-42CE-AD7F-79DB77605D2A}"/>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backgroundRemoval t="9600" b="88800" l="5357" r="100000">
                        <a14:foregroundMark x1="40774" y1="26400" x2="99702" y2="28000"/>
                        <a14:foregroundMark x1="5357" y1="60800" x2="16964" y2="56800"/>
                      </a14:backgroundRemoval>
                    </a14:imgEffect>
                    <a14:imgEffect>
                      <a14:brightnessContrast contrast="9000"/>
                    </a14:imgEffect>
                  </a14:imgLayer>
                </a14:imgProps>
              </a:ext>
              <a:ext uri="{28A0092B-C50C-407E-A947-70E740481C1C}">
                <a14:useLocalDpi xmlns:a14="http://schemas.microsoft.com/office/drawing/2010/main"/>
              </a:ext>
            </a:extLst>
          </a:blip>
          <a:srcRect b="-123"/>
          <a:stretch/>
        </p:blipFill>
        <p:spPr>
          <a:xfrm rot="10800000">
            <a:off x="462492" y="3357216"/>
            <a:ext cx="690622" cy="257271"/>
          </a:xfrm>
          <a:prstGeom prst="rect">
            <a:avLst/>
          </a:prstGeom>
        </p:spPr>
      </p:pic>
      <p:sp>
        <p:nvSpPr>
          <p:cNvPr id="2" name="Titel 1">
            <a:extLst>
              <a:ext uri="{FF2B5EF4-FFF2-40B4-BE49-F238E27FC236}">
                <a16:creationId xmlns:a16="http://schemas.microsoft.com/office/drawing/2014/main" id="{731859DC-CBF9-4EFF-B38F-146DD3E3E034}"/>
              </a:ext>
            </a:extLst>
          </p:cNvPr>
          <p:cNvSpPr>
            <a:spLocks noGrp="1"/>
          </p:cNvSpPr>
          <p:nvPr>
            <p:ph type="title"/>
          </p:nvPr>
        </p:nvSpPr>
        <p:spPr/>
        <p:txBody>
          <a:bodyPr>
            <a:normAutofit fontScale="90000"/>
          </a:bodyPr>
          <a:lstStyle/>
          <a:p>
            <a:pPr algn="l"/>
            <a:r>
              <a:rPr lang="nl-NL" sz="3100" dirty="0">
                <a:latin typeface="Signify Raisonne DemiBold"/>
              </a:rPr>
              <a:t>Fluo ban - regulation</a:t>
            </a:r>
            <a:br>
              <a:rPr lang="nl-NL" sz="3100" dirty="0">
                <a:latin typeface="Signify Raisonne DemiBold"/>
              </a:rPr>
            </a:br>
            <a:r>
              <a:rPr lang="de-DE" sz="2200" b="0" dirty="0">
                <a:solidFill>
                  <a:schemeClr val="accent3"/>
                </a:solidFill>
                <a:latin typeface="Signify Relative Book" panose="02000506040000020004" pitchFamily="50" charset="0"/>
              </a:rPr>
              <a:t>RoHS = </a:t>
            </a:r>
            <a:r>
              <a:rPr lang="de-DE" sz="2200" b="0" dirty="0" err="1">
                <a:solidFill>
                  <a:schemeClr val="accent3"/>
                </a:solidFill>
                <a:latin typeface="Signify Relative Book" panose="02000506040000020004" pitchFamily="50" charset="0"/>
              </a:rPr>
              <a:t>Restriction</a:t>
            </a:r>
            <a:r>
              <a:rPr lang="de-DE" sz="2200" b="0" dirty="0">
                <a:solidFill>
                  <a:schemeClr val="accent3"/>
                </a:solidFill>
                <a:latin typeface="Signify Relative Book" panose="02000506040000020004" pitchFamily="50" charset="0"/>
              </a:rPr>
              <a:t> </a:t>
            </a:r>
            <a:r>
              <a:rPr lang="de-DE" sz="2200" b="0" dirty="0" err="1">
                <a:solidFill>
                  <a:schemeClr val="accent3"/>
                </a:solidFill>
                <a:latin typeface="Signify Relative Book" panose="02000506040000020004" pitchFamily="50" charset="0"/>
              </a:rPr>
              <a:t>of</a:t>
            </a:r>
            <a:r>
              <a:rPr lang="de-DE" sz="2200" b="0" dirty="0">
                <a:solidFill>
                  <a:schemeClr val="accent3"/>
                </a:solidFill>
                <a:latin typeface="Signify Relative Book" panose="02000506040000020004" pitchFamily="50" charset="0"/>
              </a:rPr>
              <a:t> </a:t>
            </a:r>
            <a:r>
              <a:rPr lang="de-DE" sz="2200" b="0" dirty="0" err="1">
                <a:solidFill>
                  <a:schemeClr val="accent3"/>
                </a:solidFill>
                <a:latin typeface="Signify Relative Book" panose="02000506040000020004" pitchFamily="50" charset="0"/>
              </a:rPr>
              <a:t>Hazardous</a:t>
            </a:r>
            <a:r>
              <a:rPr lang="de-DE" sz="2200" b="0" dirty="0">
                <a:solidFill>
                  <a:schemeClr val="accent3"/>
                </a:solidFill>
                <a:latin typeface="Signify Relative Book" panose="02000506040000020004" pitchFamily="50" charset="0"/>
              </a:rPr>
              <a:t> </a:t>
            </a:r>
            <a:r>
              <a:rPr lang="de-DE" sz="2200" b="0" dirty="0" err="1">
                <a:solidFill>
                  <a:schemeClr val="accent3"/>
                </a:solidFill>
                <a:latin typeface="Signify Relative Book" panose="02000506040000020004" pitchFamily="50" charset="0"/>
              </a:rPr>
              <a:t>Substances</a:t>
            </a:r>
            <a:r>
              <a:rPr lang="de-DE" sz="2200" b="0" dirty="0">
                <a:solidFill>
                  <a:schemeClr val="accent3"/>
                </a:solidFill>
                <a:latin typeface="Signify Relative Book" panose="02000506040000020004" pitchFamily="50" charset="0"/>
              </a:rPr>
              <a:t> </a:t>
            </a:r>
            <a:br>
              <a:rPr lang="nl-NL" sz="1800" b="0" i="0" u="none" strike="noStrike" baseline="0" dirty="0">
                <a:solidFill>
                  <a:srgbClr val="000000"/>
                </a:solidFill>
                <a:latin typeface="Calibri" panose="020F0502020204030204" pitchFamily="34" charset="0"/>
              </a:rPr>
            </a:br>
            <a:r>
              <a:rPr lang="nl-NL" sz="1800" b="0" i="0" u="none" strike="noStrike" baseline="0" dirty="0">
                <a:solidFill>
                  <a:srgbClr val="000000"/>
                </a:solidFill>
                <a:latin typeface="Calibri" panose="020F0502020204030204" pitchFamily="34" charset="0"/>
              </a:rPr>
              <a:t> </a:t>
            </a:r>
            <a:br>
              <a:rPr lang="de-DE" sz="2400" b="0" dirty="0">
                <a:solidFill>
                  <a:schemeClr val="tx1"/>
                </a:solidFill>
                <a:latin typeface="Signify Relative Book" panose="02000506040000020004" pitchFamily="50" charset="0"/>
              </a:rPr>
            </a:br>
            <a:endParaRPr lang="de-DE" b="0" dirty="0">
              <a:latin typeface="Signify Raisonne DemiBold"/>
            </a:endParaRPr>
          </a:p>
        </p:txBody>
      </p:sp>
      <p:sp>
        <p:nvSpPr>
          <p:cNvPr id="5" name="Tijdelijke aanduiding voor dianummer 4">
            <a:extLst>
              <a:ext uri="{FF2B5EF4-FFF2-40B4-BE49-F238E27FC236}">
                <a16:creationId xmlns:a16="http://schemas.microsoft.com/office/drawing/2014/main" id="{110A8503-7088-C48D-D71D-FFDF8AAAE39F}"/>
              </a:ext>
            </a:extLst>
          </p:cNvPr>
          <p:cNvSpPr>
            <a:spLocks noGrp="1"/>
          </p:cNvSpPr>
          <p:nvPr>
            <p:ph type="sldNum" sz="quarter" idx="12"/>
          </p:nvPr>
        </p:nvSpPr>
        <p:spPr/>
        <p:txBody>
          <a:bodyPr/>
          <a:lstStyle/>
          <a:p>
            <a:fld id="{32B354EE-31EA-4FC2-9496-7B6202183237}" type="slidenum">
              <a:rPr lang="en-US" smtClean="0"/>
              <a:pPr/>
              <a:t>20</a:t>
            </a:fld>
            <a:endParaRPr lang="en-US" dirty="0"/>
          </a:p>
        </p:txBody>
      </p:sp>
      <p:graphicFrame>
        <p:nvGraphicFramePr>
          <p:cNvPr id="3" name="Table 13">
            <a:extLst>
              <a:ext uri="{FF2B5EF4-FFF2-40B4-BE49-F238E27FC236}">
                <a16:creationId xmlns:a16="http://schemas.microsoft.com/office/drawing/2014/main" id="{99A76A51-EDA4-4E04-84D9-BFA844780E50}"/>
              </a:ext>
            </a:extLst>
          </p:cNvPr>
          <p:cNvGraphicFramePr>
            <a:graphicFrameLocks noGrp="1"/>
          </p:cNvGraphicFramePr>
          <p:nvPr/>
        </p:nvGraphicFramePr>
        <p:xfrm>
          <a:off x="1284294" y="1286058"/>
          <a:ext cx="8048372" cy="5297017"/>
        </p:xfrm>
        <a:graphic>
          <a:graphicData uri="http://schemas.openxmlformats.org/drawingml/2006/table">
            <a:tbl>
              <a:tblPr firstRow="1" bandRow="1">
                <a:tableStyleId>{5C22544A-7EE6-4342-B048-85BDC9FD1C3A}</a:tableStyleId>
              </a:tblPr>
              <a:tblGrid>
                <a:gridCol w="2351874">
                  <a:extLst>
                    <a:ext uri="{9D8B030D-6E8A-4147-A177-3AD203B41FA5}">
                      <a16:colId xmlns:a16="http://schemas.microsoft.com/office/drawing/2014/main" val="4225587102"/>
                    </a:ext>
                  </a:extLst>
                </a:gridCol>
                <a:gridCol w="508197">
                  <a:extLst>
                    <a:ext uri="{9D8B030D-6E8A-4147-A177-3AD203B41FA5}">
                      <a16:colId xmlns:a16="http://schemas.microsoft.com/office/drawing/2014/main" val="711978077"/>
                    </a:ext>
                  </a:extLst>
                </a:gridCol>
                <a:gridCol w="1630609">
                  <a:extLst>
                    <a:ext uri="{9D8B030D-6E8A-4147-A177-3AD203B41FA5}">
                      <a16:colId xmlns:a16="http://schemas.microsoft.com/office/drawing/2014/main" val="287041473"/>
                    </a:ext>
                  </a:extLst>
                </a:gridCol>
                <a:gridCol w="1630609">
                  <a:extLst>
                    <a:ext uri="{9D8B030D-6E8A-4147-A177-3AD203B41FA5}">
                      <a16:colId xmlns:a16="http://schemas.microsoft.com/office/drawing/2014/main" val="1907658189"/>
                    </a:ext>
                  </a:extLst>
                </a:gridCol>
                <a:gridCol w="1630609">
                  <a:extLst>
                    <a:ext uri="{9D8B030D-6E8A-4147-A177-3AD203B41FA5}">
                      <a16:colId xmlns:a16="http://schemas.microsoft.com/office/drawing/2014/main" val="3682777997"/>
                    </a:ext>
                  </a:extLst>
                </a:gridCol>
                <a:gridCol w="296474">
                  <a:extLst>
                    <a:ext uri="{9D8B030D-6E8A-4147-A177-3AD203B41FA5}">
                      <a16:colId xmlns:a16="http://schemas.microsoft.com/office/drawing/2014/main" val="1113688104"/>
                    </a:ext>
                  </a:extLst>
                </a:gridCol>
              </a:tblGrid>
              <a:tr h="595236">
                <a:tc>
                  <a:txBody>
                    <a:bodyPr/>
                    <a:lstStyle/>
                    <a:p>
                      <a:endParaRPr lang="de-DE" sz="1300">
                        <a:solidFill>
                          <a:schemeClr val="tx2"/>
                        </a:solidFill>
                      </a:endParaRPr>
                    </a:p>
                  </a:txBody>
                  <a:tcPr marL="84569" marR="84569" marT="42284" marB="42284">
                    <a:lnL w="12700" cmpd="sng">
                      <a:noFill/>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r"/>
                      <a:r>
                        <a:rPr lang="de-DE" sz="1300">
                          <a:solidFill>
                            <a:schemeClr val="tx2"/>
                          </a:solidFill>
                        </a:rPr>
                        <a:t>2022</a:t>
                      </a:r>
                    </a:p>
                  </a:txBody>
                  <a:tcPr marL="84569" marR="84569" marT="42284" marB="42284">
                    <a:lnL w="12700" cap="flat" cmpd="sng" algn="ctr">
                      <a:noFill/>
                      <a:prstDash val="solid"/>
                      <a:round/>
                      <a:headEnd type="none" w="med" len="med"/>
                      <a:tailEnd type="none" w="med" len="med"/>
                    </a:lnL>
                    <a:lnR w="19050" cap="flat" cmpd="sng" algn="ctr">
                      <a:solidFill>
                        <a:srgbClr val="FFAA08"/>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r"/>
                      <a:r>
                        <a:rPr lang="de-DE" sz="1300">
                          <a:solidFill>
                            <a:schemeClr val="tx2"/>
                          </a:solidFill>
                        </a:rPr>
                        <a:t>25.02.2023</a:t>
                      </a:r>
                    </a:p>
                    <a:p>
                      <a:pPr algn="r"/>
                      <a:r>
                        <a:rPr lang="de-DE" sz="1300" b="0">
                          <a:solidFill>
                            <a:schemeClr val="tx2"/>
                          </a:solidFill>
                        </a:rPr>
                        <a:t>RoHS</a:t>
                      </a:r>
                      <a:r>
                        <a:rPr lang="de-DE" sz="1300" b="0" baseline="30000">
                          <a:solidFill>
                            <a:schemeClr val="tx2"/>
                          </a:solidFill>
                        </a:rPr>
                        <a:t>1</a:t>
                      </a:r>
                    </a:p>
                  </a:txBody>
                  <a:tcPr marL="84569" marR="84569" marT="42284" marB="42284">
                    <a:lnL w="19050" cap="flat" cmpd="sng" algn="ctr">
                      <a:solidFill>
                        <a:srgbClr val="FFAA08"/>
                      </a:solidFill>
                      <a:prstDash val="solid"/>
                      <a:round/>
                      <a:headEnd type="none" w="med" len="med"/>
                      <a:tailEnd type="none" w="med" len="med"/>
                    </a:lnL>
                    <a:lnR w="19050" cap="flat" cmpd="sng" algn="ctr">
                      <a:solidFill>
                        <a:srgbClr val="FFAA08"/>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r"/>
                      <a:r>
                        <a:rPr lang="de-DE" sz="1300">
                          <a:solidFill>
                            <a:schemeClr val="tx2"/>
                          </a:solidFill>
                        </a:rPr>
                        <a:t>25.08.2023</a:t>
                      </a:r>
                    </a:p>
                    <a:p>
                      <a:pPr marL="0" marR="0" lvl="0" indent="0" algn="r" defTabSz="912571" rtl="0" eaLnBrk="1" fontAlgn="auto" latinLnBrk="0" hangingPunct="1">
                        <a:lnSpc>
                          <a:spcPct val="100000"/>
                        </a:lnSpc>
                        <a:spcBef>
                          <a:spcPts val="0"/>
                        </a:spcBef>
                        <a:spcAft>
                          <a:spcPts val="0"/>
                        </a:spcAft>
                        <a:buClrTx/>
                        <a:buSzTx/>
                        <a:buFontTx/>
                        <a:buNone/>
                        <a:tabLst/>
                        <a:defRPr/>
                      </a:pPr>
                      <a:r>
                        <a:rPr lang="de-DE" sz="1300" b="0">
                          <a:solidFill>
                            <a:schemeClr val="tx2"/>
                          </a:solidFill>
                        </a:rPr>
                        <a:t>RoHS</a:t>
                      </a:r>
                      <a:r>
                        <a:rPr lang="de-DE" sz="1300" b="0" baseline="30000">
                          <a:solidFill>
                            <a:schemeClr val="tx2"/>
                          </a:solidFill>
                        </a:rPr>
                        <a:t>1</a:t>
                      </a:r>
                    </a:p>
                  </a:txBody>
                  <a:tcPr marL="84569" marR="84569" marT="42284" marB="42284">
                    <a:lnL w="19050" cap="flat" cmpd="sng" algn="ctr">
                      <a:solidFill>
                        <a:srgbClr val="FFAA08"/>
                      </a:solidFill>
                      <a:prstDash val="solid"/>
                      <a:round/>
                      <a:headEnd type="none" w="med" len="med"/>
                      <a:tailEnd type="none" w="med" len="med"/>
                    </a:lnL>
                    <a:lnR w="19050" cap="flat" cmpd="sng" algn="ctr">
                      <a:solidFill>
                        <a:srgbClr val="FFAA08"/>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r"/>
                      <a:r>
                        <a:rPr lang="de-DE" sz="1300" dirty="0">
                          <a:solidFill>
                            <a:schemeClr val="tx2"/>
                          </a:solidFill>
                        </a:rPr>
                        <a:t>01.09.2023</a:t>
                      </a:r>
                    </a:p>
                    <a:p>
                      <a:pPr algn="r"/>
                      <a:r>
                        <a:rPr lang="de-DE" sz="1300" b="0" dirty="0">
                          <a:solidFill>
                            <a:schemeClr val="tx2"/>
                          </a:solidFill>
                        </a:rPr>
                        <a:t>Ecodesign (SLR</a:t>
                      </a:r>
                      <a:r>
                        <a:rPr lang="de-DE" sz="1300" b="0" baseline="30000" dirty="0">
                          <a:solidFill>
                            <a:schemeClr val="tx2"/>
                          </a:solidFill>
                        </a:rPr>
                        <a:t>2</a:t>
                      </a:r>
                      <a:r>
                        <a:rPr lang="de-DE" sz="1300" b="0" dirty="0">
                          <a:solidFill>
                            <a:schemeClr val="tx2"/>
                          </a:solidFill>
                        </a:rPr>
                        <a:t>)</a:t>
                      </a:r>
                    </a:p>
                  </a:txBody>
                  <a:tcPr marL="84569" marR="84569" marT="42284" marB="42284">
                    <a:lnL w="19050" cap="flat" cmpd="sng" algn="ctr">
                      <a:solidFill>
                        <a:srgbClr val="FFAA08"/>
                      </a:solidFill>
                      <a:prstDash val="solid"/>
                      <a:round/>
                      <a:headEnd type="none" w="med" len="med"/>
                      <a:tailEnd type="none" w="med" len="med"/>
                    </a:lnL>
                    <a:lnR w="19050" cap="flat" cmpd="sng" algn="ctr">
                      <a:solidFill>
                        <a:srgbClr val="FFAA08"/>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r"/>
                      <a:endParaRPr lang="de-DE" sz="1100">
                        <a:solidFill>
                          <a:schemeClr val="bg1"/>
                        </a:solidFill>
                      </a:endParaRPr>
                    </a:p>
                  </a:txBody>
                  <a:tcPr marL="84569" marR="84569" marT="42284" marB="42284">
                    <a:lnL w="19050" cap="flat" cmpd="sng" algn="ctr">
                      <a:solidFill>
                        <a:srgbClr val="FFAA08"/>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17164759"/>
                  </a:ext>
                </a:extLst>
              </a:tr>
              <a:tr h="386220">
                <a:tc gridSpan="2">
                  <a:txBody>
                    <a:bodyPr/>
                    <a:lstStyle/>
                    <a:p>
                      <a:pPr algn="l"/>
                      <a:endParaRPr lang="de-DE" sz="1100">
                        <a:solidFill>
                          <a:schemeClr val="bg1"/>
                        </a:solidFill>
                      </a:endParaRPr>
                    </a:p>
                  </a:txBody>
                  <a:tcPr marL="84569" marR="84569" marT="42284" marB="42284">
                    <a:lnL w="12700" cmpd="sng">
                      <a:noFill/>
                    </a:lnL>
                    <a:lnR w="19050" cap="flat" cmpd="sng" algn="ctr">
                      <a:solidFill>
                        <a:srgbClr val="FFAA08"/>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accent6">
                        <a:lumMod val="25000"/>
                      </a:schemeClr>
                    </a:solidFill>
                  </a:tcPr>
                </a:tc>
                <a:tc hMerge="1">
                  <a:txBody>
                    <a:bodyPr/>
                    <a:lstStyle/>
                    <a:p>
                      <a:endParaRPr lang="de-DE" sz="1200"/>
                    </a:p>
                  </a:txBody>
                  <a:tcPr>
                    <a:lnL w="12700" cap="flat" cmpd="sng" algn="ctr">
                      <a:noFill/>
                      <a:prstDash val="solid"/>
                      <a:round/>
                      <a:headEnd type="none" w="med" len="med"/>
                      <a:tailEnd type="none" w="med" len="med"/>
                    </a:lnL>
                    <a:lnR w="12700" cap="flat" cmpd="sng" algn="ctr">
                      <a:solidFill>
                        <a:srgbClr val="FFAA08"/>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de-DE" sz="1100" dirty="0">
                        <a:solidFill>
                          <a:schemeClr val="bg1"/>
                        </a:solidFill>
                      </a:endParaRPr>
                    </a:p>
                  </a:txBody>
                  <a:tcPr marL="84569" marR="84569" marT="42284" marB="42284">
                    <a:lnL w="19050" cap="flat" cmpd="sng" algn="ctr">
                      <a:solidFill>
                        <a:srgbClr val="FFAA08"/>
                      </a:solidFill>
                      <a:prstDash val="solid"/>
                      <a:round/>
                      <a:headEnd type="none" w="med" len="med"/>
                      <a:tailEnd type="none" w="med" len="med"/>
                    </a:lnL>
                    <a:lnR w="19050" cap="flat" cmpd="sng" algn="ctr">
                      <a:solidFill>
                        <a:srgbClr val="FFAA08"/>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accent6">
                        <a:lumMod val="75000"/>
                      </a:schemeClr>
                    </a:solidFill>
                  </a:tcPr>
                </a:tc>
                <a:tc>
                  <a:txBody>
                    <a:bodyPr/>
                    <a:lstStyle/>
                    <a:p>
                      <a:endParaRPr lang="de-DE" sz="1100" dirty="0">
                        <a:solidFill>
                          <a:schemeClr val="bg1"/>
                        </a:solidFill>
                      </a:endParaRPr>
                    </a:p>
                  </a:txBody>
                  <a:tcPr marL="84569" marR="84569" marT="42284" marB="42284">
                    <a:lnL w="19050" cap="flat" cmpd="sng" algn="ctr">
                      <a:solidFill>
                        <a:srgbClr val="FFAA08"/>
                      </a:solidFill>
                      <a:prstDash val="solid"/>
                      <a:round/>
                      <a:headEnd type="none" w="med" len="med"/>
                      <a:tailEnd type="none" w="med" len="med"/>
                    </a:lnL>
                    <a:lnR w="19050" cap="flat" cmpd="sng" algn="ctr">
                      <a:solidFill>
                        <a:srgbClr val="FFAA08"/>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accent6">
                        <a:lumMod val="75000"/>
                      </a:schemeClr>
                    </a:solidFill>
                  </a:tcPr>
                </a:tc>
                <a:tc>
                  <a:txBody>
                    <a:bodyPr/>
                    <a:lstStyle/>
                    <a:p>
                      <a:endParaRPr lang="de-DE" sz="1100" dirty="0">
                        <a:solidFill>
                          <a:schemeClr val="bg1"/>
                        </a:solidFill>
                      </a:endParaRPr>
                    </a:p>
                  </a:txBody>
                  <a:tcPr marL="84569" marR="84569" marT="42284" marB="42284">
                    <a:lnL w="19050" cap="flat" cmpd="sng" algn="ctr">
                      <a:solidFill>
                        <a:srgbClr val="FFAA08"/>
                      </a:solidFill>
                      <a:prstDash val="solid"/>
                      <a:round/>
                      <a:headEnd type="none" w="med" len="med"/>
                      <a:tailEnd type="none" w="med" len="med"/>
                    </a:lnL>
                    <a:lnR w="19050" cap="flat" cmpd="sng" algn="ctr">
                      <a:solidFill>
                        <a:srgbClr val="FFAA08"/>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accent6">
                        <a:lumMod val="75000"/>
                      </a:schemeClr>
                    </a:solidFill>
                  </a:tcPr>
                </a:tc>
                <a:tc>
                  <a:txBody>
                    <a:bodyPr/>
                    <a:lstStyle/>
                    <a:p>
                      <a:endParaRPr lang="de-DE" sz="1100">
                        <a:solidFill>
                          <a:schemeClr val="bg1"/>
                        </a:solidFill>
                      </a:endParaRPr>
                    </a:p>
                  </a:txBody>
                  <a:tcPr marL="84569" marR="84569" marT="42284" marB="42284">
                    <a:lnL w="19050" cap="flat" cmpd="sng" algn="ctr">
                      <a:solidFill>
                        <a:srgbClr val="FFAA08"/>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12287271"/>
                  </a:ext>
                </a:extLst>
              </a:tr>
              <a:tr h="313594">
                <a:tc>
                  <a:txBody>
                    <a:bodyPr/>
                    <a:lstStyle/>
                    <a:p>
                      <a:pPr marL="0" lvl="0" algn="l" defTabSz="912095" rtl="0" eaLnBrk="1" latinLnBrk="0" hangingPunct="1"/>
                      <a:endParaRPr lang="de-DE" sz="1100" kern="1200">
                        <a:solidFill>
                          <a:schemeClr val="bg1"/>
                        </a:solidFill>
                        <a:latin typeface="+mn-lt"/>
                        <a:ea typeface="+mn-ea"/>
                        <a:cs typeface="+mn-cs"/>
                      </a:endParaRPr>
                    </a:p>
                  </a:txBody>
                  <a:tcPr marL="84569" marR="84569" marT="42284" marB="42284">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de-DE" sz="1100">
                        <a:solidFill>
                          <a:schemeClr val="bg1"/>
                        </a:solidFill>
                      </a:endParaRPr>
                    </a:p>
                  </a:txBody>
                  <a:tcPr marL="84569" marR="84569" marT="42284" marB="42284">
                    <a:lnL w="12700" cap="flat" cmpd="sng" algn="ctr">
                      <a:noFill/>
                      <a:prstDash val="solid"/>
                      <a:round/>
                      <a:headEnd type="none" w="med" len="med"/>
                      <a:tailEnd type="none" w="med" len="med"/>
                    </a:lnL>
                    <a:lnR w="19050" cap="flat" cmpd="sng" algn="ctr">
                      <a:solidFill>
                        <a:srgbClr val="FFAA08"/>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de-DE" sz="1100" dirty="0">
                        <a:solidFill>
                          <a:schemeClr val="bg1"/>
                        </a:solidFill>
                      </a:endParaRPr>
                    </a:p>
                  </a:txBody>
                  <a:tcPr marL="84569" marR="84569" marT="42284" marB="42284">
                    <a:lnL w="19050" cap="flat" cmpd="sng" algn="ctr">
                      <a:solidFill>
                        <a:srgbClr val="FFAA08"/>
                      </a:solidFill>
                      <a:prstDash val="solid"/>
                      <a:round/>
                      <a:headEnd type="none" w="med" len="med"/>
                      <a:tailEnd type="none" w="med" len="med"/>
                    </a:lnL>
                    <a:lnR w="19050" cap="flat" cmpd="sng" algn="ctr">
                      <a:solidFill>
                        <a:srgbClr val="FFAA08"/>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de-DE" sz="1100">
                        <a:solidFill>
                          <a:schemeClr val="bg1"/>
                        </a:solidFill>
                      </a:endParaRPr>
                    </a:p>
                  </a:txBody>
                  <a:tcPr marL="84569" marR="84569" marT="42284" marB="42284">
                    <a:lnL w="19050" cap="flat" cmpd="sng" algn="ctr">
                      <a:solidFill>
                        <a:srgbClr val="FFAA08"/>
                      </a:solidFill>
                      <a:prstDash val="solid"/>
                      <a:round/>
                      <a:headEnd type="none" w="med" len="med"/>
                      <a:tailEnd type="none" w="med" len="med"/>
                    </a:lnL>
                    <a:lnR w="19050" cap="flat" cmpd="sng" algn="ctr">
                      <a:solidFill>
                        <a:srgbClr val="FFAA08"/>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de-DE" sz="1100">
                        <a:solidFill>
                          <a:schemeClr val="bg1"/>
                        </a:solidFill>
                      </a:endParaRPr>
                    </a:p>
                  </a:txBody>
                  <a:tcPr marL="84569" marR="84569" marT="42284" marB="42284">
                    <a:lnL w="19050" cap="flat" cmpd="sng" algn="ctr">
                      <a:solidFill>
                        <a:srgbClr val="FFAA08"/>
                      </a:solidFill>
                      <a:prstDash val="solid"/>
                      <a:round/>
                      <a:headEnd type="none" w="med" len="med"/>
                      <a:tailEnd type="none" w="med" len="med"/>
                    </a:lnL>
                    <a:lnR w="19050" cap="flat" cmpd="sng" algn="ctr">
                      <a:solidFill>
                        <a:srgbClr val="FFAA08"/>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de-DE" sz="1100">
                        <a:solidFill>
                          <a:schemeClr val="bg1"/>
                        </a:solidFill>
                      </a:endParaRPr>
                    </a:p>
                  </a:txBody>
                  <a:tcPr marL="84569" marR="84569" marT="42284" marB="42284">
                    <a:lnL w="19050" cap="flat" cmpd="sng" algn="ctr">
                      <a:solidFill>
                        <a:srgbClr val="FFAA08"/>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08980918"/>
                  </a:ext>
                </a:extLst>
              </a:tr>
              <a:tr h="386623">
                <a:tc gridSpan="2">
                  <a:txBody>
                    <a:bodyPr/>
                    <a:lstStyle/>
                    <a:p>
                      <a:pPr marL="0" marR="0" lvl="0" indent="0" algn="l" defTabSz="912095" rtl="0" eaLnBrk="1" fontAlgn="auto" latinLnBrk="0" hangingPunct="1">
                        <a:lnSpc>
                          <a:spcPct val="100000"/>
                        </a:lnSpc>
                        <a:spcBef>
                          <a:spcPts val="0"/>
                        </a:spcBef>
                        <a:spcAft>
                          <a:spcPts val="0"/>
                        </a:spcAft>
                        <a:buClrTx/>
                        <a:buSzTx/>
                        <a:buFontTx/>
                        <a:buNone/>
                        <a:tabLst/>
                        <a:defRPr/>
                      </a:pPr>
                      <a:endParaRPr lang="de-DE" sz="1100" kern="1200">
                        <a:solidFill>
                          <a:schemeClr val="bg1"/>
                        </a:solidFill>
                        <a:latin typeface="+mn-lt"/>
                        <a:ea typeface="+mn-ea"/>
                        <a:cs typeface="+mn-cs"/>
                      </a:endParaRPr>
                    </a:p>
                  </a:txBody>
                  <a:tcPr marL="84569" marR="84569" marT="42284" marB="42284">
                    <a:lnL w="12700" cmpd="sng">
                      <a:noFill/>
                    </a:lnL>
                    <a:lnR w="19050" cap="flat" cmpd="sng" algn="ctr">
                      <a:solidFill>
                        <a:srgbClr val="FFAA08"/>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2060"/>
                    </a:solidFill>
                  </a:tcPr>
                </a:tc>
                <a:tc hMerge="1">
                  <a:txBody>
                    <a:bodyPr/>
                    <a:lstStyle/>
                    <a:p>
                      <a:endParaRPr lang="de-DE" sz="1200"/>
                    </a:p>
                  </a:txBody>
                  <a:tcPr>
                    <a:lnL w="12700" cap="flat" cmpd="sng" algn="ctr">
                      <a:noFill/>
                      <a:prstDash val="solid"/>
                      <a:round/>
                      <a:headEnd type="none" w="med" len="med"/>
                      <a:tailEnd type="none" w="med" len="med"/>
                    </a:lnL>
                    <a:lnR w="12700" cap="flat" cmpd="sng" algn="ctr">
                      <a:solidFill>
                        <a:srgbClr val="FFAA08"/>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de-DE" sz="1100" dirty="0">
                        <a:solidFill>
                          <a:schemeClr val="bg1"/>
                        </a:solidFill>
                      </a:endParaRPr>
                    </a:p>
                  </a:txBody>
                  <a:tcPr marL="84569" marR="84569" marT="42284" marB="42284">
                    <a:lnL w="19050" cap="flat" cmpd="sng" algn="ctr">
                      <a:solidFill>
                        <a:srgbClr val="FFAA08"/>
                      </a:solidFill>
                      <a:prstDash val="solid"/>
                      <a:round/>
                      <a:headEnd type="none" w="med" len="med"/>
                      <a:tailEnd type="none" w="med" len="med"/>
                    </a:lnL>
                    <a:lnR w="19050" cap="flat" cmpd="sng" algn="ctr">
                      <a:solidFill>
                        <a:srgbClr val="FFAA08"/>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75000"/>
                      </a:schemeClr>
                    </a:solidFill>
                  </a:tcPr>
                </a:tc>
                <a:tc>
                  <a:txBody>
                    <a:bodyPr/>
                    <a:lstStyle/>
                    <a:p>
                      <a:endParaRPr lang="de-DE" sz="1100" dirty="0">
                        <a:solidFill>
                          <a:schemeClr val="bg1"/>
                        </a:solidFill>
                      </a:endParaRPr>
                    </a:p>
                  </a:txBody>
                  <a:tcPr marL="84569" marR="84569" marT="42284" marB="42284">
                    <a:lnL w="19050" cap="flat" cmpd="sng" algn="ctr">
                      <a:solidFill>
                        <a:srgbClr val="FFAA08"/>
                      </a:solidFill>
                      <a:prstDash val="solid"/>
                      <a:round/>
                      <a:headEnd type="none" w="med" len="med"/>
                      <a:tailEnd type="none" w="med" len="med"/>
                    </a:lnL>
                    <a:lnR w="19050" cap="flat" cmpd="sng" algn="ctr">
                      <a:solidFill>
                        <a:srgbClr val="FFAA08"/>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75000"/>
                      </a:schemeClr>
                    </a:solidFill>
                  </a:tcPr>
                </a:tc>
                <a:tc>
                  <a:txBody>
                    <a:bodyPr/>
                    <a:lstStyle/>
                    <a:p>
                      <a:endParaRPr lang="de-DE" sz="1100" dirty="0">
                        <a:solidFill>
                          <a:schemeClr val="bg1"/>
                        </a:solidFill>
                      </a:endParaRPr>
                    </a:p>
                  </a:txBody>
                  <a:tcPr marL="84569" marR="84569" marT="42284" marB="42284">
                    <a:lnL w="19050" cap="flat" cmpd="sng" algn="ctr">
                      <a:solidFill>
                        <a:srgbClr val="FFAA08"/>
                      </a:solidFill>
                      <a:prstDash val="solid"/>
                      <a:round/>
                      <a:headEnd type="none" w="med" len="med"/>
                      <a:tailEnd type="none" w="med" len="med"/>
                    </a:lnL>
                    <a:lnR w="19050" cap="flat" cmpd="sng" algn="ctr">
                      <a:solidFill>
                        <a:srgbClr val="FFAA08"/>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75000"/>
                      </a:schemeClr>
                    </a:solidFill>
                  </a:tcPr>
                </a:tc>
                <a:tc>
                  <a:txBody>
                    <a:bodyPr/>
                    <a:lstStyle/>
                    <a:p>
                      <a:endParaRPr lang="de-DE" sz="1100">
                        <a:solidFill>
                          <a:schemeClr val="bg1"/>
                        </a:solidFill>
                      </a:endParaRPr>
                    </a:p>
                  </a:txBody>
                  <a:tcPr marL="84569" marR="84569" marT="42284" marB="42284">
                    <a:lnL w="19050" cap="flat" cmpd="sng" algn="ctr">
                      <a:solidFill>
                        <a:srgbClr val="FFAA08"/>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41306293"/>
                  </a:ext>
                </a:extLst>
              </a:tr>
              <a:tr h="313594">
                <a:tc>
                  <a:txBody>
                    <a:bodyPr/>
                    <a:lstStyle/>
                    <a:p>
                      <a:pPr marL="0" marR="0" lvl="0" indent="0" algn="l" defTabSz="912095" rtl="0" eaLnBrk="1" fontAlgn="auto" latinLnBrk="0" hangingPunct="1">
                        <a:lnSpc>
                          <a:spcPct val="100000"/>
                        </a:lnSpc>
                        <a:spcBef>
                          <a:spcPts val="0"/>
                        </a:spcBef>
                        <a:spcAft>
                          <a:spcPts val="0"/>
                        </a:spcAft>
                        <a:buClrTx/>
                        <a:buSzTx/>
                        <a:buFontTx/>
                        <a:buNone/>
                        <a:tabLst/>
                        <a:defRPr/>
                      </a:pPr>
                      <a:endParaRPr lang="de-DE" sz="1100" kern="1200">
                        <a:solidFill>
                          <a:schemeClr val="bg1"/>
                        </a:solidFill>
                        <a:latin typeface="+mn-lt"/>
                        <a:ea typeface="+mn-ea"/>
                        <a:cs typeface="+mn-cs"/>
                      </a:endParaRPr>
                    </a:p>
                  </a:txBody>
                  <a:tcPr marL="84569" marR="84569" marT="42284" marB="42284">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de-DE" sz="1100">
                        <a:solidFill>
                          <a:schemeClr val="bg1"/>
                        </a:solidFill>
                      </a:endParaRPr>
                    </a:p>
                  </a:txBody>
                  <a:tcPr marL="84569" marR="84569" marT="42284" marB="42284">
                    <a:lnL w="12700" cap="flat" cmpd="sng" algn="ctr">
                      <a:noFill/>
                      <a:prstDash val="solid"/>
                      <a:round/>
                      <a:headEnd type="none" w="med" len="med"/>
                      <a:tailEnd type="none" w="med" len="med"/>
                    </a:lnL>
                    <a:lnR w="19050" cap="flat" cmpd="sng" algn="ctr">
                      <a:solidFill>
                        <a:srgbClr val="FFAA08"/>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de-DE" sz="1100">
                        <a:solidFill>
                          <a:schemeClr val="bg1"/>
                        </a:solidFill>
                      </a:endParaRPr>
                    </a:p>
                  </a:txBody>
                  <a:tcPr marL="84569" marR="84569" marT="42284" marB="42284">
                    <a:lnL w="19050" cap="flat" cmpd="sng" algn="ctr">
                      <a:solidFill>
                        <a:srgbClr val="FFAA08"/>
                      </a:solidFill>
                      <a:prstDash val="solid"/>
                      <a:round/>
                      <a:headEnd type="none" w="med" len="med"/>
                      <a:tailEnd type="none" w="med" len="med"/>
                    </a:lnL>
                    <a:lnR w="19050" cap="flat" cmpd="sng" algn="ctr">
                      <a:solidFill>
                        <a:srgbClr val="FFAA08"/>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de-DE" sz="1100">
                        <a:solidFill>
                          <a:schemeClr val="bg1"/>
                        </a:solidFill>
                      </a:endParaRPr>
                    </a:p>
                  </a:txBody>
                  <a:tcPr marL="84569" marR="84569" marT="42284" marB="42284">
                    <a:lnL w="19050" cap="flat" cmpd="sng" algn="ctr">
                      <a:solidFill>
                        <a:srgbClr val="FFAA08"/>
                      </a:solidFill>
                      <a:prstDash val="solid"/>
                      <a:round/>
                      <a:headEnd type="none" w="med" len="med"/>
                      <a:tailEnd type="none" w="med" len="med"/>
                    </a:lnL>
                    <a:lnR w="19050" cap="flat" cmpd="sng" algn="ctr">
                      <a:solidFill>
                        <a:srgbClr val="FFAA08"/>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de-DE" sz="1100">
                        <a:solidFill>
                          <a:schemeClr val="bg1"/>
                        </a:solidFill>
                      </a:endParaRPr>
                    </a:p>
                  </a:txBody>
                  <a:tcPr marL="84569" marR="84569" marT="42284" marB="42284">
                    <a:lnL w="19050" cap="flat" cmpd="sng" algn="ctr">
                      <a:solidFill>
                        <a:srgbClr val="FFAA08"/>
                      </a:solidFill>
                      <a:prstDash val="solid"/>
                      <a:round/>
                      <a:headEnd type="none" w="med" len="med"/>
                      <a:tailEnd type="none" w="med" len="med"/>
                    </a:lnL>
                    <a:lnR w="19050" cap="flat" cmpd="sng" algn="ctr">
                      <a:solidFill>
                        <a:srgbClr val="FFAA08"/>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de-DE" sz="1100">
                        <a:solidFill>
                          <a:schemeClr val="bg1"/>
                        </a:solidFill>
                      </a:endParaRPr>
                    </a:p>
                  </a:txBody>
                  <a:tcPr marL="84569" marR="84569" marT="42284" marB="42284">
                    <a:lnL w="19050" cap="flat" cmpd="sng" algn="ctr">
                      <a:solidFill>
                        <a:srgbClr val="FFAA08"/>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94896001"/>
                  </a:ext>
                </a:extLst>
              </a:tr>
              <a:tr h="386623">
                <a:tc gridSpan="2">
                  <a:txBody>
                    <a:bodyPr/>
                    <a:lstStyle/>
                    <a:p>
                      <a:pPr marL="0" marR="0" lvl="0" indent="0" algn="l" defTabSz="912095" rtl="0" eaLnBrk="1" fontAlgn="auto" latinLnBrk="0" hangingPunct="1">
                        <a:lnSpc>
                          <a:spcPct val="100000"/>
                        </a:lnSpc>
                        <a:spcBef>
                          <a:spcPts val="0"/>
                        </a:spcBef>
                        <a:spcAft>
                          <a:spcPts val="0"/>
                        </a:spcAft>
                        <a:buClrTx/>
                        <a:buSzTx/>
                        <a:buFontTx/>
                        <a:buNone/>
                        <a:tabLst/>
                        <a:defRPr/>
                      </a:pPr>
                      <a:endParaRPr lang="de-DE" sz="1100" kern="1200">
                        <a:solidFill>
                          <a:schemeClr val="bg1"/>
                        </a:solidFill>
                        <a:latin typeface="+mn-lt"/>
                        <a:ea typeface="+mn-ea"/>
                        <a:cs typeface="+mn-cs"/>
                      </a:endParaRPr>
                    </a:p>
                  </a:txBody>
                  <a:tcPr marL="84569" marR="84569" marT="42284" marB="42284">
                    <a:lnL w="12700" cmpd="sng">
                      <a:noFill/>
                    </a:lnL>
                    <a:lnR w="19050" cap="flat" cmpd="sng" algn="ctr">
                      <a:solidFill>
                        <a:srgbClr val="FFAA08"/>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hMerge="1">
                  <a:txBody>
                    <a:bodyPr/>
                    <a:lstStyle/>
                    <a:p>
                      <a:endParaRPr lang="de-DE" sz="1200"/>
                    </a:p>
                  </a:txBody>
                  <a:tcPr>
                    <a:lnL w="12700" cap="flat" cmpd="sng" algn="ctr">
                      <a:noFill/>
                      <a:prstDash val="solid"/>
                      <a:round/>
                      <a:headEnd type="none" w="med" len="med"/>
                      <a:tailEnd type="none" w="med" len="med"/>
                    </a:lnL>
                    <a:lnR w="12700" cap="flat" cmpd="sng" algn="ctr">
                      <a:solidFill>
                        <a:srgbClr val="FFAA08"/>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de-DE" sz="1100">
                        <a:solidFill>
                          <a:schemeClr val="bg1"/>
                        </a:solidFill>
                      </a:endParaRPr>
                    </a:p>
                  </a:txBody>
                  <a:tcPr marL="84569" marR="84569" marT="42284" marB="42284">
                    <a:lnL w="19050" cap="flat" cmpd="sng" algn="ctr">
                      <a:solidFill>
                        <a:srgbClr val="FFAA08"/>
                      </a:solidFill>
                      <a:prstDash val="solid"/>
                      <a:round/>
                      <a:headEnd type="none" w="med" len="med"/>
                      <a:tailEnd type="none" w="med" len="med"/>
                    </a:lnL>
                    <a:lnR w="19050" cap="flat" cmpd="sng" algn="ctr">
                      <a:solidFill>
                        <a:srgbClr val="FFAA08"/>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de-DE" sz="1100" dirty="0">
                        <a:solidFill>
                          <a:schemeClr val="bg1"/>
                        </a:solidFill>
                      </a:endParaRPr>
                    </a:p>
                  </a:txBody>
                  <a:tcPr marL="84569" marR="84569" marT="42284" marB="42284">
                    <a:lnL w="19050" cap="flat" cmpd="sng" algn="ctr">
                      <a:solidFill>
                        <a:srgbClr val="FFAA08"/>
                      </a:solidFill>
                      <a:prstDash val="solid"/>
                      <a:round/>
                      <a:headEnd type="none" w="med" len="med"/>
                      <a:tailEnd type="none" w="med" len="med"/>
                    </a:lnL>
                    <a:lnR w="19050" cap="flat" cmpd="sng" algn="ctr">
                      <a:solidFill>
                        <a:srgbClr val="FFAA08"/>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75000"/>
                      </a:schemeClr>
                    </a:solidFill>
                  </a:tcPr>
                </a:tc>
                <a:tc>
                  <a:txBody>
                    <a:bodyPr/>
                    <a:lstStyle/>
                    <a:p>
                      <a:endParaRPr lang="de-DE" sz="1100" dirty="0">
                        <a:solidFill>
                          <a:schemeClr val="bg1"/>
                        </a:solidFill>
                      </a:endParaRPr>
                    </a:p>
                  </a:txBody>
                  <a:tcPr marL="84569" marR="84569" marT="42284" marB="42284">
                    <a:lnL w="19050" cap="flat" cmpd="sng" algn="ctr">
                      <a:solidFill>
                        <a:srgbClr val="FFAA08"/>
                      </a:solidFill>
                      <a:prstDash val="solid"/>
                      <a:round/>
                      <a:headEnd type="none" w="med" len="med"/>
                      <a:tailEnd type="none" w="med" len="med"/>
                    </a:lnL>
                    <a:lnR w="19050" cap="flat" cmpd="sng" algn="ctr">
                      <a:solidFill>
                        <a:srgbClr val="FFAA08"/>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75000"/>
                      </a:schemeClr>
                    </a:solidFill>
                  </a:tcPr>
                </a:tc>
                <a:tc>
                  <a:txBody>
                    <a:bodyPr/>
                    <a:lstStyle/>
                    <a:p>
                      <a:endParaRPr lang="de-DE" sz="1100">
                        <a:solidFill>
                          <a:schemeClr val="bg1"/>
                        </a:solidFill>
                      </a:endParaRPr>
                    </a:p>
                  </a:txBody>
                  <a:tcPr marL="84569" marR="84569" marT="42284" marB="42284">
                    <a:lnL w="19050" cap="flat" cmpd="sng" algn="ctr">
                      <a:solidFill>
                        <a:srgbClr val="FFAA08"/>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7414204"/>
                  </a:ext>
                </a:extLst>
              </a:tr>
              <a:tr h="313594">
                <a:tc>
                  <a:txBody>
                    <a:bodyPr/>
                    <a:lstStyle/>
                    <a:p>
                      <a:pPr marL="0" marR="0" lvl="0" indent="0" algn="l" defTabSz="912095" rtl="0" eaLnBrk="1" fontAlgn="auto" latinLnBrk="0" hangingPunct="1">
                        <a:lnSpc>
                          <a:spcPct val="100000"/>
                        </a:lnSpc>
                        <a:spcBef>
                          <a:spcPts val="0"/>
                        </a:spcBef>
                        <a:spcAft>
                          <a:spcPts val="0"/>
                        </a:spcAft>
                        <a:buClrTx/>
                        <a:buSzTx/>
                        <a:buFontTx/>
                        <a:buNone/>
                        <a:tabLst/>
                        <a:defRPr/>
                      </a:pPr>
                      <a:endParaRPr lang="de-DE" sz="1100" kern="1200">
                        <a:solidFill>
                          <a:schemeClr val="bg1"/>
                        </a:solidFill>
                        <a:latin typeface="+mn-lt"/>
                        <a:ea typeface="+mn-ea"/>
                        <a:cs typeface="+mn-cs"/>
                      </a:endParaRPr>
                    </a:p>
                  </a:txBody>
                  <a:tcPr marL="84569" marR="84569" marT="42284" marB="42284">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de-DE" sz="1100">
                        <a:solidFill>
                          <a:schemeClr val="bg1"/>
                        </a:solidFill>
                      </a:endParaRPr>
                    </a:p>
                  </a:txBody>
                  <a:tcPr marL="84569" marR="84569" marT="42284" marB="42284">
                    <a:lnL w="12700" cap="flat" cmpd="sng" algn="ctr">
                      <a:noFill/>
                      <a:prstDash val="solid"/>
                      <a:round/>
                      <a:headEnd type="none" w="med" len="med"/>
                      <a:tailEnd type="none" w="med" len="med"/>
                    </a:lnL>
                    <a:lnR w="19050" cap="flat" cmpd="sng" algn="ctr">
                      <a:solidFill>
                        <a:srgbClr val="FFAA08"/>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de-DE" sz="1100">
                        <a:solidFill>
                          <a:schemeClr val="bg1"/>
                        </a:solidFill>
                      </a:endParaRPr>
                    </a:p>
                  </a:txBody>
                  <a:tcPr marL="84569" marR="84569" marT="42284" marB="42284">
                    <a:lnL w="19050" cap="flat" cmpd="sng" algn="ctr">
                      <a:solidFill>
                        <a:srgbClr val="FFAA08"/>
                      </a:solidFill>
                      <a:prstDash val="solid"/>
                      <a:round/>
                      <a:headEnd type="none" w="med" len="med"/>
                      <a:tailEnd type="none" w="med" len="med"/>
                    </a:lnL>
                    <a:lnR w="19050" cap="flat" cmpd="sng" algn="ctr">
                      <a:solidFill>
                        <a:srgbClr val="FFAA08"/>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de-DE" sz="1100">
                        <a:solidFill>
                          <a:schemeClr val="bg1"/>
                        </a:solidFill>
                      </a:endParaRPr>
                    </a:p>
                  </a:txBody>
                  <a:tcPr marL="84569" marR="84569" marT="42284" marB="42284">
                    <a:lnL w="19050" cap="flat" cmpd="sng" algn="ctr">
                      <a:solidFill>
                        <a:srgbClr val="FFAA08"/>
                      </a:solidFill>
                      <a:prstDash val="solid"/>
                      <a:round/>
                      <a:headEnd type="none" w="med" len="med"/>
                      <a:tailEnd type="none" w="med" len="med"/>
                    </a:lnL>
                    <a:lnR w="19050" cap="flat" cmpd="sng" algn="ctr">
                      <a:solidFill>
                        <a:srgbClr val="FFAA08"/>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de-DE" sz="1100" dirty="0">
                        <a:solidFill>
                          <a:schemeClr val="bg1"/>
                        </a:solidFill>
                      </a:endParaRPr>
                    </a:p>
                  </a:txBody>
                  <a:tcPr marL="84569" marR="84569" marT="42284" marB="42284">
                    <a:lnL w="19050" cap="flat" cmpd="sng" algn="ctr">
                      <a:solidFill>
                        <a:srgbClr val="FFAA08"/>
                      </a:solidFill>
                      <a:prstDash val="solid"/>
                      <a:round/>
                      <a:headEnd type="none" w="med" len="med"/>
                      <a:tailEnd type="none" w="med" len="med"/>
                    </a:lnL>
                    <a:lnR w="19050" cap="flat" cmpd="sng" algn="ctr">
                      <a:solidFill>
                        <a:srgbClr val="FFAA08"/>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de-DE" sz="1100">
                        <a:solidFill>
                          <a:schemeClr val="bg1"/>
                        </a:solidFill>
                      </a:endParaRPr>
                    </a:p>
                  </a:txBody>
                  <a:tcPr marL="84569" marR="84569" marT="42284" marB="42284">
                    <a:lnL w="19050" cap="flat" cmpd="sng" algn="ctr">
                      <a:solidFill>
                        <a:srgbClr val="FFAA08"/>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62728174"/>
                  </a:ext>
                </a:extLst>
              </a:tr>
              <a:tr h="386623">
                <a:tc gridSpan="2">
                  <a:txBody>
                    <a:bodyPr/>
                    <a:lstStyle/>
                    <a:p>
                      <a:pPr marL="0" marR="0" lvl="0" indent="0" algn="l" defTabSz="912095" rtl="0" eaLnBrk="1" fontAlgn="auto" latinLnBrk="0" hangingPunct="1">
                        <a:lnSpc>
                          <a:spcPct val="100000"/>
                        </a:lnSpc>
                        <a:spcBef>
                          <a:spcPts val="0"/>
                        </a:spcBef>
                        <a:spcAft>
                          <a:spcPts val="0"/>
                        </a:spcAft>
                        <a:buClrTx/>
                        <a:buSzTx/>
                        <a:buFontTx/>
                        <a:buNone/>
                        <a:tabLst/>
                        <a:defRPr/>
                      </a:pPr>
                      <a:endParaRPr lang="de-DE" sz="1100" kern="1200">
                        <a:solidFill>
                          <a:schemeClr val="bg1"/>
                        </a:solidFill>
                        <a:latin typeface="+mn-lt"/>
                        <a:ea typeface="+mn-ea"/>
                        <a:cs typeface="+mn-cs"/>
                      </a:endParaRPr>
                    </a:p>
                  </a:txBody>
                  <a:tcPr marL="84569" marR="84569" marT="42284" marB="42284">
                    <a:lnL w="12700" cmpd="sng">
                      <a:noFill/>
                    </a:lnL>
                    <a:lnR w="19050" cap="flat" cmpd="sng" algn="ctr">
                      <a:solidFill>
                        <a:srgbClr val="FFAA08"/>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hMerge="1">
                  <a:txBody>
                    <a:bodyPr/>
                    <a:lstStyle/>
                    <a:p>
                      <a:endParaRPr lang="de-DE" sz="1200"/>
                    </a:p>
                  </a:txBody>
                  <a:tcPr>
                    <a:lnL w="12700" cap="flat" cmpd="sng" algn="ctr">
                      <a:noFill/>
                      <a:prstDash val="solid"/>
                      <a:round/>
                      <a:headEnd type="none" w="med" len="med"/>
                      <a:tailEnd type="none" w="med" len="med"/>
                    </a:lnL>
                    <a:lnR w="12700" cap="flat" cmpd="sng" algn="ctr">
                      <a:solidFill>
                        <a:srgbClr val="FFAA08"/>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de-DE" sz="1100">
                        <a:solidFill>
                          <a:schemeClr val="bg1"/>
                        </a:solidFill>
                      </a:endParaRPr>
                    </a:p>
                  </a:txBody>
                  <a:tcPr marL="84569" marR="84569" marT="42284" marB="42284">
                    <a:lnL w="19050" cap="flat" cmpd="sng" algn="ctr">
                      <a:solidFill>
                        <a:srgbClr val="FFAA08"/>
                      </a:solidFill>
                      <a:prstDash val="solid"/>
                      <a:round/>
                      <a:headEnd type="none" w="med" len="med"/>
                      <a:tailEnd type="none" w="med" len="med"/>
                    </a:lnL>
                    <a:lnR w="19050" cap="flat" cmpd="sng" algn="ctr">
                      <a:solidFill>
                        <a:srgbClr val="FFAA08"/>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de-DE" sz="1100" dirty="0">
                        <a:solidFill>
                          <a:schemeClr val="bg1"/>
                        </a:solidFill>
                      </a:endParaRPr>
                    </a:p>
                  </a:txBody>
                  <a:tcPr marL="84569" marR="84569" marT="42284" marB="42284">
                    <a:lnL w="19050" cap="flat" cmpd="sng" algn="ctr">
                      <a:solidFill>
                        <a:srgbClr val="FFAA08"/>
                      </a:solidFill>
                      <a:prstDash val="solid"/>
                      <a:round/>
                      <a:headEnd type="none" w="med" len="med"/>
                      <a:tailEnd type="none" w="med" len="med"/>
                    </a:lnL>
                    <a:lnR w="19050" cap="flat" cmpd="sng" algn="ctr">
                      <a:solidFill>
                        <a:srgbClr val="FFAA08"/>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75000"/>
                      </a:schemeClr>
                    </a:solidFill>
                  </a:tcPr>
                </a:tc>
                <a:tc>
                  <a:txBody>
                    <a:bodyPr/>
                    <a:lstStyle/>
                    <a:p>
                      <a:endParaRPr lang="de-DE" sz="1100" dirty="0">
                        <a:solidFill>
                          <a:schemeClr val="bg1"/>
                        </a:solidFill>
                      </a:endParaRPr>
                    </a:p>
                  </a:txBody>
                  <a:tcPr marL="84569" marR="84569" marT="42284" marB="42284">
                    <a:lnL w="19050" cap="flat" cmpd="sng" algn="ctr">
                      <a:solidFill>
                        <a:srgbClr val="FFAA08"/>
                      </a:solidFill>
                      <a:prstDash val="solid"/>
                      <a:round/>
                      <a:headEnd type="none" w="med" len="med"/>
                      <a:tailEnd type="none" w="med" len="med"/>
                    </a:lnL>
                    <a:lnR w="19050" cap="flat" cmpd="sng" algn="ctr">
                      <a:solidFill>
                        <a:srgbClr val="FFAA08"/>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75000"/>
                      </a:schemeClr>
                    </a:solidFill>
                  </a:tcPr>
                </a:tc>
                <a:tc>
                  <a:txBody>
                    <a:bodyPr/>
                    <a:lstStyle/>
                    <a:p>
                      <a:endParaRPr lang="de-DE" sz="1100">
                        <a:solidFill>
                          <a:schemeClr val="bg1"/>
                        </a:solidFill>
                      </a:endParaRPr>
                    </a:p>
                  </a:txBody>
                  <a:tcPr marL="84569" marR="84569" marT="42284" marB="42284">
                    <a:lnL w="19050" cap="flat" cmpd="sng" algn="ctr">
                      <a:solidFill>
                        <a:srgbClr val="FFAA08"/>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44680501"/>
                  </a:ext>
                </a:extLst>
              </a:tr>
              <a:tr h="313594">
                <a:tc>
                  <a:txBody>
                    <a:bodyPr/>
                    <a:lstStyle/>
                    <a:p>
                      <a:pPr marL="0" marR="0" lvl="0" indent="0" algn="l" defTabSz="912095" rtl="0" eaLnBrk="1" fontAlgn="auto" latinLnBrk="0" hangingPunct="1">
                        <a:lnSpc>
                          <a:spcPct val="100000"/>
                        </a:lnSpc>
                        <a:spcBef>
                          <a:spcPts val="0"/>
                        </a:spcBef>
                        <a:spcAft>
                          <a:spcPts val="0"/>
                        </a:spcAft>
                        <a:buClrTx/>
                        <a:buSzTx/>
                        <a:buFontTx/>
                        <a:buNone/>
                        <a:tabLst/>
                        <a:defRPr/>
                      </a:pPr>
                      <a:endParaRPr lang="de-DE" sz="1100" kern="1200">
                        <a:solidFill>
                          <a:schemeClr val="bg1"/>
                        </a:solidFill>
                        <a:latin typeface="+mn-lt"/>
                        <a:ea typeface="+mn-ea"/>
                        <a:cs typeface="+mn-cs"/>
                      </a:endParaRPr>
                    </a:p>
                  </a:txBody>
                  <a:tcPr marL="84569" marR="84569" marT="42284" marB="42284">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de-DE" sz="1100">
                        <a:solidFill>
                          <a:schemeClr val="bg1"/>
                        </a:solidFill>
                      </a:endParaRPr>
                    </a:p>
                  </a:txBody>
                  <a:tcPr marL="84569" marR="84569" marT="42284" marB="42284">
                    <a:lnL w="12700" cap="flat" cmpd="sng" algn="ctr">
                      <a:noFill/>
                      <a:prstDash val="solid"/>
                      <a:round/>
                      <a:headEnd type="none" w="med" len="med"/>
                      <a:tailEnd type="none" w="med" len="med"/>
                    </a:lnL>
                    <a:lnR w="19050" cap="flat" cmpd="sng" algn="ctr">
                      <a:solidFill>
                        <a:srgbClr val="FFAA08"/>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de-DE" sz="1100">
                        <a:solidFill>
                          <a:schemeClr val="bg1"/>
                        </a:solidFill>
                      </a:endParaRPr>
                    </a:p>
                  </a:txBody>
                  <a:tcPr marL="84569" marR="84569" marT="42284" marB="42284">
                    <a:lnL w="19050" cap="flat" cmpd="sng" algn="ctr">
                      <a:solidFill>
                        <a:srgbClr val="FFAA08"/>
                      </a:solidFill>
                      <a:prstDash val="solid"/>
                      <a:round/>
                      <a:headEnd type="none" w="med" len="med"/>
                      <a:tailEnd type="none" w="med" len="med"/>
                    </a:lnL>
                    <a:lnR w="19050" cap="flat" cmpd="sng" algn="ctr">
                      <a:solidFill>
                        <a:srgbClr val="FFAA08"/>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de-DE" sz="1100">
                        <a:solidFill>
                          <a:schemeClr val="bg1"/>
                        </a:solidFill>
                      </a:endParaRPr>
                    </a:p>
                  </a:txBody>
                  <a:tcPr marL="84569" marR="84569" marT="42284" marB="42284">
                    <a:lnL w="19050" cap="flat" cmpd="sng" algn="ctr">
                      <a:solidFill>
                        <a:srgbClr val="FFAA08"/>
                      </a:solidFill>
                      <a:prstDash val="solid"/>
                      <a:round/>
                      <a:headEnd type="none" w="med" len="med"/>
                      <a:tailEnd type="none" w="med" len="med"/>
                    </a:lnL>
                    <a:lnR w="19050" cap="flat" cmpd="sng" algn="ctr">
                      <a:solidFill>
                        <a:srgbClr val="FFAA08"/>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de-DE" sz="1100" dirty="0">
                        <a:solidFill>
                          <a:schemeClr val="bg1"/>
                        </a:solidFill>
                      </a:endParaRPr>
                    </a:p>
                  </a:txBody>
                  <a:tcPr marL="84569" marR="84569" marT="42284" marB="42284">
                    <a:lnL w="19050" cap="flat" cmpd="sng" algn="ctr">
                      <a:solidFill>
                        <a:srgbClr val="FFAA08"/>
                      </a:solidFill>
                      <a:prstDash val="solid"/>
                      <a:round/>
                      <a:headEnd type="none" w="med" len="med"/>
                      <a:tailEnd type="none" w="med" len="med"/>
                    </a:lnL>
                    <a:lnR w="19050" cap="flat" cmpd="sng" algn="ctr">
                      <a:solidFill>
                        <a:srgbClr val="FFAA08"/>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de-DE" sz="1100" dirty="0">
                        <a:solidFill>
                          <a:schemeClr val="bg1"/>
                        </a:solidFill>
                      </a:endParaRPr>
                    </a:p>
                  </a:txBody>
                  <a:tcPr marL="84569" marR="84569" marT="42284" marB="42284">
                    <a:lnL w="19050" cap="flat" cmpd="sng" algn="ctr">
                      <a:solidFill>
                        <a:srgbClr val="FFAA08"/>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84497779"/>
                  </a:ext>
                </a:extLst>
              </a:tr>
              <a:tr h="386220">
                <a:tc gridSpan="2">
                  <a:txBody>
                    <a:bodyPr/>
                    <a:lstStyle/>
                    <a:p>
                      <a:pPr marL="0" marR="0" lvl="0" indent="0" algn="l" defTabSz="912095" rtl="0" eaLnBrk="1" fontAlgn="auto" latinLnBrk="0" hangingPunct="1">
                        <a:lnSpc>
                          <a:spcPct val="100000"/>
                        </a:lnSpc>
                        <a:spcBef>
                          <a:spcPts val="0"/>
                        </a:spcBef>
                        <a:spcAft>
                          <a:spcPts val="0"/>
                        </a:spcAft>
                        <a:buClrTx/>
                        <a:buSzTx/>
                        <a:buFontTx/>
                        <a:buNone/>
                        <a:tabLst/>
                        <a:defRPr/>
                      </a:pPr>
                      <a:endParaRPr lang="de-DE" sz="1100" b="1" kern="1200" dirty="0">
                        <a:solidFill>
                          <a:schemeClr val="bg1"/>
                        </a:solidFill>
                        <a:latin typeface="+mn-lt"/>
                        <a:ea typeface="+mn-ea"/>
                        <a:cs typeface="+mn-cs"/>
                      </a:endParaRPr>
                    </a:p>
                  </a:txBody>
                  <a:tcPr marL="84569" marR="84569" marT="42284" marB="42284">
                    <a:lnL w="12700" cmpd="sng">
                      <a:noFill/>
                    </a:lnL>
                    <a:lnR w="19050" cap="flat" cmpd="sng" algn="ctr">
                      <a:solidFill>
                        <a:srgbClr val="FFAA08"/>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2060"/>
                    </a:solidFill>
                  </a:tcPr>
                </a:tc>
                <a:tc hMerge="1">
                  <a:txBody>
                    <a:bodyPr/>
                    <a:lstStyle/>
                    <a:p>
                      <a:endParaRPr lang="de-DE" sz="1200"/>
                    </a:p>
                  </a:txBody>
                  <a:tcPr>
                    <a:lnL w="12700" cap="flat" cmpd="sng" algn="ctr">
                      <a:noFill/>
                      <a:prstDash val="solid"/>
                      <a:round/>
                      <a:headEnd type="none" w="med" len="med"/>
                      <a:tailEnd type="none" w="med" len="med"/>
                    </a:lnL>
                    <a:lnR w="12700" cap="flat" cmpd="sng" algn="ctr">
                      <a:solidFill>
                        <a:srgbClr val="FFAA08"/>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de-DE" sz="1100" dirty="0">
                        <a:solidFill>
                          <a:schemeClr val="bg1"/>
                        </a:solidFill>
                      </a:endParaRPr>
                    </a:p>
                  </a:txBody>
                  <a:tcPr marL="84569" marR="84569" marT="42284" marB="42284">
                    <a:lnL w="19050" cap="flat" cmpd="sng" algn="ctr">
                      <a:solidFill>
                        <a:srgbClr val="FFAA08"/>
                      </a:solidFill>
                      <a:prstDash val="solid"/>
                      <a:round/>
                      <a:headEnd type="none" w="med" len="med"/>
                      <a:tailEnd type="none" w="med" len="med"/>
                    </a:lnL>
                    <a:lnR w="19050" cap="flat" cmpd="sng" algn="ctr">
                      <a:solidFill>
                        <a:srgbClr val="FFAA08"/>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2060"/>
                    </a:solidFill>
                  </a:tcPr>
                </a:tc>
                <a:tc>
                  <a:txBody>
                    <a:bodyPr/>
                    <a:lstStyle/>
                    <a:p>
                      <a:endParaRPr lang="de-DE" sz="1100" dirty="0">
                        <a:solidFill>
                          <a:schemeClr val="bg1"/>
                        </a:solidFill>
                      </a:endParaRPr>
                    </a:p>
                  </a:txBody>
                  <a:tcPr marL="84569" marR="84569" marT="42284" marB="42284">
                    <a:lnL w="19050" cap="flat" cmpd="sng" algn="ctr">
                      <a:solidFill>
                        <a:srgbClr val="FFAA08"/>
                      </a:solidFill>
                      <a:prstDash val="solid"/>
                      <a:round/>
                      <a:headEnd type="none" w="med" len="med"/>
                      <a:tailEnd type="none" w="med" len="med"/>
                    </a:lnL>
                    <a:lnR w="19050" cap="flat" cmpd="sng" algn="ctr">
                      <a:solidFill>
                        <a:srgbClr val="FFAA08"/>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2060"/>
                    </a:solidFill>
                  </a:tcPr>
                </a:tc>
                <a:tc>
                  <a:txBody>
                    <a:bodyPr/>
                    <a:lstStyle/>
                    <a:p>
                      <a:endParaRPr lang="de-DE" sz="1100" dirty="0">
                        <a:solidFill>
                          <a:schemeClr val="bg1"/>
                        </a:solidFill>
                      </a:endParaRPr>
                    </a:p>
                  </a:txBody>
                  <a:tcPr marL="84569" marR="84569" marT="42284" marB="42284">
                    <a:lnL w="19050" cap="flat" cmpd="sng" algn="ctr">
                      <a:solidFill>
                        <a:srgbClr val="FFAA08"/>
                      </a:solidFill>
                      <a:prstDash val="solid"/>
                      <a:round/>
                      <a:headEnd type="none" w="med" len="med"/>
                      <a:tailEnd type="none" w="med" len="med"/>
                    </a:lnL>
                    <a:lnR w="19050" cap="flat" cmpd="sng" algn="ctr">
                      <a:solidFill>
                        <a:srgbClr val="FFAA08"/>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75000"/>
                      </a:schemeClr>
                    </a:solidFill>
                  </a:tcPr>
                </a:tc>
                <a:tc>
                  <a:txBody>
                    <a:bodyPr/>
                    <a:lstStyle/>
                    <a:p>
                      <a:endParaRPr lang="de-DE" sz="1100" dirty="0">
                        <a:solidFill>
                          <a:schemeClr val="bg1"/>
                        </a:solidFill>
                      </a:endParaRPr>
                    </a:p>
                  </a:txBody>
                  <a:tcPr marL="84569" marR="84569" marT="42284" marB="42284">
                    <a:lnL w="19050" cap="flat" cmpd="sng" algn="ctr">
                      <a:solidFill>
                        <a:srgbClr val="FFAA08"/>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7835153"/>
                  </a:ext>
                </a:extLst>
              </a:tr>
              <a:tr h="313594">
                <a:tc>
                  <a:txBody>
                    <a:bodyPr/>
                    <a:lstStyle/>
                    <a:p>
                      <a:pPr marL="0" marR="0" lvl="0" indent="0" algn="l" defTabSz="912095" rtl="0" eaLnBrk="1" fontAlgn="auto" latinLnBrk="0" hangingPunct="1">
                        <a:lnSpc>
                          <a:spcPct val="100000"/>
                        </a:lnSpc>
                        <a:spcBef>
                          <a:spcPts val="0"/>
                        </a:spcBef>
                        <a:spcAft>
                          <a:spcPts val="0"/>
                        </a:spcAft>
                        <a:buClrTx/>
                        <a:buSzTx/>
                        <a:buFontTx/>
                        <a:buNone/>
                        <a:tabLst/>
                        <a:defRPr/>
                      </a:pPr>
                      <a:endParaRPr lang="de-DE" sz="1100" kern="1200" dirty="0">
                        <a:solidFill>
                          <a:schemeClr val="bg1"/>
                        </a:solidFill>
                        <a:latin typeface="+mn-lt"/>
                        <a:ea typeface="+mn-ea"/>
                        <a:cs typeface="+mn-cs"/>
                      </a:endParaRPr>
                    </a:p>
                  </a:txBody>
                  <a:tcPr marL="84569" marR="84569" marT="42284" marB="42284">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de-DE" sz="1100" dirty="0">
                        <a:solidFill>
                          <a:schemeClr val="bg1"/>
                        </a:solidFill>
                      </a:endParaRPr>
                    </a:p>
                  </a:txBody>
                  <a:tcPr marL="84569" marR="84569" marT="42284" marB="42284">
                    <a:lnL w="12700" cap="flat" cmpd="sng" algn="ctr">
                      <a:noFill/>
                      <a:prstDash val="solid"/>
                      <a:round/>
                      <a:headEnd type="none" w="med" len="med"/>
                      <a:tailEnd type="none" w="med" len="med"/>
                    </a:lnL>
                    <a:lnR w="19050" cap="flat" cmpd="sng" algn="ctr">
                      <a:solidFill>
                        <a:srgbClr val="FFAA08"/>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de-DE" sz="1100" dirty="0">
                        <a:solidFill>
                          <a:schemeClr val="bg1"/>
                        </a:solidFill>
                      </a:endParaRPr>
                    </a:p>
                  </a:txBody>
                  <a:tcPr marL="84569" marR="84569" marT="42284" marB="42284">
                    <a:lnL w="19050" cap="flat" cmpd="sng" algn="ctr">
                      <a:solidFill>
                        <a:srgbClr val="FFAA08"/>
                      </a:solidFill>
                      <a:prstDash val="solid"/>
                      <a:round/>
                      <a:headEnd type="none" w="med" len="med"/>
                      <a:tailEnd type="none" w="med" len="med"/>
                    </a:lnL>
                    <a:lnR w="19050" cap="flat" cmpd="sng" algn="ctr">
                      <a:solidFill>
                        <a:srgbClr val="FFAA08"/>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de-DE" sz="1100" dirty="0">
                        <a:solidFill>
                          <a:schemeClr val="bg1"/>
                        </a:solidFill>
                      </a:endParaRPr>
                    </a:p>
                  </a:txBody>
                  <a:tcPr marL="84569" marR="84569" marT="42284" marB="42284">
                    <a:lnL w="19050" cap="flat" cmpd="sng" algn="ctr">
                      <a:solidFill>
                        <a:srgbClr val="FFAA08"/>
                      </a:solidFill>
                      <a:prstDash val="solid"/>
                      <a:round/>
                      <a:headEnd type="none" w="med" len="med"/>
                      <a:tailEnd type="none" w="med" len="med"/>
                    </a:lnL>
                    <a:lnR w="19050" cap="flat" cmpd="sng" algn="ctr">
                      <a:solidFill>
                        <a:srgbClr val="FFAA08"/>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de-DE" sz="1100" dirty="0">
                        <a:solidFill>
                          <a:schemeClr val="bg1"/>
                        </a:solidFill>
                      </a:endParaRPr>
                    </a:p>
                  </a:txBody>
                  <a:tcPr marL="84569" marR="84569" marT="42284" marB="42284">
                    <a:lnL w="19050" cap="flat" cmpd="sng" algn="ctr">
                      <a:solidFill>
                        <a:srgbClr val="FFAA08"/>
                      </a:solidFill>
                      <a:prstDash val="solid"/>
                      <a:round/>
                      <a:headEnd type="none" w="med" len="med"/>
                      <a:tailEnd type="none" w="med" len="med"/>
                    </a:lnL>
                    <a:lnR w="19050" cap="flat" cmpd="sng" algn="ctr">
                      <a:solidFill>
                        <a:srgbClr val="FFAA08"/>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de-DE" sz="1100" dirty="0">
                        <a:solidFill>
                          <a:schemeClr val="bg1"/>
                        </a:solidFill>
                      </a:endParaRPr>
                    </a:p>
                  </a:txBody>
                  <a:tcPr marL="84569" marR="84569" marT="42284" marB="42284">
                    <a:lnL w="19050" cap="flat" cmpd="sng" algn="ctr">
                      <a:solidFill>
                        <a:srgbClr val="FFAA08"/>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97818409"/>
                  </a:ext>
                </a:extLst>
              </a:tr>
              <a:tr h="386220">
                <a:tc gridSpan="2">
                  <a:txBody>
                    <a:bodyPr/>
                    <a:lstStyle/>
                    <a:p>
                      <a:pPr marL="0" marR="0" lvl="0" indent="0" algn="l" defTabSz="912095" rtl="0" eaLnBrk="1" fontAlgn="auto" latinLnBrk="0" hangingPunct="1">
                        <a:lnSpc>
                          <a:spcPct val="100000"/>
                        </a:lnSpc>
                        <a:spcBef>
                          <a:spcPts val="0"/>
                        </a:spcBef>
                        <a:spcAft>
                          <a:spcPts val="0"/>
                        </a:spcAft>
                        <a:buClrTx/>
                        <a:buSzTx/>
                        <a:buFontTx/>
                        <a:buNone/>
                        <a:tabLst/>
                        <a:defRPr/>
                      </a:pPr>
                      <a:endParaRPr lang="de-DE" sz="1100" kern="1200" dirty="0">
                        <a:solidFill>
                          <a:schemeClr val="bg1"/>
                        </a:solidFill>
                        <a:latin typeface="+mn-lt"/>
                        <a:ea typeface="+mn-ea"/>
                        <a:cs typeface="+mn-cs"/>
                      </a:endParaRPr>
                    </a:p>
                  </a:txBody>
                  <a:tcPr marL="84569" marR="84569" marT="42284" marB="42284">
                    <a:lnL w="12700" cmpd="sng">
                      <a:noFill/>
                    </a:lnL>
                    <a:lnR w="19050" cap="flat" cmpd="sng" algn="ctr">
                      <a:solidFill>
                        <a:srgbClr val="FFAA08"/>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2060"/>
                    </a:solidFill>
                  </a:tcPr>
                </a:tc>
                <a:tc hMerge="1">
                  <a:txBody>
                    <a:bodyPr/>
                    <a:lstStyle/>
                    <a:p>
                      <a:endParaRPr lang="de-DE" sz="1200"/>
                    </a:p>
                  </a:txBody>
                  <a:tcPr>
                    <a:lnL w="12700" cap="flat" cmpd="sng" algn="ctr">
                      <a:noFill/>
                      <a:prstDash val="solid"/>
                      <a:round/>
                      <a:headEnd type="none" w="med" len="med"/>
                      <a:tailEnd type="none" w="med" len="med"/>
                    </a:lnL>
                    <a:lnR w="12700" cap="flat" cmpd="sng" algn="ctr">
                      <a:solidFill>
                        <a:srgbClr val="FFAA08"/>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de-DE" sz="1100" dirty="0">
                        <a:solidFill>
                          <a:schemeClr val="bg1"/>
                        </a:solidFill>
                      </a:endParaRPr>
                    </a:p>
                  </a:txBody>
                  <a:tcPr marL="84569" marR="84569" marT="42284" marB="42284">
                    <a:lnL w="19050" cap="flat" cmpd="sng" algn="ctr">
                      <a:solidFill>
                        <a:srgbClr val="FFAA08"/>
                      </a:solidFill>
                      <a:prstDash val="solid"/>
                      <a:round/>
                      <a:headEnd type="none" w="med" len="med"/>
                      <a:tailEnd type="none" w="med" len="med"/>
                    </a:lnL>
                    <a:lnR w="19050" cap="flat" cmpd="sng" algn="ctr">
                      <a:solidFill>
                        <a:srgbClr val="FFAA08"/>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2060"/>
                    </a:solidFill>
                  </a:tcPr>
                </a:tc>
                <a:tc>
                  <a:txBody>
                    <a:bodyPr/>
                    <a:lstStyle/>
                    <a:p>
                      <a:endParaRPr lang="de-DE" sz="1100" dirty="0">
                        <a:solidFill>
                          <a:schemeClr val="bg1"/>
                        </a:solidFill>
                      </a:endParaRPr>
                    </a:p>
                  </a:txBody>
                  <a:tcPr marL="84569" marR="84569" marT="42284" marB="42284">
                    <a:lnL w="19050" cap="flat" cmpd="sng" algn="ctr">
                      <a:solidFill>
                        <a:srgbClr val="FFAA08"/>
                      </a:solidFill>
                      <a:prstDash val="solid"/>
                      <a:round/>
                      <a:headEnd type="none" w="med" len="med"/>
                      <a:tailEnd type="none" w="med" len="med"/>
                    </a:lnL>
                    <a:lnR w="19050" cap="flat" cmpd="sng" algn="ctr">
                      <a:solidFill>
                        <a:srgbClr val="FFAA08"/>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2060"/>
                    </a:solidFill>
                  </a:tcPr>
                </a:tc>
                <a:tc>
                  <a:txBody>
                    <a:bodyPr/>
                    <a:lstStyle/>
                    <a:p>
                      <a:endParaRPr lang="de-DE" sz="1100" dirty="0">
                        <a:solidFill>
                          <a:schemeClr val="bg1"/>
                        </a:solidFill>
                      </a:endParaRPr>
                    </a:p>
                  </a:txBody>
                  <a:tcPr marL="84569" marR="84569" marT="42284" marB="42284">
                    <a:lnL w="19050" cap="flat" cmpd="sng" algn="ctr">
                      <a:solidFill>
                        <a:srgbClr val="FFAA08"/>
                      </a:solidFill>
                      <a:prstDash val="solid"/>
                      <a:round/>
                      <a:headEnd type="none" w="med" len="med"/>
                      <a:tailEnd type="none" w="med" len="med"/>
                    </a:lnL>
                    <a:lnR w="19050" cap="flat" cmpd="sng" algn="ctr">
                      <a:solidFill>
                        <a:srgbClr val="FFAA08"/>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75000"/>
                      </a:schemeClr>
                    </a:solidFill>
                  </a:tcPr>
                </a:tc>
                <a:tc>
                  <a:txBody>
                    <a:bodyPr/>
                    <a:lstStyle/>
                    <a:p>
                      <a:endParaRPr lang="de-DE" sz="1100" dirty="0">
                        <a:solidFill>
                          <a:schemeClr val="bg1"/>
                        </a:solidFill>
                      </a:endParaRPr>
                    </a:p>
                  </a:txBody>
                  <a:tcPr marL="84569" marR="84569" marT="42284" marB="42284">
                    <a:lnL w="19050" cap="flat" cmpd="sng" algn="ctr">
                      <a:solidFill>
                        <a:srgbClr val="FFAA08"/>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23683912"/>
                  </a:ext>
                </a:extLst>
              </a:tr>
              <a:tr h="386623">
                <a:tc gridSpan="2">
                  <a:txBody>
                    <a:bodyPr/>
                    <a:lstStyle/>
                    <a:p>
                      <a:pPr marL="0" marR="0" lvl="0" indent="0" algn="l" defTabSz="912095" rtl="0" eaLnBrk="1" fontAlgn="auto" latinLnBrk="0" hangingPunct="1">
                        <a:lnSpc>
                          <a:spcPct val="100000"/>
                        </a:lnSpc>
                        <a:spcBef>
                          <a:spcPts val="0"/>
                        </a:spcBef>
                        <a:spcAft>
                          <a:spcPts val="0"/>
                        </a:spcAft>
                        <a:buClrTx/>
                        <a:buSzTx/>
                        <a:buFontTx/>
                        <a:buNone/>
                        <a:tabLst/>
                        <a:defRPr/>
                      </a:pPr>
                      <a:endParaRPr lang="de-DE" sz="1100" kern="1200">
                        <a:solidFill>
                          <a:schemeClr val="bg1"/>
                        </a:solidFill>
                        <a:latin typeface="+mn-lt"/>
                        <a:ea typeface="+mn-ea"/>
                        <a:cs typeface="+mn-cs"/>
                      </a:endParaRPr>
                    </a:p>
                  </a:txBody>
                  <a:tcPr marL="84569" marR="84569" marT="42284" marB="42284">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hMerge="1">
                  <a:txBody>
                    <a:bodyPr/>
                    <a:lstStyle/>
                    <a:p>
                      <a:endParaRPr lang="de-DE"/>
                    </a:p>
                  </a:txBody>
                  <a:tcPr/>
                </a:tc>
                <a:tc>
                  <a:txBody>
                    <a:bodyPr/>
                    <a:lstStyle/>
                    <a:p>
                      <a:endParaRPr lang="de-DE" sz="1100">
                        <a:solidFill>
                          <a:schemeClr val="bg1"/>
                        </a:solidFill>
                      </a:endParaRPr>
                    </a:p>
                  </a:txBody>
                  <a:tcPr marL="84569" marR="84569" marT="42284" marB="4228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de-DE" sz="1100">
                        <a:solidFill>
                          <a:schemeClr val="bg1"/>
                        </a:solidFill>
                      </a:endParaRPr>
                    </a:p>
                  </a:txBody>
                  <a:tcPr marL="84569" marR="84569" marT="42284" marB="4228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de-DE" sz="1100" dirty="0">
                        <a:solidFill>
                          <a:schemeClr val="bg1"/>
                        </a:solidFill>
                      </a:endParaRPr>
                    </a:p>
                  </a:txBody>
                  <a:tcPr marL="84569" marR="84569" marT="42284" marB="4228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de-DE" sz="1100" dirty="0">
                        <a:solidFill>
                          <a:schemeClr val="bg1"/>
                        </a:solidFill>
                      </a:endParaRPr>
                    </a:p>
                  </a:txBody>
                  <a:tcPr marL="84569" marR="84569" marT="42284" marB="42284">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280382"/>
                  </a:ext>
                </a:extLst>
              </a:tr>
              <a:tr h="428659">
                <a:tc gridSpan="2">
                  <a:txBody>
                    <a:bodyPr/>
                    <a:lstStyle/>
                    <a:p>
                      <a:pPr marL="0" marR="0" lvl="0" indent="0" algn="l" defTabSz="912095" rtl="0" eaLnBrk="1" fontAlgn="auto" latinLnBrk="0" hangingPunct="1">
                        <a:lnSpc>
                          <a:spcPct val="100000"/>
                        </a:lnSpc>
                        <a:spcBef>
                          <a:spcPts val="0"/>
                        </a:spcBef>
                        <a:spcAft>
                          <a:spcPts val="0"/>
                        </a:spcAft>
                        <a:buClrTx/>
                        <a:buSzTx/>
                        <a:buFontTx/>
                        <a:buNone/>
                        <a:tabLst/>
                        <a:defRPr/>
                      </a:pPr>
                      <a:endParaRPr lang="de-DE" sz="1100" kern="1200" dirty="0">
                        <a:solidFill>
                          <a:schemeClr val="bg1"/>
                        </a:solidFill>
                        <a:latin typeface="+mn-lt"/>
                        <a:ea typeface="+mn-ea"/>
                        <a:cs typeface="+mn-cs"/>
                      </a:endParaRPr>
                    </a:p>
                  </a:txBody>
                  <a:tcPr marL="84569" marR="84569" marT="42284" marB="42284">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hMerge="1">
                  <a:txBody>
                    <a:bodyPr/>
                    <a:lstStyle/>
                    <a:p>
                      <a:endParaRPr lang="de-DE"/>
                    </a:p>
                  </a:txBody>
                  <a:tcPr/>
                </a:tc>
                <a:tc>
                  <a:txBody>
                    <a:bodyPr/>
                    <a:lstStyle/>
                    <a:p>
                      <a:endParaRPr lang="de-DE" sz="1100">
                        <a:solidFill>
                          <a:schemeClr val="bg1"/>
                        </a:solidFill>
                      </a:endParaRPr>
                    </a:p>
                  </a:txBody>
                  <a:tcPr marL="84569" marR="84569" marT="42284" marB="4228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de-DE" sz="1100">
                        <a:solidFill>
                          <a:schemeClr val="bg1"/>
                        </a:solidFill>
                      </a:endParaRPr>
                    </a:p>
                  </a:txBody>
                  <a:tcPr marL="84569" marR="84569" marT="42284" marB="4228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de-DE" sz="1100">
                        <a:solidFill>
                          <a:schemeClr val="bg1"/>
                        </a:solidFill>
                      </a:endParaRPr>
                    </a:p>
                  </a:txBody>
                  <a:tcPr marL="84569" marR="84569" marT="42284" marB="4228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de-DE" sz="1100" dirty="0">
                        <a:solidFill>
                          <a:schemeClr val="bg1"/>
                        </a:solidFill>
                      </a:endParaRPr>
                    </a:p>
                  </a:txBody>
                  <a:tcPr marL="84569" marR="84569" marT="42284" marB="42284">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86388047"/>
                  </a:ext>
                </a:extLst>
              </a:tr>
            </a:tbl>
          </a:graphicData>
        </a:graphic>
      </p:graphicFrame>
      <p:sp>
        <p:nvSpPr>
          <p:cNvPr id="20" name="Arrow: Pentagon 19">
            <a:extLst>
              <a:ext uri="{FF2B5EF4-FFF2-40B4-BE49-F238E27FC236}">
                <a16:creationId xmlns:a16="http://schemas.microsoft.com/office/drawing/2014/main" id="{A4B34730-D88C-460E-A2E1-1A8482A8F642}"/>
              </a:ext>
            </a:extLst>
          </p:cNvPr>
          <p:cNvSpPr/>
          <p:nvPr/>
        </p:nvSpPr>
        <p:spPr>
          <a:xfrm>
            <a:off x="1276552" y="1865793"/>
            <a:ext cx="4464115" cy="395824"/>
          </a:xfrm>
          <a:prstGeom prst="homePlate">
            <a:avLst/>
          </a:prstGeom>
          <a:solidFill>
            <a:schemeClr val="accent1">
              <a:lumMod val="20000"/>
              <a:lumOff val="80000"/>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1110" b="1" dirty="0">
                <a:solidFill>
                  <a:schemeClr val="tx2"/>
                </a:solidFill>
                <a:latin typeface="Signify Relative Book" panose="02000506040000020004"/>
              </a:rPr>
              <a:t>Compact </a:t>
            </a:r>
            <a:r>
              <a:rPr lang="de-DE" sz="1110" b="1" dirty="0" err="1">
                <a:solidFill>
                  <a:schemeClr val="tx2"/>
                </a:solidFill>
                <a:latin typeface="Signify Relative Book" panose="02000506040000020004"/>
              </a:rPr>
              <a:t>fluorescentielampen</a:t>
            </a:r>
            <a:endParaRPr lang="de-DE" sz="1110" b="1" dirty="0">
              <a:solidFill>
                <a:schemeClr val="tx2"/>
              </a:solidFill>
              <a:latin typeface="Signify Relative Book" panose="02000506040000020004"/>
            </a:endParaRPr>
          </a:p>
          <a:p>
            <a:pPr algn="l"/>
            <a:r>
              <a:rPr lang="de-DE" sz="971" dirty="0">
                <a:solidFill>
                  <a:schemeClr val="tx2"/>
                </a:solidFill>
                <a:latin typeface="Signify Relative Book" panose="02000506040000020004"/>
              </a:rPr>
              <a:t>(</a:t>
            </a:r>
            <a:r>
              <a:rPr lang="de-DE" sz="971" dirty="0" err="1">
                <a:solidFill>
                  <a:schemeClr val="tx2"/>
                </a:solidFill>
                <a:latin typeface="Signify Relative Book" panose="02000506040000020004"/>
              </a:rPr>
              <a:t>zonder</a:t>
            </a:r>
            <a:r>
              <a:rPr lang="de-DE" sz="971" dirty="0">
                <a:solidFill>
                  <a:schemeClr val="tx2"/>
                </a:solidFill>
                <a:latin typeface="Signify Relative Book" panose="02000506040000020004"/>
              </a:rPr>
              <a:t> </a:t>
            </a:r>
            <a:r>
              <a:rPr lang="de-DE" sz="971" dirty="0" err="1">
                <a:solidFill>
                  <a:schemeClr val="tx2"/>
                </a:solidFill>
                <a:latin typeface="Signify Relative Book" panose="02000506040000020004"/>
              </a:rPr>
              <a:t>geïntegreerd</a:t>
            </a:r>
            <a:r>
              <a:rPr lang="de-DE" sz="971" dirty="0">
                <a:solidFill>
                  <a:schemeClr val="tx2"/>
                </a:solidFill>
                <a:latin typeface="Signify Relative Book" panose="02000506040000020004"/>
              </a:rPr>
              <a:t> </a:t>
            </a:r>
            <a:r>
              <a:rPr lang="de-DE" sz="971" dirty="0" err="1">
                <a:solidFill>
                  <a:schemeClr val="tx2"/>
                </a:solidFill>
                <a:latin typeface="Signify Relative Book" panose="02000506040000020004"/>
              </a:rPr>
              <a:t>voorschakelapparaat</a:t>
            </a:r>
            <a:r>
              <a:rPr lang="de-DE" sz="971" dirty="0">
                <a:solidFill>
                  <a:schemeClr val="tx2"/>
                </a:solidFill>
                <a:latin typeface="Signify Relative Book" panose="02000506040000020004"/>
              </a:rPr>
              <a:t>)</a:t>
            </a:r>
          </a:p>
        </p:txBody>
      </p:sp>
      <p:sp>
        <p:nvSpPr>
          <p:cNvPr id="64" name="Arrow: Pentagon 63">
            <a:extLst>
              <a:ext uri="{FF2B5EF4-FFF2-40B4-BE49-F238E27FC236}">
                <a16:creationId xmlns:a16="http://schemas.microsoft.com/office/drawing/2014/main" id="{7DEC59E3-BE17-4132-B11C-6D494E377D80}"/>
              </a:ext>
            </a:extLst>
          </p:cNvPr>
          <p:cNvSpPr/>
          <p:nvPr/>
        </p:nvSpPr>
        <p:spPr>
          <a:xfrm>
            <a:off x="1276552" y="2570372"/>
            <a:ext cx="4464115" cy="396208"/>
          </a:xfrm>
          <a:prstGeom prst="homePlate">
            <a:avLst/>
          </a:prstGeom>
          <a:solidFill>
            <a:schemeClr val="accent1">
              <a:lumMod val="20000"/>
              <a:lumOff val="80000"/>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43597">
              <a:defRPr/>
            </a:pPr>
            <a:r>
              <a:rPr lang="de-DE" sz="1110" b="1">
                <a:solidFill>
                  <a:schemeClr val="tx2"/>
                </a:solidFill>
                <a:latin typeface="Signify Relative Book" panose="02000506040000020004"/>
              </a:rPr>
              <a:t>Cirkelvormige TL-lampen T5</a:t>
            </a:r>
          </a:p>
        </p:txBody>
      </p:sp>
      <p:sp>
        <p:nvSpPr>
          <p:cNvPr id="65" name="Arrow: Pentagon 64">
            <a:extLst>
              <a:ext uri="{FF2B5EF4-FFF2-40B4-BE49-F238E27FC236}">
                <a16:creationId xmlns:a16="http://schemas.microsoft.com/office/drawing/2014/main" id="{506E30B2-B5C6-49AC-ACFE-1C0B701AB2C0}"/>
              </a:ext>
            </a:extLst>
          </p:cNvPr>
          <p:cNvSpPr/>
          <p:nvPr/>
        </p:nvSpPr>
        <p:spPr>
          <a:xfrm>
            <a:off x="1290895" y="3272642"/>
            <a:ext cx="6086114" cy="396208"/>
          </a:xfrm>
          <a:prstGeom prst="homePlate">
            <a:avLst/>
          </a:prstGeom>
          <a:solidFill>
            <a:schemeClr val="accent1">
              <a:lumMod val="20000"/>
              <a:lumOff val="80000"/>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43597">
              <a:defRPr/>
            </a:pPr>
            <a:r>
              <a:rPr lang="de-DE" sz="1110" b="1">
                <a:solidFill>
                  <a:schemeClr val="tx2"/>
                </a:solidFill>
                <a:latin typeface="Signify Relative Book" panose="02000506040000020004"/>
              </a:rPr>
              <a:t>Lineaire TL-lampen T5</a:t>
            </a:r>
          </a:p>
        </p:txBody>
      </p:sp>
      <p:sp>
        <p:nvSpPr>
          <p:cNvPr id="66" name="Arrow: Pentagon 65">
            <a:extLst>
              <a:ext uri="{FF2B5EF4-FFF2-40B4-BE49-F238E27FC236}">
                <a16:creationId xmlns:a16="http://schemas.microsoft.com/office/drawing/2014/main" id="{BB169810-7624-4D3D-9A14-8E306910B1E1}"/>
              </a:ext>
            </a:extLst>
          </p:cNvPr>
          <p:cNvSpPr/>
          <p:nvPr/>
        </p:nvSpPr>
        <p:spPr>
          <a:xfrm>
            <a:off x="1290895" y="3969324"/>
            <a:ext cx="6086114" cy="396208"/>
          </a:xfrm>
          <a:prstGeom prst="homePlate">
            <a:avLst/>
          </a:prstGeom>
          <a:solidFill>
            <a:schemeClr val="accent1">
              <a:lumMod val="20000"/>
              <a:lumOff val="80000"/>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43597">
              <a:defRPr/>
            </a:pPr>
            <a:r>
              <a:rPr lang="de-DE" sz="1110" b="1">
                <a:solidFill>
                  <a:schemeClr val="tx2"/>
                </a:solidFill>
                <a:latin typeface="Signify Relative Book" panose="02000506040000020004"/>
              </a:rPr>
              <a:t>Lineaire TL-lampen T8</a:t>
            </a:r>
          </a:p>
        </p:txBody>
      </p:sp>
      <p:sp>
        <p:nvSpPr>
          <p:cNvPr id="87" name="Arrow: Pentagon 86">
            <a:extLst>
              <a:ext uri="{FF2B5EF4-FFF2-40B4-BE49-F238E27FC236}">
                <a16:creationId xmlns:a16="http://schemas.microsoft.com/office/drawing/2014/main" id="{7420787D-665C-437B-9AA6-3DE633BF72C7}"/>
              </a:ext>
            </a:extLst>
          </p:cNvPr>
          <p:cNvSpPr/>
          <p:nvPr/>
        </p:nvSpPr>
        <p:spPr>
          <a:xfrm>
            <a:off x="1290896" y="4681118"/>
            <a:ext cx="7719103" cy="396208"/>
          </a:xfrm>
          <a:prstGeom prst="homePlate">
            <a:avLst/>
          </a:prstGeom>
          <a:solidFill>
            <a:schemeClr val="accent1">
              <a:lumMod val="20000"/>
              <a:lumOff val="80000"/>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43597">
              <a:defRPr/>
            </a:pPr>
            <a:r>
              <a:rPr lang="de-DE" sz="1110" b="1">
                <a:solidFill>
                  <a:schemeClr val="tx2"/>
                </a:solidFill>
                <a:latin typeface="Signify Relative Book" panose="02000506040000020004"/>
              </a:rPr>
              <a:t>Hoogvolt halogeenlampen (G9)</a:t>
            </a:r>
          </a:p>
        </p:txBody>
      </p:sp>
      <p:sp>
        <p:nvSpPr>
          <p:cNvPr id="92" name="Arrow: Pentagon 91">
            <a:extLst>
              <a:ext uri="{FF2B5EF4-FFF2-40B4-BE49-F238E27FC236}">
                <a16:creationId xmlns:a16="http://schemas.microsoft.com/office/drawing/2014/main" id="{6E0DC40A-18B3-429E-91B2-E190ECDC2BD8}"/>
              </a:ext>
            </a:extLst>
          </p:cNvPr>
          <p:cNvSpPr/>
          <p:nvPr/>
        </p:nvSpPr>
        <p:spPr>
          <a:xfrm>
            <a:off x="1290896" y="5375965"/>
            <a:ext cx="7719103" cy="396208"/>
          </a:xfrm>
          <a:prstGeom prst="homePlate">
            <a:avLst/>
          </a:prstGeom>
          <a:solidFill>
            <a:schemeClr val="accent1">
              <a:lumMod val="20000"/>
              <a:lumOff val="80000"/>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43597">
              <a:defRPr/>
            </a:pPr>
            <a:r>
              <a:rPr lang="de-DE" sz="1110" b="1">
                <a:solidFill>
                  <a:schemeClr val="tx2"/>
                </a:solidFill>
                <a:latin typeface="Signify Relative Book" panose="02000506040000020004"/>
              </a:rPr>
              <a:t>Laagsvolt halogeenlampen (G4, GY6.35)</a:t>
            </a:r>
          </a:p>
        </p:txBody>
      </p:sp>
      <p:sp>
        <p:nvSpPr>
          <p:cNvPr id="4" name="TextBox 3">
            <a:extLst>
              <a:ext uri="{FF2B5EF4-FFF2-40B4-BE49-F238E27FC236}">
                <a16:creationId xmlns:a16="http://schemas.microsoft.com/office/drawing/2014/main" id="{0CDAA847-DA8F-4651-9ACA-6022DE0CC64B}"/>
              </a:ext>
            </a:extLst>
          </p:cNvPr>
          <p:cNvSpPr txBox="1"/>
          <p:nvPr/>
        </p:nvSpPr>
        <p:spPr>
          <a:xfrm>
            <a:off x="1182587" y="6450407"/>
            <a:ext cx="5827712" cy="391133"/>
          </a:xfrm>
          <a:prstGeom prst="rect">
            <a:avLst/>
          </a:prstGeom>
          <a:noFill/>
        </p:spPr>
        <p:txBody>
          <a:bodyPr wrap="square" rtlCol="0">
            <a:spAutoFit/>
          </a:bodyPr>
          <a:lstStyle/>
          <a:p>
            <a:r>
              <a:rPr lang="en-US" sz="971" baseline="30000" dirty="0">
                <a:solidFill>
                  <a:schemeClr val="bg1"/>
                </a:solidFill>
                <a:latin typeface="Signify Relative Book" panose="02000506040000020004"/>
              </a:rPr>
              <a:t>1 </a:t>
            </a:r>
            <a:r>
              <a:rPr lang="en-US" sz="971" dirty="0">
                <a:solidFill>
                  <a:schemeClr val="bg1"/>
                </a:solidFill>
                <a:latin typeface="Signify Relative Book" panose="02000506040000020004"/>
              </a:rPr>
              <a:t>Restriction of the use of certain Hazardous Substances</a:t>
            </a:r>
          </a:p>
          <a:p>
            <a:r>
              <a:rPr lang="en-US" sz="971" baseline="30000" dirty="0">
                <a:solidFill>
                  <a:schemeClr val="bg1"/>
                </a:solidFill>
                <a:latin typeface="Signify Relative Book" panose="02000506040000020004"/>
              </a:rPr>
              <a:t>2 </a:t>
            </a:r>
            <a:r>
              <a:rPr lang="en-US" sz="971" dirty="0">
                <a:solidFill>
                  <a:schemeClr val="bg1"/>
                </a:solidFill>
                <a:latin typeface="Signify Relative Book" panose="02000506040000020004"/>
              </a:rPr>
              <a:t>Single Lighting Regulation </a:t>
            </a:r>
            <a:endParaRPr lang="de-DE" sz="971" dirty="0">
              <a:solidFill>
                <a:schemeClr val="bg1"/>
              </a:solidFill>
              <a:latin typeface="Signify Relative Book" panose="02000506040000020004"/>
            </a:endParaRPr>
          </a:p>
        </p:txBody>
      </p:sp>
      <p:pic>
        <p:nvPicPr>
          <p:cNvPr id="21" name="Grafik 93">
            <a:extLst>
              <a:ext uri="{FF2B5EF4-FFF2-40B4-BE49-F238E27FC236}">
                <a16:creationId xmlns:a16="http://schemas.microsoft.com/office/drawing/2014/main" id="{2EB56662-A3A1-4130-9AA5-99017191136A}"/>
              </a:ext>
            </a:extLst>
          </p:cNvPr>
          <p:cNvPicPr>
            <a:picLocks noChangeAspect="1"/>
          </p:cNvPicPr>
          <p:nvPr/>
        </p:nvPicPr>
        <p:blipFill>
          <a:blip r:embed="rId7" cstate="email">
            <a:extLst>
              <a:ext uri="{BEBA8EAE-BF5A-486C-A8C5-ECC9F3942E4B}">
                <a14:imgProps xmlns:a14="http://schemas.microsoft.com/office/drawing/2010/main">
                  <a14:imgLayer r:embed="rId8">
                    <a14:imgEffect>
                      <a14:backgroundRemoval t="3950" b="94434" l="9140" r="89785">
                        <a14:foregroundMark x1="22043" y1="36086" x2="80645" y2="70557"/>
                        <a14:foregroundMark x1="80108" y1="50090" x2="21505" y2="34111"/>
                        <a14:foregroundMark x1="31720" y1="27828" x2="58602" y2="12567"/>
                        <a14:foregroundMark x1="54301" y1="7720" x2="54301" y2="7720"/>
                        <a14:foregroundMark x1="52688" y1="4129" x2="52688" y2="4129"/>
                        <a14:foregroundMark x1="45161" y1="4668" x2="45161" y2="4668"/>
                        <a14:foregroundMark x1="71505" y1="94434" x2="71505" y2="94434"/>
                      </a14:backgroundRemoval>
                    </a14:imgEffect>
                  </a14:imgLayer>
                </a14:imgProps>
              </a:ext>
              <a:ext uri="{28A0092B-C50C-407E-A947-70E740481C1C}">
                <a14:useLocalDpi xmlns:a14="http://schemas.microsoft.com/office/drawing/2010/main"/>
              </a:ext>
            </a:extLst>
          </a:blip>
          <a:stretch>
            <a:fillRect/>
          </a:stretch>
        </p:blipFill>
        <p:spPr>
          <a:xfrm>
            <a:off x="768936" y="5241929"/>
            <a:ext cx="225922" cy="676549"/>
          </a:xfrm>
          <a:prstGeom prst="rect">
            <a:avLst/>
          </a:prstGeom>
        </p:spPr>
      </p:pic>
      <p:pic>
        <p:nvPicPr>
          <p:cNvPr id="23" name="Grafik 96">
            <a:extLst>
              <a:ext uri="{FF2B5EF4-FFF2-40B4-BE49-F238E27FC236}">
                <a16:creationId xmlns:a16="http://schemas.microsoft.com/office/drawing/2014/main" id="{D7BF6B83-8360-4990-9371-02D10528D0D6}"/>
              </a:ext>
            </a:extLst>
          </p:cNvPr>
          <p:cNvPicPr>
            <a:picLocks noChangeAspect="1"/>
          </p:cNvPicPr>
          <p:nvPr/>
        </p:nvPicPr>
        <p:blipFill>
          <a:blip r:embed="rId9" cstate="email">
            <a:extLst>
              <a:ext uri="{BEBA8EAE-BF5A-486C-A8C5-ECC9F3942E4B}">
                <a14:imgProps xmlns:a14="http://schemas.microsoft.com/office/drawing/2010/main">
                  <a14:imgLayer r:embed="rId10">
                    <a14:imgEffect>
                      <a14:backgroundRemoval t="9551" b="93258" l="9912" r="92511">
                        <a14:foregroundMark x1="14758" y1="15169" x2="19824" y2="35955"/>
                        <a14:foregroundMark x1="16079" y1="69663" x2="42817" y2="86333"/>
                        <a14:foregroundMark x1="53348" y1="85836" x2="40088" y2="38202"/>
                        <a14:foregroundMark x1="30396" y1="27528" x2="71145" y2="19101"/>
                        <a14:foregroundMark x1="71145" y1="19101" x2="39207" y2="28090"/>
                        <a14:foregroundMark x1="88106" y1="50562" x2="88106" y2="50562"/>
                        <a14:foregroundMark x1="91850" y1="56742" x2="91850" y2="56742"/>
                        <a14:foregroundMark x1="92511" y1="45506" x2="92511" y2="45506"/>
                        <a14:foregroundMark x1="14758" y1="36517" x2="14317" y2="17978"/>
                        <a14:foregroundMark x1="16960" y1="61798" x2="16960" y2="61798"/>
                        <a14:foregroundMark x1="14978" y1="71910" x2="16740" y2="84831"/>
                        <a14:backgroundMark x1="56388" y1="93820" x2="44493" y2="94382"/>
                      </a14:backgroundRemoval>
                    </a14:imgEffect>
                  </a14:imgLayer>
                </a14:imgProps>
              </a:ext>
              <a:ext uri="{28A0092B-C50C-407E-A947-70E740481C1C}">
                <a14:useLocalDpi xmlns:a14="http://schemas.microsoft.com/office/drawing/2010/main"/>
              </a:ext>
            </a:extLst>
          </a:blip>
          <a:stretch>
            <a:fillRect/>
          </a:stretch>
        </p:blipFill>
        <p:spPr>
          <a:xfrm rot="16200000">
            <a:off x="548950" y="4746595"/>
            <a:ext cx="676548" cy="265254"/>
          </a:xfrm>
          <a:prstGeom prst="rect">
            <a:avLst/>
          </a:prstGeom>
        </p:spPr>
      </p:pic>
      <p:pic>
        <p:nvPicPr>
          <p:cNvPr id="24" name="Grafik 97">
            <a:extLst>
              <a:ext uri="{FF2B5EF4-FFF2-40B4-BE49-F238E27FC236}">
                <a16:creationId xmlns:a16="http://schemas.microsoft.com/office/drawing/2014/main" id="{101C5055-05F4-432D-AD78-3B40CCD45C1D}"/>
              </a:ext>
            </a:extLst>
          </p:cNvPr>
          <p:cNvPicPr>
            <a:picLocks noChangeAspect="1"/>
          </p:cNvPicPr>
          <p:nvPr/>
        </p:nvPicPr>
        <p:blipFill>
          <a:blip r:embed="rId11" cstate="email">
            <a:extLst>
              <a:ext uri="{BEBA8EAE-BF5A-486C-A8C5-ECC9F3942E4B}">
                <a14:imgProps xmlns:a14="http://schemas.microsoft.com/office/drawing/2010/main">
                  <a14:imgLayer r:embed="rId12">
                    <a14:imgEffect>
                      <a14:backgroundRemoval t="9402" b="92308" l="3925" r="92710">
                        <a14:foregroundMark x1="16636" y1="27350" x2="20000" y2="39744"/>
                        <a14:foregroundMark x1="22243" y1="30769" x2="54019" y2="13248"/>
                        <a14:foregroundMark x1="54019" y1="13248" x2="87103" y2="23504"/>
                        <a14:foregroundMark x1="87103" y1="23504" x2="91028" y2="20940"/>
                        <a14:foregroundMark x1="80187" y1="18376" x2="92150" y2="20085"/>
                        <a14:foregroundMark x1="93084" y1="24786" x2="93084" y2="75214"/>
                        <a14:foregroundMark x1="33832" y1="13675" x2="23178" y2="27778"/>
                        <a14:foregroundMark x1="32897" y1="91453" x2="21869" y2="92735"/>
                        <a14:foregroundMark x1="10467" y1="63248" x2="3925" y2="62821"/>
                        <a14:foregroundMark x1="14579" y1="50855" x2="5607" y2="54701"/>
                        <a14:foregroundMark x1="12710" y1="49145" x2="13458" y2="41026"/>
                        <a14:foregroundMark x1="7290" y1="42735" x2="7290" y2="42735"/>
                        <a14:foregroundMark x1="4112" y1="36752" x2="4112" y2="36752"/>
                        <a14:foregroundMark x1="7477" y1="33761" x2="7477" y2="33761"/>
                        <a14:foregroundMark x1="5234" y1="34188" x2="5234" y2="34188"/>
                        <a14:foregroundMark x1="7664" y1="34615" x2="7664" y2="34615"/>
                        <a14:foregroundMark x1="8411" y1="31197" x2="3925" y2="35470"/>
                        <a14:foregroundMark x1="11963" y1="28205" x2="11963" y2="28205"/>
                        <a14:foregroundMark x1="15327" y1="28632" x2="10841" y2="30769"/>
                        <a14:foregroundMark x1="14766" y1="73932" x2="11215" y2="72222"/>
                      </a14:backgroundRemoval>
                    </a14:imgEffect>
                  </a14:imgLayer>
                </a14:imgProps>
              </a:ext>
              <a:ext uri="{28A0092B-C50C-407E-A947-70E740481C1C}">
                <a14:useLocalDpi xmlns:a14="http://schemas.microsoft.com/office/drawing/2010/main"/>
              </a:ext>
            </a:extLst>
          </a:blip>
          <a:stretch>
            <a:fillRect/>
          </a:stretch>
        </p:blipFill>
        <p:spPr>
          <a:xfrm rot="16200000">
            <a:off x="552893" y="1910457"/>
            <a:ext cx="661627" cy="289385"/>
          </a:xfrm>
          <a:prstGeom prst="rect">
            <a:avLst/>
          </a:prstGeom>
        </p:spPr>
      </p:pic>
      <p:pic>
        <p:nvPicPr>
          <p:cNvPr id="14" name="Picture 13">
            <a:extLst>
              <a:ext uri="{FF2B5EF4-FFF2-40B4-BE49-F238E27FC236}">
                <a16:creationId xmlns:a16="http://schemas.microsoft.com/office/drawing/2014/main" id="{5E909912-8A4B-4F22-BED1-A6EDB76B27D3}"/>
              </a:ext>
            </a:extLst>
          </p:cNvPr>
          <p:cNvPicPr>
            <a:picLocks noChangeAspect="1"/>
          </p:cNvPicPr>
          <p:nvPr/>
        </p:nvPicPr>
        <p:blipFill>
          <a:blip r:embed="rId13" cstate="email">
            <a:extLst>
              <a:ext uri="{BEBA8EAE-BF5A-486C-A8C5-ECC9F3942E4B}">
                <a14:imgProps xmlns:a14="http://schemas.microsoft.com/office/drawing/2010/main">
                  <a14:imgLayer r:embed="rId14">
                    <a14:imgEffect>
                      <a14:backgroundRemoval t="779" b="97143" l="6436" r="94802">
                        <a14:foregroundMark x1="32485" y1="12252" x2="32742" y2="12006"/>
                        <a14:foregroundMark x1="9723" y1="34113" x2="10341" y2="33520"/>
                        <a14:foregroundMark x1="8192" y1="35584" x2="9236" y2="34581"/>
                        <a14:foregroundMark x1="7921" y1="35844" x2="8192" y2="35584"/>
                        <a14:foregroundMark x1="44506" y1="5635" x2="52228" y2="3377"/>
                        <a14:foregroundMark x1="80430" y1="17918" x2="80941" y2="18182"/>
                        <a14:foregroundMark x1="52228" y1="3377" x2="56405" y2="5530"/>
                        <a14:foregroundMark x1="87192" y1="26458" x2="91337" y2="31948"/>
                        <a14:foregroundMark x1="80941" y1="18182" x2="81026" y2="18294"/>
                        <a14:foregroundMark x1="91337" y1="31948" x2="96535" y2="48052"/>
                        <a14:foregroundMark x1="96535" y1="48052" x2="93812" y2="63377"/>
                        <a14:foregroundMark x1="93812" y1="63377" x2="86139" y2="79481"/>
                        <a14:foregroundMark x1="86139" y1="79481" x2="69059" y2="94286"/>
                        <a14:foregroundMark x1="69059" y1="94286" x2="42079" y2="97143"/>
                        <a14:foregroundMark x1="41388" y1="96853" x2="40842" y2="96623"/>
                        <a14:foregroundMark x1="42079" y1="97143" x2="41462" y2="96884"/>
                        <a14:foregroundMark x1="7603" y1="57085" x2="7921" y2="62857"/>
                        <a14:foregroundMark x1="6436" y1="35844" x2="7269" y2="50997"/>
                        <a14:foregroundMark x1="10268" y1="56737" x2="9158" y2="65195"/>
                        <a14:foregroundMark x1="9158" y1="65195" x2="9406" y2="65714"/>
                        <a14:foregroundMark x1="9653" y1="69091" x2="27723" y2="86753"/>
                        <a14:foregroundMark x1="21287" y1="82078" x2="39851" y2="93766"/>
                        <a14:foregroundMark x1="91584" y1="67532" x2="94802" y2="54026"/>
                        <a14:foregroundMark x1="94802" y1="54026" x2="92574" y2="32208"/>
                        <a14:foregroundMark x1="37962" y1="5349" x2="52475" y2="779"/>
                        <a14:foregroundMark x1="52475" y1="779" x2="58124" y2="2920"/>
                        <a14:backgroundMark x1="12871" y1="38442" x2="11634" y2="50909"/>
                        <a14:backgroundMark x1="11386" y1="51169" x2="11634" y2="54545"/>
                        <a14:backgroundMark x1="10644" y1="50130" x2="11386" y2="53247"/>
                        <a14:backgroundMark x1="10891" y1="54545" x2="11139" y2="56623"/>
                        <a14:backgroundMark x1="19309" y1="28568" x2="25743" y2="18442"/>
                        <a14:backgroundMark x1="12871" y1="38701" x2="18977" y2="29091"/>
                        <a14:backgroundMark x1="28465" y1="15325" x2="23515" y2="21818"/>
                        <a14:backgroundMark x1="22277" y1="22597" x2="17079" y2="27532"/>
                        <a14:backgroundMark x1="16408" y1="29091" x2="14604" y2="33506"/>
                        <a14:backgroundMark x1="13366" y1="35844" x2="12624" y2="38442"/>
                        <a14:backgroundMark x1="13366" y1="33766" x2="13614" y2="36623"/>
                        <a14:backgroundMark x1="14109" y1="32987" x2="13366" y2="34805"/>
                        <a14:backgroundMark x1="16485" y1="29091" x2="16337" y2="30649"/>
                        <a14:backgroundMark x1="15656" y1="29091" x2="15594" y2="29610"/>
                        <a14:backgroundMark x1="23020" y1="22338" x2="21782" y2="27013"/>
                        <a14:backgroundMark x1="22030" y1="22338" x2="22030" y2="28312"/>
                        <a14:backgroundMark x1="22277" y1="21818" x2="21782" y2="26753"/>
                        <a14:backgroundMark x1="16474" y1="29091" x2="17574" y2="30130"/>
                        <a14:backgroundMark x1="17533" y1="29091" x2="17574" y2="29351"/>
                        <a14:backgroundMark x1="16584" y1="27532" x2="15099" y2="31688"/>
                        <a14:backgroundMark x1="6188" y1="35584" x2="6188" y2="35584"/>
                        <a14:backgroundMark x1="30198" y1="15325" x2="29703" y2="17143"/>
                        <a14:backgroundMark x1="32426" y1="12208" x2="30693" y2="14286"/>
                        <a14:backgroundMark x1="35396" y1="10390" x2="33911" y2="12727"/>
                        <a14:backgroundMark x1="31931" y1="12468" x2="31188" y2="15844"/>
                        <a14:backgroundMark x1="32921" y1="12727" x2="32426" y2="15065"/>
                        <a14:backgroundMark x1="35149" y1="10909" x2="34901" y2="11688"/>
                        <a14:backgroundMark x1="36386" y1="9351" x2="35149" y2="10390"/>
                        <a14:backgroundMark x1="35644" y1="9870" x2="43812" y2="7013"/>
                        <a14:backgroundMark x1="34406" y1="11948" x2="36634" y2="8831"/>
                        <a14:backgroundMark x1="60149" y1="7013" x2="74010" y2="14026"/>
                        <a14:backgroundMark x1="57178" y1="6494" x2="60644" y2="7273"/>
                        <a14:backgroundMark x1="55941" y1="6234" x2="57921" y2="6494"/>
                        <a14:backgroundMark x1="71287" y1="13766" x2="78713" y2="16623"/>
                        <a14:backgroundMark x1="76485" y1="16104" x2="80198" y2="18182"/>
                        <a14:backgroundMark x1="81188" y1="20260" x2="83911" y2="23117"/>
                        <a14:backgroundMark x1="83416" y1="23896" x2="86881" y2="26753"/>
                        <a14:backgroundMark x1="83168" y1="22857" x2="85149" y2="23896"/>
                        <a14:backgroundMark x1="79950" y1="19481" x2="81683" y2="20519"/>
                        <a14:backgroundMark x1="41832" y1="97922" x2="41584" y2="97403"/>
                      </a14:backgroundRemoval>
                    </a14:imgEffect>
                  </a14:imgLayer>
                </a14:imgProps>
              </a:ext>
              <a:ext uri="{28A0092B-C50C-407E-A947-70E740481C1C}">
                <a14:useLocalDpi xmlns:a14="http://schemas.microsoft.com/office/drawing/2010/main"/>
              </a:ext>
            </a:extLst>
          </a:blip>
          <a:stretch>
            <a:fillRect/>
          </a:stretch>
        </p:blipFill>
        <p:spPr>
          <a:xfrm>
            <a:off x="547037" y="2491045"/>
            <a:ext cx="612320" cy="583523"/>
          </a:xfrm>
          <a:prstGeom prst="rect">
            <a:avLst/>
          </a:prstGeom>
        </p:spPr>
      </p:pic>
      <p:sp>
        <p:nvSpPr>
          <p:cNvPr id="93" name="Arrow: Pentagon 92">
            <a:extLst>
              <a:ext uri="{FF2B5EF4-FFF2-40B4-BE49-F238E27FC236}">
                <a16:creationId xmlns:a16="http://schemas.microsoft.com/office/drawing/2014/main" id="{822FB937-2808-49DF-A9D7-CA097C5C0CFB}"/>
              </a:ext>
            </a:extLst>
          </p:cNvPr>
          <p:cNvSpPr/>
          <p:nvPr/>
        </p:nvSpPr>
        <p:spPr>
          <a:xfrm>
            <a:off x="1276553" y="6026091"/>
            <a:ext cx="8411729" cy="405225"/>
          </a:xfrm>
          <a:prstGeom prst="homePlate">
            <a:avLst/>
          </a:prstGeom>
          <a:solidFill>
            <a:schemeClr val="accent1">
              <a:lumMod val="20000"/>
              <a:lumOff val="80000"/>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43597">
              <a:defRPr/>
            </a:pPr>
            <a:r>
              <a:rPr lang="nl-NL" sz="1110" b="1">
                <a:solidFill>
                  <a:schemeClr val="tx2"/>
                </a:solidFill>
                <a:latin typeface="Signify Relative Book" panose="02000506040000020004"/>
              </a:rPr>
              <a:t>Andere lampen die niet onder het verbod vallen (UV-lampen, TL mini, SON, CDM etc.)</a:t>
            </a:r>
            <a:endParaRPr lang="de-DE" sz="1110" b="1">
              <a:solidFill>
                <a:schemeClr val="tx2"/>
              </a:solidFill>
              <a:latin typeface="Signify Relative Book" panose="02000506040000020004"/>
            </a:endParaRPr>
          </a:p>
        </p:txBody>
      </p:sp>
      <p:sp>
        <p:nvSpPr>
          <p:cNvPr id="27" name="Textfeld 26">
            <a:extLst>
              <a:ext uri="{FF2B5EF4-FFF2-40B4-BE49-F238E27FC236}">
                <a16:creationId xmlns:a16="http://schemas.microsoft.com/office/drawing/2014/main" id="{36407BCB-B666-4F26-AF61-E993B78B17C4}"/>
              </a:ext>
            </a:extLst>
          </p:cNvPr>
          <p:cNvSpPr txBox="1"/>
          <p:nvPr/>
        </p:nvSpPr>
        <p:spPr>
          <a:xfrm>
            <a:off x="1276552" y="1469549"/>
            <a:ext cx="6252388" cy="291618"/>
          </a:xfrm>
          <a:prstGeom prst="rect">
            <a:avLst/>
          </a:prstGeom>
          <a:noFill/>
        </p:spPr>
        <p:txBody>
          <a:bodyPr wrap="square">
            <a:spAutoFit/>
          </a:bodyPr>
          <a:lstStyle/>
          <a:p>
            <a:r>
              <a:rPr lang="de-DE" sz="1295" dirty="0" err="1">
                <a:solidFill>
                  <a:schemeClr val="tx2"/>
                </a:solidFill>
                <a:latin typeface="Signify Relative Book" panose="02000506040000020004"/>
              </a:rPr>
              <a:t>Regelgeving</a:t>
            </a:r>
            <a:r>
              <a:rPr lang="de-DE" sz="1295" dirty="0">
                <a:solidFill>
                  <a:schemeClr val="tx2"/>
                </a:solidFill>
                <a:latin typeface="Signify Relative Book" panose="02000506040000020004"/>
              </a:rPr>
              <a:t> / </a:t>
            </a:r>
            <a:r>
              <a:rPr lang="de-DE" sz="1295" dirty="0" err="1">
                <a:solidFill>
                  <a:schemeClr val="tx2"/>
                </a:solidFill>
                <a:latin typeface="Signify Relative Book" panose="02000506040000020004"/>
              </a:rPr>
              <a:t>Richtlijn</a:t>
            </a:r>
            <a:endParaRPr lang="de-DE" sz="1295" dirty="0">
              <a:solidFill>
                <a:schemeClr val="tx2"/>
              </a:solidFill>
              <a:latin typeface="Signify Relative Book" panose="02000506040000020004"/>
            </a:endParaRPr>
          </a:p>
        </p:txBody>
      </p:sp>
      <p:cxnSp>
        <p:nvCxnSpPr>
          <p:cNvPr id="8" name="Gerader Verbinder 7">
            <a:extLst>
              <a:ext uri="{FF2B5EF4-FFF2-40B4-BE49-F238E27FC236}">
                <a16:creationId xmlns:a16="http://schemas.microsoft.com/office/drawing/2014/main" id="{ED3473FE-7E62-45E5-B5B8-E70C2F186EAC}"/>
              </a:ext>
            </a:extLst>
          </p:cNvPr>
          <p:cNvCxnSpPr>
            <a:cxnSpLocks/>
          </p:cNvCxnSpPr>
          <p:nvPr/>
        </p:nvCxnSpPr>
        <p:spPr>
          <a:xfrm>
            <a:off x="1290895" y="1762807"/>
            <a:ext cx="7719104" cy="0"/>
          </a:xfrm>
          <a:prstGeom prst="line">
            <a:avLst/>
          </a:prstGeom>
          <a:ln w="19050">
            <a:solidFill>
              <a:srgbClr val="FFAA08"/>
            </a:solidFill>
          </a:ln>
        </p:spPr>
        <p:style>
          <a:lnRef idx="1">
            <a:schemeClr val="accent4"/>
          </a:lnRef>
          <a:fillRef idx="0">
            <a:schemeClr val="accent4"/>
          </a:fillRef>
          <a:effectRef idx="0">
            <a:schemeClr val="accent4"/>
          </a:effectRef>
          <a:fontRef idx="minor">
            <a:schemeClr val="tx1"/>
          </a:fontRef>
        </p:style>
      </p:cxnSp>
      <p:sp>
        <p:nvSpPr>
          <p:cNvPr id="6" name="Rectangle 5">
            <a:extLst>
              <a:ext uri="{FF2B5EF4-FFF2-40B4-BE49-F238E27FC236}">
                <a16:creationId xmlns:a16="http://schemas.microsoft.com/office/drawing/2014/main" id="{EE09AA95-40AE-4239-88F8-3DB28E7AD811}"/>
              </a:ext>
            </a:extLst>
          </p:cNvPr>
          <p:cNvSpPr/>
          <p:nvPr/>
        </p:nvSpPr>
        <p:spPr>
          <a:xfrm>
            <a:off x="739015" y="3462309"/>
            <a:ext cx="109339" cy="62934"/>
          </a:xfrm>
          <a:prstGeom prst="rect">
            <a:avLst/>
          </a:prstGeom>
          <a:solidFill>
            <a:srgbClr val="F4F5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832"/>
              </a:spcAft>
            </a:pPr>
            <a:endParaRPr lang="de-DE" sz="1665" err="1">
              <a:solidFill>
                <a:schemeClr val="bg1"/>
              </a:solidFill>
              <a:latin typeface="Signify Relative Book" panose="02000506040000020004"/>
            </a:endParaRPr>
          </a:p>
        </p:txBody>
      </p:sp>
      <p:sp>
        <p:nvSpPr>
          <p:cNvPr id="26" name="Rectangle 25">
            <a:extLst>
              <a:ext uri="{FF2B5EF4-FFF2-40B4-BE49-F238E27FC236}">
                <a16:creationId xmlns:a16="http://schemas.microsoft.com/office/drawing/2014/main" id="{99E09A3F-E093-4CC7-A7C8-282E9C337014}"/>
              </a:ext>
            </a:extLst>
          </p:cNvPr>
          <p:cNvSpPr/>
          <p:nvPr/>
        </p:nvSpPr>
        <p:spPr>
          <a:xfrm>
            <a:off x="770623" y="4176953"/>
            <a:ext cx="109339" cy="62934"/>
          </a:xfrm>
          <a:prstGeom prst="rect">
            <a:avLst/>
          </a:prstGeom>
          <a:solidFill>
            <a:srgbClr val="F4F5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832"/>
              </a:spcAft>
            </a:pPr>
            <a:endParaRPr lang="de-DE" sz="1665" err="1">
              <a:solidFill>
                <a:schemeClr val="bg1"/>
              </a:solidFill>
              <a:latin typeface="Signify Relative Book" panose="02000506040000020004"/>
            </a:endParaRPr>
          </a:p>
        </p:txBody>
      </p:sp>
    </p:spTree>
    <p:extLst>
      <p:ext uri="{BB962C8B-B14F-4D97-AF65-F5344CB8AC3E}">
        <p14:creationId xmlns:p14="http://schemas.microsoft.com/office/powerpoint/2010/main" val="405040009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80AD117C-4809-F6FA-1329-E88C0AD2626B}"/>
              </a:ext>
            </a:extLst>
          </p:cNvPr>
          <p:cNvPicPr>
            <a:picLocks noChangeAspect="1"/>
          </p:cNvPicPr>
          <p:nvPr/>
        </p:nvPicPr>
        <p:blipFill>
          <a:blip r:embed="rId5"/>
          <a:stretch>
            <a:fillRect/>
          </a:stretch>
        </p:blipFill>
        <p:spPr>
          <a:xfrm>
            <a:off x="8024273" y="2152231"/>
            <a:ext cx="4222703" cy="4222703"/>
          </a:xfrm>
          <a:prstGeom prst="rect">
            <a:avLst/>
          </a:prstGeom>
        </p:spPr>
      </p:pic>
      <p:pic>
        <p:nvPicPr>
          <p:cNvPr id="3074" name="Picture 2">
            <a:extLst>
              <a:ext uri="{FF2B5EF4-FFF2-40B4-BE49-F238E27FC236}">
                <a16:creationId xmlns:a16="http://schemas.microsoft.com/office/drawing/2014/main" id="{83151752-5CA4-192C-EB6C-109CB39CDD60}"/>
              </a:ext>
            </a:extLst>
          </p:cNvPr>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469408" y="2447330"/>
            <a:ext cx="3198733" cy="3458629"/>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A64CA611-F0BD-C15A-8D24-26B03D74F3C3}"/>
              </a:ext>
            </a:extLst>
          </p:cNvPr>
          <p:cNvSpPr txBox="1"/>
          <p:nvPr/>
        </p:nvSpPr>
        <p:spPr>
          <a:xfrm>
            <a:off x="1887233" y="3243522"/>
            <a:ext cx="3198733" cy="2768392"/>
          </a:xfrm>
          <a:prstGeom prst="rect">
            <a:avLst/>
          </a:prstGeom>
          <a:solidFill>
            <a:srgbClr val="FFFFFF">
              <a:alpha val="69804"/>
            </a:srgbClr>
          </a:solidFill>
        </p:spPr>
        <p:txBody>
          <a:bodyPr wrap="square" lIns="0" tIns="0" rIns="0" bIns="0" rtlCol="0">
            <a:noAutofit/>
          </a:bodyPr>
          <a:lstStyle/>
          <a:p>
            <a:pPr marL="285750" indent="-285750">
              <a:lnSpc>
                <a:spcPct val="90000"/>
              </a:lnSpc>
              <a:spcAft>
                <a:spcPts val="900"/>
              </a:spcAft>
              <a:buFont typeface="Arial" panose="020B0604020202020204" pitchFamily="34" charset="0"/>
              <a:buChar char="•"/>
            </a:pPr>
            <a:r>
              <a:rPr lang="en-US" sz="1600" dirty="0">
                <a:solidFill>
                  <a:schemeClr val="tx2"/>
                </a:solidFill>
                <a:latin typeface="Signify Relative Book" panose="02000506040000020004"/>
                <a:ea typeface="+mn-lt"/>
                <a:cs typeface="+mn-lt"/>
              </a:rPr>
              <a:t>Useful if a building will be divested within coming 2 years</a:t>
            </a:r>
          </a:p>
          <a:p>
            <a:pPr marL="285750" indent="-285750">
              <a:lnSpc>
                <a:spcPct val="90000"/>
              </a:lnSpc>
              <a:spcAft>
                <a:spcPts val="900"/>
              </a:spcAft>
              <a:buFont typeface="Arial" panose="020B0604020202020204" pitchFamily="34" charset="0"/>
              <a:buChar char="•"/>
            </a:pPr>
            <a:r>
              <a:rPr lang="en-US" sz="1600" dirty="0">
                <a:solidFill>
                  <a:schemeClr val="tx2"/>
                </a:solidFill>
                <a:latin typeface="Signify Relative Book" panose="02000506040000020004"/>
                <a:ea typeface="+mn-lt"/>
                <a:cs typeface="+mn-lt"/>
              </a:rPr>
              <a:t>Choose for rotating socket</a:t>
            </a:r>
          </a:p>
          <a:p>
            <a:pPr marL="285750" indent="-285750">
              <a:lnSpc>
                <a:spcPct val="90000"/>
              </a:lnSpc>
              <a:spcAft>
                <a:spcPts val="900"/>
              </a:spcAft>
              <a:buFont typeface="Arial" panose="020B0604020202020204" pitchFamily="34" charset="0"/>
              <a:buChar char="•"/>
            </a:pPr>
            <a:r>
              <a:rPr lang="en-US" sz="1600" dirty="0">
                <a:solidFill>
                  <a:schemeClr val="tx2"/>
                </a:solidFill>
                <a:latin typeface="Signify Relative Book" panose="02000506040000020004"/>
                <a:ea typeface="+mn-lt"/>
                <a:cs typeface="+mn-lt"/>
              </a:rPr>
              <a:t>No </a:t>
            </a:r>
            <a:r>
              <a:rPr lang="nl-NL" sz="1600" dirty="0">
                <a:solidFill>
                  <a:schemeClr val="tx2"/>
                </a:solidFill>
                <a:latin typeface="Signify Relative Book" panose="02000506040000020004"/>
                <a:ea typeface="+mn-lt"/>
                <a:cs typeface="+mn-lt"/>
              </a:rPr>
              <a:t>ideal lightdistribution</a:t>
            </a:r>
          </a:p>
          <a:p>
            <a:pPr marL="285750" indent="-285750">
              <a:lnSpc>
                <a:spcPct val="90000"/>
              </a:lnSpc>
              <a:spcAft>
                <a:spcPts val="900"/>
              </a:spcAft>
              <a:buFont typeface="Arial" panose="020B0604020202020204" pitchFamily="34" charset="0"/>
              <a:buChar char="•"/>
            </a:pPr>
            <a:endParaRPr lang="nl-NL" sz="2400" dirty="0">
              <a:solidFill>
                <a:schemeClr val="tx2"/>
              </a:solidFill>
              <a:latin typeface="Signify Relative Book" panose="02000506040000020004"/>
              <a:ea typeface="+mn-lt"/>
              <a:cs typeface="+mn-lt"/>
            </a:endParaRPr>
          </a:p>
          <a:p>
            <a:pPr marL="285750" indent="-285750">
              <a:lnSpc>
                <a:spcPct val="90000"/>
              </a:lnSpc>
              <a:spcAft>
                <a:spcPts val="900"/>
              </a:spcAft>
              <a:buFont typeface="Arial" panose="020B0604020202020204" pitchFamily="34" charset="0"/>
              <a:buChar char="•"/>
            </a:pPr>
            <a:endParaRPr lang="nl-NL" sz="2000" dirty="0">
              <a:solidFill>
                <a:schemeClr val="tx2"/>
              </a:solidFill>
              <a:latin typeface="Signify Relative Book" panose="02000506040000020004"/>
              <a:ea typeface="+mn-lt"/>
              <a:cs typeface="+mn-lt"/>
            </a:endParaRPr>
          </a:p>
          <a:p>
            <a:pPr algn="l">
              <a:lnSpc>
                <a:spcPct val="90000"/>
              </a:lnSpc>
              <a:spcAft>
                <a:spcPts val="900"/>
              </a:spcAft>
            </a:pPr>
            <a:endParaRPr lang="en-BE" sz="1800" dirty="0" err="1">
              <a:solidFill>
                <a:schemeClr val="tx2"/>
              </a:solidFill>
            </a:endParaRPr>
          </a:p>
        </p:txBody>
      </p:sp>
      <p:graphicFrame>
        <p:nvGraphicFramePr>
          <p:cNvPr id="28" name="Objekt 27" hidden="1">
            <a:extLst>
              <a:ext uri="{FF2B5EF4-FFF2-40B4-BE49-F238E27FC236}">
                <a16:creationId xmlns:a16="http://schemas.microsoft.com/office/drawing/2014/main" id="{9BDF8775-F429-4E36-9570-CF6E7C4CEE02}"/>
              </a:ext>
            </a:extLst>
          </p:cNvPr>
          <p:cNvGraphicFramePr>
            <a:graphicFrameLocks noChangeAspect="1"/>
          </p:cNvGraphicFramePr>
          <p:nvPr>
            <p:custDataLst>
              <p:tags r:id="rId1"/>
            </p:custDataLst>
          </p:nvPr>
        </p:nvGraphicFramePr>
        <p:xfrm>
          <a:off x="470559" y="265331"/>
          <a:ext cx="1466" cy="1466"/>
        </p:xfrm>
        <a:graphic>
          <a:graphicData uri="http://schemas.openxmlformats.org/presentationml/2006/ole">
            <mc:AlternateContent xmlns:mc="http://schemas.openxmlformats.org/markup-compatibility/2006">
              <mc:Choice xmlns:v="urn:schemas-microsoft-com:vml" Requires="v">
                <p:oleObj name="think-cell Folie" r:id="rId7" imgW="360" imgH="360" progId="TCLayout.ActiveDocument.1">
                  <p:embed/>
                </p:oleObj>
              </mc:Choice>
              <mc:Fallback>
                <p:oleObj name="think-cell Folie" r:id="rId7" imgW="360" imgH="360" progId="TCLayout.ActiveDocument.1">
                  <p:embed/>
                  <p:pic>
                    <p:nvPicPr>
                      <p:cNvPr id="28" name="Objekt 27" hidden="1">
                        <a:extLst>
                          <a:ext uri="{FF2B5EF4-FFF2-40B4-BE49-F238E27FC236}">
                            <a16:creationId xmlns:a16="http://schemas.microsoft.com/office/drawing/2014/main" id="{9BDF8775-F429-4E36-9570-CF6E7C4CEE02}"/>
                          </a:ext>
                        </a:extLst>
                      </p:cNvPr>
                      <p:cNvPicPr/>
                      <p:nvPr/>
                    </p:nvPicPr>
                    <p:blipFill>
                      <a:blip r:embed="rId8"/>
                      <a:stretch>
                        <a:fillRect/>
                      </a:stretch>
                    </p:blipFill>
                    <p:spPr>
                      <a:xfrm>
                        <a:off x="470559" y="265331"/>
                        <a:ext cx="1466" cy="1466"/>
                      </a:xfrm>
                      <a:prstGeom prst="rect">
                        <a:avLst/>
                      </a:prstGeom>
                    </p:spPr>
                  </p:pic>
                </p:oleObj>
              </mc:Fallback>
            </mc:AlternateContent>
          </a:graphicData>
        </a:graphic>
      </p:graphicFrame>
      <p:sp>
        <p:nvSpPr>
          <p:cNvPr id="27" name="Rechteck 26" hidden="1">
            <a:extLst>
              <a:ext uri="{FF2B5EF4-FFF2-40B4-BE49-F238E27FC236}">
                <a16:creationId xmlns:a16="http://schemas.microsoft.com/office/drawing/2014/main" id="{F744E214-97A5-4535-A9C9-3DC267344BE2}"/>
              </a:ext>
            </a:extLst>
          </p:cNvPr>
          <p:cNvSpPr/>
          <p:nvPr>
            <p:custDataLst>
              <p:tags r:id="rId2"/>
            </p:custDataLst>
          </p:nvPr>
        </p:nvSpPr>
        <p:spPr>
          <a:xfrm>
            <a:off x="469092" y="263864"/>
            <a:ext cx="146534" cy="146534"/>
          </a:xfrm>
          <a:prstGeom prst="rect">
            <a:avLst/>
          </a:prstGeom>
          <a:gradFill>
            <a:gsLst>
              <a:gs pos="50000">
                <a:srgbClr val="00E487"/>
              </a:gs>
              <a:gs pos="100000">
                <a:srgbClr val="1ECBD0"/>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44037">
              <a:lnSpc>
                <a:spcPct val="90000"/>
              </a:lnSpc>
              <a:spcAft>
                <a:spcPts val="831"/>
              </a:spcAft>
              <a:defRPr/>
            </a:pPr>
            <a:endParaRPr lang="de-DE" sz="2584" b="1">
              <a:solidFill>
                <a:prstClr val="white"/>
              </a:solidFill>
              <a:latin typeface="Calibri" panose="020F0502020204030204" pitchFamily="34" charset="0"/>
              <a:sym typeface="Calibri" panose="020F0502020204030204" pitchFamily="34" charset="0"/>
            </a:endParaRPr>
          </a:p>
        </p:txBody>
      </p:sp>
      <p:sp>
        <p:nvSpPr>
          <p:cNvPr id="2" name="Titel 1">
            <a:extLst>
              <a:ext uri="{FF2B5EF4-FFF2-40B4-BE49-F238E27FC236}">
                <a16:creationId xmlns:a16="http://schemas.microsoft.com/office/drawing/2014/main" id="{62B10D53-CE9A-412A-B517-4067CAC737BA}"/>
              </a:ext>
            </a:extLst>
          </p:cNvPr>
          <p:cNvSpPr>
            <a:spLocks noGrp="1"/>
          </p:cNvSpPr>
          <p:nvPr>
            <p:ph type="title"/>
          </p:nvPr>
        </p:nvSpPr>
        <p:spPr/>
        <p:txBody>
          <a:bodyPr/>
          <a:lstStyle/>
          <a:p>
            <a:r>
              <a:rPr lang="nl-NL" dirty="0">
                <a:latin typeface="Signify Raisonne DemiBold"/>
              </a:rPr>
              <a:t>For every situation a suitable solution</a:t>
            </a:r>
            <a:endParaRPr lang="nl-NL" dirty="0">
              <a:latin typeface="Signify Relative Bold" panose="02000806030000020004" pitchFamily="50" charset="0"/>
            </a:endParaRPr>
          </a:p>
        </p:txBody>
      </p:sp>
      <p:sp>
        <p:nvSpPr>
          <p:cNvPr id="31" name="Textfeld 2">
            <a:extLst>
              <a:ext uri="{FF2B5EF4-FFF2-40B4-BE49-F238E27FC236}">
                <a16:creationId xmlns:a16="http://schemas.microsoft.com/office/drawing/2014/main" id="{2A182160-B9EE-408C-A958-E00F3C668065}"/>
              </a:ext>
            </a:extLst>
          </p:cNvPr>
          <p:cNvSpPr txBox="1"/>
          <p:nvPr/>
        </p:nvSpPr>
        <p:spPr>
          <a:xfrm>
            <a:off x="988432" y="2187019"/>
            <a:ext cx="2537193" cy="477384"/>
          </a:xfrm>
          <a:prstGeom prst="rect">
            <a:avLst/>
          </a:prstGeom>
          <a:noFill/>
          <a:ln w="9525">
            <a:solidFill>
              <a:schemeClr val="tx2"/>
            </a:solidFill>
          </a:ln>
        </p:spPr>
        <p:txBody>
          <a:bodyPr wrap="square" lIns="0" tIns="0" rIns="0" bIns="0" rtlCol="0" anchor="ctr">
            <a:noAutofit/>
          </a:bodyPr>
          <a:lstStyle>
            <a:defPPr>
              <a:defRPr lang="en-US"/>
            </a:defPPr>
            <a:lvl1pPr algn="ctr" defTabSz="481566">
              <a:lnSpc>
                <a:spcPct val="90000"/>
              </a:lnSpc>
              <a:spcAft>
                <a:spcPts val="831"/>
              </a:spcAft>
              <a:defRPr sz="2800" b="1">
                <a:solidFill>
                  <a:schemeClr val="bg1">
                    <a:lumMod val="95000"/>
                  </a:schemeClr>
                </a:solidFill>
                <a:latin typeface="Signify Relative Book" panose="02000506040000020004"/>
              </a:defRPr>
            </a:lvl1pPr>
          </a:lstStyle>
          <a:p>
            <a:r>
              <a:rPr lang="nl-NL" sz="2400" b="0" dirty="0">
                <a:solidFill>
                  <a:schemeClr val="tx2"/>
                </a:solidFill>
              </a:rPr>
              <a:t>Re-Lamping</a:t>
            </a:r>
          </a:p>
        </p:txBody>
      </p:sp>
      <p:sp>
        <p:nvSpPr>
          <p:cNvPr id="101" name="Rechteck 8">
            <a:extLst>
              <a:ext uri="{FF2B5EF4-FFF2-40B4-BE49-F238E27FC236}">
                <a16:creationId xmlns:a16="http://schemas.microsoft.com/office/drawing/2014/main" id="{E0AE1B35-8843-956D-A866-AF765A80767D}"/>
              </a:ext>
            </a:extLst>
          </p:cNvPr>
          <p:cNvSpPr/>
          <p:nvPr/>
        </p:nvSpPr>
        <p:spPr>
          <a:xfrm>
            <a:off x="5569849" y="3220666"/>
            <a:ext cx="6209048" cy="73865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84569" tIns="42284" rIns="84569" bIns="42284" rtlCol="0" anchor="ctr"/>
          <a:lstStyle/>
          <a:p>
            <a:pPr>
              <a:defRPr/>
            </a:pPr>
            <a:r>
              <a:rPr lang="nl-NL" sz="1400" dirty="0">
                <a:solidFill>
                  <a:schemeClr val="tx2"/>
                </a:solidFill>
                <a:latin typeface="Signify Relative Book" panose="02000506040000020004"/>
                <a:ea typeface="+mn-lt"/>
                <a:cs typeface="+mn-lt"/>
              </a:rPr>
              <a:t>Efficiency (fixture)</a:t>
            </a:r>
          </a:p>
        </p:txBody>
      </p:sp>
      <p:sp>
        <p:nvSpPr>
          <p:cNvPr id="102" name="Rechteck 8">
            <a:extLst>
              <a:ext uri="{FF2B5EF4-FFF2-40B4-BE49-F238E27FC236}">
                <a16:creationId xmlns:a16="http://schemas.microsoft.com/office/drawing/2014/main" id="{D2677217-CD80-2266-4FFF-0F17789419C0}"/>
              </a:ext>
            </a:extLst>
          </p:cNvPr>
          <p:cNvSpPr/>
          <p:nvPr/>
        </p:nvSpPr>
        <p:spPr>
          <a:xfrm>
            <a:off x="5569850" y="4049771"/>
            <a:ext cx="6209048" cy="73865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84569" tIns="42284" rIns="84569" bIns="42284" rtlCol="0" anchor="ctr"/>
          <a:lstStyle/>
          <a:p>
            <a:pPr>
              <a:defRPr/>
            </a:pPr>
            <a:r>
              <a:rPr lang="nl-NL" sz="1400" dirty="0">
                <a:solidFill>
                  <a:schemeClr val="tx2"/>
                </a:solidFill>
                <a:latin typeface="Signify Relative Book" panose="02000506040000020004"/>
                <a:ea typeface="+mn-lt"/>
                <a:cs typeface="+mn-lt"/>
              </a:rPr>
              <a:t>Lifetime (fixture)</a:t>
            </a:r>
          </a:p>
        </p:txBody>
      </p:sp>
      <p:sp>
        <p:nvSpPr>
          <p:cNvPr id="103" name="Rechteck 8">
            <a:extLst>
              <a:ext uri="{FF2B5EF4-FFF2-40B4-BE49-F238E27FC236}">
                <a16:creationId xmlns:a16="http://schemas.microsoft.com/office/drawing/2014/main" id="{E45C8A95-32B6-7ED2-ED67-8C030C63247F}"/>
              </a:ext>
            </a:extLst>
          </p:cNvPr>
          <p:cNvSpPr/>
          <p:nvPr/>
        </p:nvSpPr>
        <p:spPr>
          <a:xfrm>
            <a:off x="5569850" y="4890668"/>
            <a:ext cx="6193302" cy="995933"/>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84569" tIns="42284" rIns="84569" bIns="42284" rtlCol="0" anchor="ctr"/>
          <a:lstStyle/>
          <a:p>
            <a:pPr>
              <a:defRPr/>
            </a:pPr>
            <a:r>
              <a:rPr lang="en-US" sz="1400" dirty="0">
                <a:solidFill>
                  <a:schemeClr val="tx2"/>
                </a:solidFill>
                <a:latin typeface="Signify Relative Book" panose="02000506040000020004"/>
                <a:ea typeface="+mn-lt"/>
                <a:cs typeface="+mn-lt"/>
              </a:rPr>
              <a:t>Extras</a:t>
            </a:r>
            <a:r>
              <a:rPr lang="nl-NL" sz="1400" dirty="0">
                <a:solidFill>
                  <a:schemeClr val="tx2"/>
                </a:solidFill>
                <a:latin typeface="Signify Relative Book" panose="02000506040000020004"/>
                <a:ea typeface="+mn-lt"/>
                <a:cs typeface="+mn-lt"/>
              </a:rPr>
              <a:t> </a:t>
            </a:r>
          </a:p>
        </p:txBody>
      </p:sp>
      <p:sp>
        <p:nvSpPr>
          <p:cNvPr id="105" name="Textfeld 2">
            <a:extLst>
              <a:ext uri="{FF2B5EF4-FFF2-40B4-BE49-F238E27FC236}">
                <a16:creationId xmlns:a16="http://schemas.microsoft.com/office/drawing/2014/main" id="{DF48AB7C-6692-F597-B81E-88611B6D86A0}"/>
              </a:ext>
            </a:extLst>
          </p:cNvPr>
          <p:cNvSpPr txBox="1"/>
          <p:nvPr/>
        </p:nvSpPr>
        <p:spPr>
          <a:xfrm>
            <a:off x="4003027" y="1181510"/>
            <a:ext cx="3253858" cy="531616"/>
          </a:xfrm>
          <a:prstGeom prst="rect">
            <a:avLst/>
          </a:prstGeom>
          <a:noFill/>
          <a:ln w="9525">
            <a:solidFill>
              <a:schemeClr val="tx2"/>
            </a:solidFill>
          </a:ln>
        </p:spPr>
        <p:txBody>
          <a:bodyPr wrap="square" lIns="0" tIns="0" rIns="0" bIns="0" rtlCol="0" anchor="ctr">
            <a:noAutofit/>
          </a:bodyPr>
          <a:lstStyle>
            <a:defPPr>
              <a:defRPr lang="en-US"/>
            </a:defPPr>
            <a:lvl1pPr algn="ctr">
              <a:lnSpc>
                <a:spcPct val="90000"/>
              </a:lnSpc>
              <a:spcAft>
                <a:spcPts val="900"/>
              </a:spcAft>
              <a:defRPr sz="2000" b="1">
                <a:solidFill>
                  <a:srgbClr val="717171"/>
                </a:solidFill>
              </a:defRPr>
            </a:lvl1pPr>
          </a:lstStyle>
          <a:p>
            <a:pPr defTabSz="481566">
              <a:spcAft>
                <a:spcPts val="831"/>
              </a:spcAft>
            </a:pPr>
            <a:r>
              <a:rPr lang="nl-NL" sz="2400" b="0" dirty="0">
                <a:solidFill>
                  <a:schemeClr val="tx2"/>
                </a:solidFill>
                <a:latin typeface="Signify Relative Book" panose="02000506040000020004"/>
              </a:rPr>
              <a:t>TL lighting</a:t>
            </a:r>
          </a:p>
        </p:txBody>
      </p:sp>
      <p:sp>
        <p:nvSpPr>
          <p:cNvPr id="115" name="Tekstvak 114">
            <a:extLst>
              <a:ext uri="{FF2B5EF4-FFF2-40B4-BE49-F238E27FC236}">
                <a16:creationId xmlns:a16="http://schemas.microsoft.com/office/drawing/2014/main" id="{BE8EF1BC-EA02-5FF6-C5A3-3B9B900ABEB9}"/>
              </a:ext>
            </a:extLst>
          </p:cNvPr>
          <p:cNvSpPr txBox="1"/>
          <p:nvPr/>
        </p:nvSpPr>
        <p:spPr>
          <a:xfrm>
            <a:off x="9518339" y="5065690"/>
            <a:ext cx="3121324" cy="430748"/>
          </a:xfrm>
          <a:prstGeom prst="rect">
            <a:avLst/>
          </a:prstGeom>
          <a:noFill/>
          <a:ln>
            <a:noFill/>
          </a:ln>
        </p:spPr>
        <p:txBody>
          <a:bodyPr wrap="square" lIns="0" tIns="0" rIns="0" bIns="0" rtlCol="0">
            <a:noAutofit/>
          </a:bodyPr>
          <a:lstStyle/>
          <a:p>
            <a:pPr marL="285750" indent="-285750" algn="l">
              <a:lnSpc>
                <a:spcPct val="90000"/>
              </a:lnSpc>
              <a:spcAft>
                <a:spcPts val="900"/>
              </a:spcAft>
              <a:buFont typeface="Arial" panose="020B0604020202020204" pitchFamily="34" charset="0"/>
              <a:buChar char="•"/>
            </a:pPr>
            <a:r>
              <a:rPr lang="en-US" sz="1400" dirty="0">
                <a:solidFill>
                  <a:schemeClr val="tx2"/>
                </a:solidFill>
                <a:latin typeface="Signify Relative Book" panose="02000506040000020004" pitchFamily="50" charset="0"/>
              </a:rPr>
              <a:t>Higher light comfort</a:t>
            </a:r>
          </a:p>
          <a:p>
            <a:pPr marL="285750" indent="-285750" algn="l">
              <a:lnSpc>
                <a:spcPct val="90000"/>
              </a:lnSpc>
              <a:spcAft>
                <a:spcPts val="900"/>
              </a:spcAft>
              <a:buFont typeface="Arial" panose="020B0604020202020204" pitchFamily="34" charset="0"/>
              <a:buChar char="•"/>
            </a:pPr>
            <a:r>
              <a:rPr lang="en-US" sz="1400" dirty="0">
                <a:solidFill>
                  <a:schemeClr val="tx2"/>
                </a:solidFill>
                <a:latin typeface="Signify Relative Book" panose="02000506040000020004" pitchFamily="50" charset="0"/>
              </a:rPr>
              <a:t>Higher CRI</a:t>
            </a:r>
          </a:p>
          <a:p>
            <a:pPr marL="285750" indent="-285750" algn="l">
              <a:lnSpc>
                <a:spcPct val="90000"/>
              </a:lnSpc>
              <a:spcAft>
                <a:spcPts val="900"/>
              </a:spcAft>
              <a:buFont typeface="Arial" panose="020B0604020202020204" pitchFamily="34" charset="0"/>
              <a:buChar char="•"/>
            </a:pPr>
            <a:r>
              <a:rPr lang="en-US" sz="1400" dirty="0">
                <a:solidFill>
                  <a:schemeClr val="tx2"/>
                </a:solidFill>
                <a:latin typeface="Signify Relative Book" panose="02000506040000020004" pitchFamily="50" charset="0"/>
              </a:rPr>
              <a:t>Wieland plug</a:t>
            </a:r>
          </a:p>
          <a:p>
            <a:pPr algn="l">
              <a:lnSpc>
                <a:spcPct val="90000"/>
              </a:lnSpc>
              <a:spcAft>
                <a:spcPts val="900"/>
              </a:spcAft>
            </a:pPr>
            <a:endParaRPr lang="en-US" sz="1400" dirty="0">
              <a:solidFill>
                <a:schemeClr val="tx2"/>
              </a:solidFill>
              <a:latin typeface="Signify Relative Book" panose="02000506040000020004" pitchFamily="50" charset="0"/>
            </a:endParaRPr>
          </a:p>
        </p:txBody>
      </p:sp>
      <p:sp>
        <p:nvSpPr>
          <p:cNvPr id="33" name="Textfeld 2">
            <a:extLst>
              <a:ext uri="{FF2B5EF4-FFF2-40B4-BE49-F238E27FC236}">
                <a16:creationId xmlns:a16="http://schemas.microsoft.com/office/drawing/2014/main" id="{E8FE0C70-E32E-4838-87DC-F639C9597993}"/>
              </a:ext>
            </a:extLst>
          </p:cNvPr>
          <p:cNvSpPr txBox="1"/>
          <p:nvPr/>
        </p:nvSpPr>
        <p:spPr>
          <a:xfrm>
            <a:off x="7956223" y="2208688"/>
            <a:ext cx="3431356" cy="453266"/>
          </a:xfrm>
          <a:prstGeom prst="rect">
            <a:avLst/>
          </a:prstGeom>
          <a:noFill/>
          <a:ln w="12700">
            <a:solidFill>
              <a:schemeClr val="tx2"/>
            </a:solidFill>
          </a:ln>
        </p:spPr>
        <p:txBody>
          <a:bodyPr wrap="square" lIns="0" tIns="0" rIns="0" bIns="0" rtlCol="0" anchor="ctr">
            <a:noAutofit/>
          </a:bodyPr>
          <a:lstStyle>
            <a:defPPr>
              <a:defRPr lang="en-US"/>
            </a:defPPr>
            <a:lvl1pPr algn="ctr">
              <a:lnSpc>
                <a:spcPct val="90000"/>
              </a:lnSpc>
              <a:spcAft>
                <a:spcPts val="900"/>
              </a:spcAft>
              <a:defRPr sz="2000" b="1">
                <a:solidFill>
                  <a:srgbClr val="717171"/>
                </a:solidFill>
              </a:defRPr>
            </a:lvl1pPr>
          </a:lstStyle>
          <a:p>
            <a:pPr defTabSz="481566">
              <a:spcAft>
                <a:spcPts val="831"/>
              </a:spcAft>
            </a:pPr>
            <a:r>
              <a:rPr lang="nl-NL" sz="2400" b="0" dirty="0">
                <a:solidFill>
                  <a:schemeClr val="tx2"/>
                </a:solidFill>
                <a:latin typeface="Signify Relative Book" panose="02000506040000020004"/>
              </a:rPr>
              <a:t>Re-Lighting</a:t>
            </a:r>
          </a:p>
        </p:txBody>
      </p:sp>
      <p:grpSp>
        <p:nvGrpSpPr>
          <p:cNvPr id="120" name="Group 119">
            <a:extLst>
              <a:ext uri="{FF2B5EF4-FFF2-40B4-BE49-F238E27FC236}">
                <a16:creationId xmlns:a16="http://schemas.microsoft.com/office/drawing/2014/main" id="{344C00B1-6010-956D-727D-68B06DCBC128}"/>
              </a:ext>
            </a:extLst>
          </p:cNvPr>
          <p:cNvGrpSpPr/>
          <p:nvPr/>
        </p:nvGrpSpPr>
        <p:grpSpPr>
          <a:xfrm>
            <a:off x="7574400" y="2892213"/>
            <a:ext cx="4141181" cy="345208"/>
            <a:chOff x="7688666" y="2985148"/>
            <a:chExt cx="4141181" cy="345208"/>
          </a:xfrm>
        </p:grpSpPr>
        <p:sp>
          <p:nvSpPr>
            <p:cNvPr id="96" name="Textfeld 2">
              <a:extLst>
                <a:ext uri="{FF2B5EF4-FFF2-40B4-BE49-F238E27FC236}">
                  <a16:creationId xmlns:a16="http://schemas.microsoft.com/office/drawing/2014/main" id="{21D7DC22-20A5-D1AA-BFE3-605175459188}"/>
                </a:ext>
              </a:extLst>
            </p:cNvPr>
            <p:cNvSpPr txBox="1"/>
            <p:nvPr/>
          </p:nvSpPr>
          <p:spPr>
            <a:xfrm>
              <a:off x="7688666" y="2985148"/>
              <a:ext cx="1271883" cy="333957"/>
            </a:xfrm>
            <a:prstGeom prst="rect">
              <a:avLst/>
            </a:prstGeom>
            <a:noFill/>
            <a:ln w="38100">
              <a:noFill/>
            </a:ln>
          </p:spPr>
          <p:txBody>
            <a:bodyPr wrap="square" lIns="0" tIns="0" rIns="0" bIns="0" rtlCol="0" anchor="ctr">
              <a:noAutofit/>
            </a:bodyPr>
            <a:lstStyle>
              <a:defPPr>
                <a:defRPr lang="en-US"/>
              </a:defPPr>
              <a:lvl1pPr algn="ctr">
                <a:lnSpc>
                  <a:spcPct val="90000"/>
                </a:lnSpc>
                <a:spcAft>
                  <a:spcPts val="900"/>
                </a:spcAft>
                <a:defRPr sz="2000" b="1">
                  <a:solidFill>
                    <a:srgbClr val="717171"/>
                  </a:solidFill>
                </a:defRPr>
              </a:lvl1pPr>
            </a:lstStyle>
            <a:p>
              <a:pPr defTabSz="481566">
                <a:spcAft>
                  <a:spcPts val="831"/>
                </a:spcAft>
              </a:pPr>
              <a:r>
                <a:rPr lang="nl-NL" sz="1600" b="0" dirty="0">
                  <a:solidFill>
                    <a:schemeClr val="tx2"/>
                  </a:solidFill>
                  <a:latin typeface="Signify Relative Book" panose="02000506040000020004"/>
                </a:rPr>
                <a:t>Good</a:t>
              </a:r>
            </a:p>
          </p:txBody>
        </p:sp>
        <p:sp>
          <p:nvSpPr>
            <p:cNvPr id="99" name="Textfeld 2">
              <a:extLst>
                <a:ext uri="{FF2B5EF4-FFF2-40B4-BE49-F238E27FC236}">
                  <a16:creationId xmlns:a16="http://schemas.microsoft.com/office/drawing/2014/main" id="{443E855B-BEC2-81C5-CCE1-E8D84447900D}"/>
                </a:ext>
              </a:extLst>
            </p:cNvPr>
            <p:cNvSpPr txBox="1"/>
            <p:nvPr/>
          </p:nvSpPr>
          <p:spPr>
            <a:xfrm>
              <a:off x="8981731" y="2996399"/>
              <a:ext cx="1421451" cy="333957"/>
            </a:xfrm>
            <a:prstGeom prst="rect">
              <a:avLst/>
            </a:prstGeom>
            <a:noFill/>
            <a:ln w="38100">
              <a:noFill/>
            </a:ln>
          </p:spPr>
          <p:txBody>
            <a:bodyPr wrap="square" lIns="0" tIns="0" rIns="0" bIns="0" rtlCol="0" anchor="ctr">
              <a:noAutofit/>
            </a:bodyPr>
            <a:lstStyle>
              <a:defPPr>
                <a:defRPr lang="en-US"/>
              </a:defPPr>
              <a:lvl1pPr algn="ctr">
                <a:lnSpc>
                  <a:spcPct val="90000"/>
                </a:lnSpc>
                <a:spcAft>
                  <a:spcPts val="900"/>
                </a:spcAft>
                <a:defRPr sz="2000" b="1">
                  <a:solidFill>
                    <a:srgbClr val="717171"/>
                  </a:solidFill>
                </a:defRPr>
              </a:lvl1pPr>
            </a:lstStyle>
            <a:p>
              <a:pPr defTabSz="481566">
                <a:spcAft>
                  <a:spcPts val="831"/>
                </a:spcAft>
              </a:pPr>
              <a:r>
                <a:rPr lang="nl-NL" sz="1600" b="0" dirty="0">
                  <a:solidFill>
                    <a:schemeClr val="tx2"/>
                  </a:solidFill>
                  <a:latin typeface="Signify Relative Book" panose="02000506040000020004"/>
                </a:rPr>
                <a:t>Better</a:t>
              </a:r>
            </a:p>
          </p:txBody>
        </p:sp>
        <p:sp>
          <p:nvSpPr>
            <p:cNvPr id="100" name="Textfeld 2">
              <a:extLst>
                <a:ext uri="{FF2B5EF4-FFF2-40B4-BE49-F238E27FC236}">
                  <a16:creationId xmlns:a16="http://schemas.microsoft.com/office/drawing/2014/main" id="{7C968C47-6310-E386-A745-46673DD4FB54}"/>
                </a:ext>
              </a:extLst>
            </p:cNvPr>
            <p:cNvSpPr txBox="1"/>
            <p:nvPr/>
          </p:nvSpPr>
          <p:spPr>
            <a:xfrm>
              <a:off x="10557964" y="2996399"/>
              <a:ext cx="1271883" cy="333957"/>
            </a:xfrm>
            <a:prstGeom prst="rect">
              <a:avLst/>
            </a:prstGeom>
            <a:noFill/>
            <a:ln w="38100">
              <a:noFill/>
            </a:ln>
          </p:spPr>
          <p:txBody>
            <a:bodyPr wrap="square" lIns="0" tIns="0" rIns="0" bIns="0" rtlCol="0" anchor="ctr">
              <a:noAutofit/>
            </a:bodyPr>
            <a:lstStyle>
              <a:defPPr>
                <a:defRPr lang="en-US"/>
              </a:defPPr>
              <a:lvl1pPr algn="ctr">
                <a:lnSpc>
                  <a:spcPct val="90000"/>
                </a:lnSpc>
                <a:spcAft>
                  <a:spcPts val="900"/>
                </a:spcAft>
                <a:defRPr sz="2000" b="1">
                  <a:solidFill>
                    <a:srgbClr val="717171"/>
                  </a:solidFill>
                </a:defRPr>
              </a:lvl1pPr>
            </a:lstStyle>
            <a:p>
              <a:pPr defTabSz="481566">
                <a:spcAft>
                  <a:spcPts val="831"/>
                </a:spcAft>
              </a:pPr>
              <a:r>
                <a:rPr lang="nl-NL" sz="1600" b="0" dirty="0">
                  <a:solidFill>
                    <a:schemeClr val="tx2"/>
                  </a:solidFill>
                  <a:latin typeface="Signify Relative Book" panose="02000506040000020004"/>
                </a:rPr>
                <a:t>Best</a:t>
              </a:r>
              <a:endParaRPr lang="nl-NL" sz="1600" b="0" dirty="0">
                <a:solidFill>
                  <a:schemeClr val="tx2"/>
                </a:solidFill>
                <a:highlight>
                  <a:srgbClr val="FFFF00"/>
                </a:highlight>
                <a:latin typeface="Signify Relative Book" panose="02000506040000020004"/>
              </a:endParaRPr>
            </a:p>
          </p:txBody>
        </p:sp>
      </p:grpSp>
      <p:cxnSp>
        <p:nvCxnSpPr>
          <p:cNvPr id="11" name="Straight Arrow Connector 10">
            <a:extLst>
              <a:ext uri="{FF2B5EF4-FFF2-40B4-BE49-F238E27FC236}">
                <a16:creationId xmlns:a16="http://schemas.microsoft.com/office/drawing/2014/main" id="{8F082DFA-BA32-35D9-3734-4A8D3D162DDD}"/>
              </a:ext>
            </a:extLst>
          </p:cNvPr>
          <p:cNvCxnSpPr>
            <a:cxnSpLocks/>
          </p:cNvCxnSpPr>
          <p:nvPr/>
        </p:nvCxnSpPr>
        <p:spPr>
          <a:xfrm flipH="1">
            <a:off x="3742442" y="1857135"/>
            <a:ext cx="1121789" cy="590195"/>
          </a:xfrm>
          <a:prstGeom prst="straightConnector1">
            <a:avLst/>
          </a:prstGeom>
          <a:ln w="57150">
            <a:solidFill>
              <a:schemeClr val="accent3"/>
            </a:solidFill>
            <a:tailEnd type="triangle"/>
          </a:ln>
        </p:spPr>
        <p:style>
          <a:lnRef idx="1">
            <a:schemeClr val="accent3"/>
          </a:lnRef>
          <a:fillRef idx="0">
            <a:schemeClr val="accent3"/>
          </a:fillRef>
          <a:effectRef idx="0">
            <a:schemeClr val="accent3"/>
          </a:effectRef>
          <a:fontRef idx="minor">
            <a:schemeClr val="tx1"/>
          </a:fontRef>
        </p:style>
      </p:cxnSp>
      <p:cxnSp>
        <p:nvCxnSpPr>
          <p:cNvPr id="14" name="Straight Arrow Connector 13">
            <a:extLst>
              <a:ext uri="{FF2B5EF4-FFF2-40B4-BE49-F238E27FC236}">
                <a16:creationId xmlns:a16="http://schemas.microsoft.com/office/drawing/2014/main" id="{946D7645-8AE8-3CFB-29AD-398A906473A4}"/>
              </a:ext>
            </a:extLst>
          </p:cNvPr>
          <p:cNvCxnSpPr>
            <a:cxnSpLocks/>
          </p:cNvCxnSpPr>
          <p:nvPr/>
        </p:nvCxnSpPr>
        <p:spPr>
          <a:xfrm>
            <a:off x="6712497" y="1857135"/>
            <a:ext cx="1026909" cy="590195"/>
          </a:xfrm>
          <a:prstGeom prst="straightConnector1">
            <a:avLst/>
          </a:prstGeom>
          <a:ln w="57150">
            <a:solidFill>
              <a:schemeClr val="accent3"/>
            </a:solidFill>
            <a:tailEnd type="triangle"/>
          </a:ln>
        </p:spPr>
        <p:style>
          <a:lnRef idx="1">
            <a:schemeClr val="accent3"/>
          </a:lnRef>
          <a:fillRef idx="0">
            <a:schemeClr val="accent3"/>
          </a:fillRef>
          <a:effectRef idx="0">
            <a:schemeClr val="accent3"/>
          </a:effectRef>
          <a:fontRef idx="minor">
            <a:schemeClr val="tx1"/>
          </a:fontRef>
        </p:style>
      </p:cxnSp>
      <p:grpSp>
        <p:nvGrpSpPr>
          <p:cNvPr id="121" name="Group 120">
            <a:extLst>
              <a:ext uri="{FF2B5EF4-FFF2-40B4-BE49-F238E27FC236}">
                <a16:creationId xmlns:a16="http://schemas.microsoft.com/office/drawing/2014/main" id="{EFE388A3-20DD-BCA9-79B2-A81B7C57EF1D}"/>
              </a:ext>
            </a:extLst>
          </p:cNvPr>
          <p:cNvGrpSpPr/>
          <p:nvPr/>
        </p:nvGrpSpPr>
        <p:grpSpPr>
          <a:xfrm>
            <a:off x="8537836" y="3281173"/>
            <a:ext cx="2849743" cy="642641"/>
            <a:chOff x="8229258" y="3283198"/>
            <a:chExt cx="2849743" cy="642641"/>
          </a:xfrm>
        </p:grpSpPr>
        <p:cxnSp>
          <p:nvCxnSpPr>
            <p:cNvPr id="41" name="Connector: Elbow 40">
              <a:extLst>
                <a:ext uri="{FF2B5EF4-FFF2-40B4-BE49-F238E27FC236}">
                  <a16:creationId xmlns:a16="http://schemas.microsoft.com/office/drawing/2014/main" id="{7D3FEBA7-42BA-1330-463B-08308C76DA44}"/>
                </a:ext>
              </a:extLst>
            </p:cNvPr>
            <p:cNvCxnSpPr>
              <a:cxnSpLocks/>
            </p:cNvCxnSpPr>
            <p:nvPr/>
          </p:nvCxnSpPr>
          <p:spPr>
            <a:xfrm flipV="1">
              <a:off x="8229258" y="3705873"/>
              <a:ext cx="1205425" cy="219966"/>
            </a:xfrm>
            <a:prstGeom prst="bentConnector3">
              <a:avLst>
                <a:gd name="adj1" fmla="val 50000"/>
              </a:avLst>
            </a:prstGeom>
            <a:ln w="38100">
              <a:noFill/>
              <a:tailEnd type="triangl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7D373266-AF1D-BC26-594E-1F8FEF65AF8C}"/>
                </a:ext>
              </a:extLst>
            </p:cNvPr>
            <p:cNvSpPr txBox="1"/>
            <p:nvPr/>
          </p:nvSpPr>
          <p:spPr>
            <a:xfrm>
              <a:off x="9100329" y="3449062"/>
              <a:ext cx="563401" cy="366841"/>
            </a:xfrm>
            <a:prstGeom prst="rect">
              <a:avLst/>
            </a:prstGeom>
            <a:noFill/>
            <a:ln>
              <a:noFill/>
            </a:ln>
          </p:spPr>
          <p:txBody>
            <a:bodyPr wrap="square" lIns="0" tIns="0" rIns="0" bIns="0" rtlCol="0">
              <a:noAutofit/>
            </a:bodyPr>
            <a:lstStyle/>
            <a:p>
              <a:pPr algn="l"/>
              <a:r>
                <a:rPr lang="en-US" sz="1400" dirty="0">
                  <a:solidFill>
                    <a:schemeClr val="tx2"/>
                  </a:solidFill>
                  <a:latin typeface="Signify Relative Bold" panose="02000806030000020004" pitchFamily="50" charset="0"/>
                </a:rPr>
                <a:t>+15%</a:t>
              </a:r>
              <a:endParaRPr lang="en-BE" sz="1400" dirty="0">
                <a:solidFill>
                  <a:schemeClr val="tx2"/>
                </a:solidFill>
                <a:latin typeface="Signify Relative Bold" panose="02000806030000020004" pitchFamily="50" charset="0"/>
              </a:endParaRPr>
            </a:p>
          </p:txBody>
        </p:sp>
        <p:cxnSp>
          <p:nvCxnSpPr>
            <p:cNvPr id="49" name="Connector: Elbow 48">
              <a:extLst>
                <a:ext uri="{FF2B5EF4-FFF2-40B4-BE49-F238E27FC236}">
                  <a16:creationId xmlns:a16="http://schemas.microsoft.com/office/drawing/2014/main" id="{143B259C-F378-F889-C87C-21C84552D64C}"/>
                </a:ext>
              </a:extLst>
            </p:cNvPr>
            <p:cNvCxnSpPr>
              <a:cxnSpLocks/>
            </p:cNvCxnSpPr>
            <p:nvPr/>
          </p:nvCxnSpPr>
          <p:spPr>
            <a:xfrm flipV="1">
              <a:off x="9833394" y="3507253"/>
              <a:ext cx="1082656" cy="246031"/>
            </a:xfrm>
            <a:prstGeom prst="bentConnector3">
              <a:avLst>
                <a:gd name="adj1" fmla="val 50000"/>
              </a:avLst>
            </a:prstGeom>
            <a:ln w="38100">
              <a:noFill/>
              <a:tailEnd type="triangle"/>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425F35D8-A583-9308-07C7-3BE8BB987A19}"/>
                </a:ext>
              </a:extLst>
            </p:cNvPr>
            <p:cNvSpPr txBox="1"/>
            <p:nvPr/>
          </p:nvSpPr>
          <p:spPr>
            <a:xfrm>
              <a:off x="10515600" y="3283198"/>
              <a:ext cx="563401" cy="366841"/>
            </a:xfrm>
            <a:prstGeom prst="rect">
              <a:avLst/>
            </a:prstGeom>
            <a:noFill/>
            <a:ln>
              <a:noFill/>
            </a:ln>
          </p:spPr>
          <p:txBody>
            <a:bodyPr wrap="square" lIns="0" tIns="0" rIns="0" bIns="0" rtlCol="0">
              <a:noAutofit/>
            </a:bodyPr>
            <a:lstStyle/>
            <a:p>
              <a:pPr algn="l"/>
              <a:r>
                <a:rPr lang="en-US" sz="1400" dirty="0">
                  <a:solidFill>
                    <a:schemeClr val="tx2"/>
                  </a:solidFill>
                  <a:latin typeface="Signify Relative Bold" panose="02000806030000020004" pitchFamily="50" charset="0"/>
                </a:rPr>
                <a:t>+15%</a:t>
              </a:r>
              <a:endParaRPr lang="en-BE" sz="1400" dirty="0">
                <a:solidFill>
                  <a:schemeClr val="tx2"/>
                </a:solidFill>
                <a:latin typeface="Signify Relative Bold" panose="02000806030000020004" pitchFamily="50" charset="0"/>
              </a:endParaRPr>
            </a:p>
          </p:txBody>
        </p:sp>
      </p:grpSp>
      <p:grpSp>
        <p:nvGrpSpPr>
          <p:cNvPr id="122" name="Group 121">
            <a:extLst>
              <a:ext uri="{FF2B5EF4-FFF2-40B4-BE49-F238E27FC236}">
                <a16:creationId xmlns:a16="http://schemas.microsoft.com/office/drawing/2014/main" id="{B2A45A23-007B-F367-E97B-2B70CDD6D871}"/>
              </a:ext>
            </a:extLst>
          </p:cNvPr>
          <p:cNvGrpSpPr/>
          <p:nvPr/>
        </p:nvGrpSpPr>
        <p:grpSpPr>
          <a:xfrm>
            <a:off x="7467001" y="4152248"/>
            <a:ext cx="3833214" cy="412618"/>
            <a:chOff x="7467001" y="4152248"/>
            <a:chExt cx="3833214" cy="412618"/>
          </a:xfrm>
        </p:grpSpPr>
        <p:grpSp>
          <p:nvGrpSpPr>
            <p:cNvPr id="8" name="Groep 7">
              <a:extLst>
                <a:ext uri="{FF2B5EF4-FFF2-40B4-BE49-F238E27FC236}">
                  <a16:creationId xmlns:a16="http://schemas.microsoft.com/office/drawing/2014/main" id="{7F5E97D5-7C42-7360-44E9-8ED3FDFA3236}"/>
                </a:ext>
              </a:extLst>
            </p:cNvPr>
            <p:cNvGrpSpPr/>
            <p:nvPr/>
          </p:nvGrpSpPr>
          <p:grpSpPr>
            <a:xfrm>
              <a:off x="7467001" y="4217177"/>
              <a:ext cx="3833214" cy="342919"/>
              <a:chOff x="7055498" y="4457854"/>
              <a:chExt cx="3833214" cy="342919"/>
            </a:xfrm>
          </p:grpSpPr>
          <p:sp>
            <p:nvSpPr>
              <p:cNvPr id="16" name="Tekstvak 15">
                <a:extLst>
                  <a:ext uri="{FF2B5EF4-FFF2-40B4-BE49-F238E27FC236}">
                    <a16:creationId xmlns:a16="http://schemas.microsoft.com/office/drawing/2014/main" id="{431F0B37-B860-DA5E-8305-ADCBB5441B27}"/>
                  </a:ext>
                </a:extLst>
              </p:cNvPr>
              <p:cNvSpPr txBox="1"/>
              <p:nvPr/>
            </p:nvSpPr>
            <p:spPr>
              <a:xfrm>
                <a:off x="7055498" y="4466816"/>
                <a:ext cx="1607759" cy="333957"/>
              </a:xfrm>
              <a:prstGeom prst="rect">
                <a:avLst/>
              </a:prstGeom>
              <a:noFill/>
              <a:ln>
                <a:noFill/>
              </a:ln>
            </p:spPr>
            <p:txBody>
              <a:bodyPr wrap="square" lIns="0" tIns="0" rIns="0" bIns="0" rtlCol="0">
                <a:noAutofit/>
              </a:bodyPr>
              <a:lstStyle/>
              <a:p>
                <a:pPr algn="ctr">
                  <a:lnSpc>
                    <a:spcPct val="90000"/>
                  </a:lnSpc>
                  <a:spcAft>
                    <a:spcPts val="900"/>
                  </a:spcAft>
                </a:pPr>
                <a:r>
                  <a:rPr lang="en-US" sz="1400" dirty="0">
                    <a:solidFill>
                      <a:schemeClr val="tx2"/>
                    </a:solidFill>
                    <a:latin typeface="Signify Relative Book" panose="02000506040000020004" pitchFamily="50" charset="0"/>
                  </a:rPr>
                  <a:t>50 000h</a:t>
                </a:r>
              </a:p>
              <a:p>
                <a:pPr algn="ctr">
                  <a:lnSpc>
                    <a:spcPct val="90000"/>
                  </a:lnSpc>
                  <a:spcAft>
                    <a:spcPts val="900"/>
                  </a:spcAft>
                </a:pPr>
                <a:r>
                  <a:rPr lang="en-US" sz="1400" dirty="0">
                    <a:solidFill>
                      <a:schemeClr val="tx2"/>
                    </a:solidFill>
                    <a:latin typeface="Signify Relative Book" panose="02000506040000020004" pitchFamily="50" charset="0"/>
                  </a:rPr>
                  <a:t>L70B50</a:t>
                </a:r>
                <a:endParaRPr lang="nl-NL" sz="1800" dirty="0" err="1">
                  <a:solidFill>
                    <a:schemeClr val="tx2"/>
                  </a:solidFill>
                  <a:latin typeface="Signify Relative Book" panose="02000506040000020004" pitchFamily="50" charset="0"/>
                </a:endParaRPr>
              </a:p>
            </p:txBody>
          </p:sp>
          <p:sp>
            <p:nvSpPr>
              <p:cNvPr id="113" name="Tekstvak 112">
                <a:extLst>
                  <a:ext uri="{FF2B5EF4-FFF2-40B4-BE49-F238E27FC236}">
                    <a16:creationId xmlns:a16="http://schemas.microsoft.com/office/drawing/2014/main" id="{15A4E3B5-0C23-0EAF-50A1-DC53F4B8FDC2}"/>
                  </a:ext>
                </a:extLst>
              </p:cNvPr>
              <p:cNvSpPr txBox="1"/>
              <p:nvPr/>
            </p:nvSpPr>
            <p:spPr>
              <a:xfrm>
                <a:off x="9280953" y="4457854"/>
                <a:ext cx="1607759" cy="333957"/>
              </a:xfrm>
              <a:prstGeom prst="rect">
                <a:avLst/>
              </a:prstGeom>
              <a:noFill/>
              <a:ln>
                <a:noFill/>
              </a:ln>
            </p:spPr>
            <p:txBody>
              <a:bodyPr wrap="square" lIns="0" tIns="0" rIns="0" bIns="0" rtlCol="0">
                <a:noAutofit/>
              </a:bodyPr>
              <a:lstStyle/>
              <a:p>
                <a:pPr algn="ctr">
                  <a:lnSpc>
                    <a:spcPct val="90000"/>
                  </a:lnSpc>
                  <a:spcAft>
                    <a:spcPts val="900"/>
                  </a:spcAft>
                </a:pPr>
                <a:r>
                  <a:rPr lang="en-US" sz="1400" dirty="0">
                    <a:solidFill>
                      <a:schemeClr val="tx2"/>
                    </a:solidFill>
                    <a:latin typeface="Signify Relative Book" panose="02000506040000020004" pitchFamily="50" charset="0"/>
                  </a:rPr>
                  <a:t>70 000h</a:t>
                </a:r>
              </a:p>
              <a:p>
                <a:pPr algn="ctr">
                  <a:lnSpc>
                    <a:spcPct val="90000"/>
                  </a:lnSpc>
                  <a:spcAft>
                    <a:spcPts val="900"/>
                  </a:spcAft>
                </a:pPr>
                <a:r>
                  <a:rPr lang="en-US" sz="1400" dirty="0">
                    <a:solidFill>
                      <a:schemeClr val="tx2"/>
                    </a:solidFill>
                    <a:latin typeface="Signify Relative Book" panose="02000506040000020004" pitchFamily="50" charset="0"/>
                  </a:rPr>
                  <a:t> L70B50</a:t>
                </a:r>
                <a:endParaRPr lang="nl-NL" sz="1400" dirty="0" err="1">
                  <a:solidFill>
                    <a:schemeClr val="tx2"/>
                  </a:solidFill>
                  <a:latin typeface="Signify Relative Book" panose="02000506040000020004" pitchFamily="50" charset="0"/>
                </a:endParaRPr>
              </a:p>
            </p:txBody>
          </p:sp>
        </p:grpSp>
        <p:cxnSp>
          <p:nvCxnSpPr>
            <p:cNvPr id="59" name="Straight Arrow Connector 58">
              <a:extLst>
                <a:ext uri="{FF2B5EF4-FFF2-40B4-BE49-F238E27FC236}">
                  <a16:creationId xmlns:a16="http://schemas.microsoft.com/office/drawing/2014/main" id="{661E732C-8C3F-35F9-E01B-C964D712F56C}"/>
                </a:ext>
              </a:extLst>
            </p:cNvPr>
            <p:cNvCxnSpPr>
              <a:cxnSpLocks/>
            </p:cNvCxnSpPr>
            <p:nvPr/>
          </p:nvCxnSpPr>
          <p:spPr>
            <a:xfrm flipV="1">
              <a:off x="8908450" y="4321537"/>
              <a:ext cx="933160" cy="243329"/>
            </a:xfrm>
            <a:prstGeom prst="straightConnector1">
              <a:avLst/>
            </a:prstGeom>
            <a:ln w="381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90CE38B2-3782-63D4-5569-9D254FE837E3}"/>
                </a:ext>
              </a:extLst>
            </p:cNvPr>
            <p:cNvSpPr txBox="1"/>
            <p:nvPr/>
          </p:nvSpPr>
          <p:spPr>
            <a:xfrm>
              <a:off x="9067438" y="4152248"/>
              <a:ext cx="563401" cy="366841"/>
            </a:xfrm>
            <a:prstGeom prst="rect">
              <a:avLst/>
            </a:prstGeom>
            <a:noFill/>
            <a:ln>
              <a:noFill/>
            </a:ln>
          </p:spPr>
          <p:txBody>
            <a:bodyPr wrap="square" lIns="0" tIns="0" rIns="0" bIns="0" rtlCol="0">
              <a:noAutofit/>
            </a:bodyPr>
            <a:lstStyle/>
            <a:p>
              <a:pPr algn="l"/>
              <a:r>
                <a:rPr lang="en-US" sz="1400" dirty="0">
                  <a:solidFill>
                    <a:schemeClr val="tx2"/>
                  </a:solidFill>
                  <a:latin typeface="Signify Relative Bold" panose="02000806030000020004" pitchFamily="50" charset="0"/>
                </a:rPr>
                <a:t>+40%</a:t>
              </a:r>
              <a:endParaRPr lang="en-BE" sz="1400" dirty="0">
                <a:solidFill>
                  <a:schemeClr val="tx2"/>
                </a:solidFill>
                <a:latin typeface="Signify Relative Bold" panose="02000806030000020004" pitchFamily="50" charset="0"/>
              </a:endParaRPr>
            </a:p>
          </p:txBody>
        </p:sp>
      </p:grpSp>
      <p:sp>
        <p:nvSpPr>
          <p:cNvPr id="109" name="Rechteck 8">
            <a:extLst>
              <a:ext uri="{FF2B5EF4-FFF2-40B4-BE49-F238E27FC236}">
                <a16:creationId xmlns:a16="http://schemas.microsoft.com/office/drawing/2014/main" id="{A4953BD5-B5C7-FC8B-D8BB-FA14C342F52F}"/>
              </a:ext>
            </a:extLst>
          </p:cNvPr>
          <p:cNvSpPr/>
          <p:nvPr/>
        </p:nvSpPr>
        <p:spPr>
          <a:xfrm>
            <a:off x="1480254" y="4334295"/>
            <a:ext cx="3298341" cy="5245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4569" tIns="42284" rIns="84569" bIns="42284" rtlCol="0" anchor="ctr"/>
          <a:lstStyle/>
          <a:p>
            <a:pPr>
              <a:defRPr/>
            </a:pPr>
            <a:endParaRPr lang="nl-NL" sz="1800" dirty="0">
              <a:solidFill>
                <a:schemeClr val="tx2"/>
              </a:solidFill>
              <a:latin typeface="Signify Relative Book" panose="02000506040000020004"/>
              <a:ea typeface="+mn-lt"/>
              <a:cs typeface="+mn-lt"/>
            </a:endParaRPr>
          </a:p>
        </p:txBody>
      </p:sp>
      <p:sp>
        <p:nvSpPr>
          <p:cNvPr id="110" name="Rechteck 8">
            <a:extLst>
              <a:ext uri="{FF2B5EF4-FFF2-40B4-BE49-F238E27FC236}">
                <a16:creationId xmlns:a16="http://schemas.microsoft.com/office/drawing/2014/main" id="{DC73CC40-C423-3FBA-CB4F-B2BBB6668811}"/>
              </a:ext>
            </a:extLst>
          </p:cNvPr>
          <p:cNvSpPr/>
          <p:nvPr/>
        </p:nvSpPr>
        <p:spPr>
          <a:xfrm>
            <a:off x="1633940" y="3824757"/>
            <a:ext cx="3298341" cy="5253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4569" tIns="42284" rIns="84569" bIns="42284" rtlCol="0" anchor="ctr"/>
          <a:lstStyle/>
          <a:p>
            <a:pPr>
              <a:defRPr/>
            </a:pPr>
            <a:endParaRPr lang="nl-NL" sz="2000" dirty="0">
              <a:solidFill>
                <a:schemeClr val="tx2"/>
              </a:solidFill>
              <a:latin typeface="Signify Relative Book" panose="02000506040000020004"/>
              <a:ea typeface="+mn-lt"/>
              <a:cs typeface="+mn-lt"/>
            </a:endParaRPr>
          </a:p>
        </p:txBody>
      </p:sp>
      <p:sp>
        <p:nvSpPr>
          <p:cNvPr id="7" name="Rechteck 8">
            <a:extLst>
              <a:ext uri="{FF2B5EF4-FFF2-40B4-BE49-F238E27FC236}">
                <a16:creationId xmlns:a16="http://schemas.microsoft.com/office/drawing/2014/main" id="{C95EC95F-715E-09BC-5B61-B899F8DF0A5A}"/>
              </a:ext>
            </a:extLst>
          </p:cNvPr>
          <p:cNvSpPr/>
          <p:nvPr/>
        </p:nvSpPr>
        <p:spPr>
          <a:xfrm>
            <a:off x="1571154" y="3244580"/>
            <a:ext cx="3548871" cy="5253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4569" tIns="42284" rIns="84569" bIns="42284" rtlCol="0" anchor="ctr"/>
          <a:lstStyle/>
          <a:p>
            <a:pPr>
              <a:defRPr/>
            </a:pPr>
            <a:endParaRPr lang="nl-NL" sz="2000" dirty="0">
              <a:solidFill>
                <a:schemeClr val="tx2"/>
              </a:solidFill>
              <a:latin typeface="Signify Relative Book" panose="02000506040000020004"/>
              <a:ea typeface="+mn-lt"/>
              <a:cs typeface="+mn-lt"/>
            </a:endParaRPr>
          </a:p>
        </p:txBody>
      </p:sp>
      <p:cxnSp>
        <p:nvCxnSpPr>
          <p:cNvPr id="17" name="Connector: Elbow 16">
            <a:extLst>
              <a:ext uri="{FF2B5EF4-FFF2-40B4-BE49-F238E27FC236}">
                <a16:creationId xmlns:a16="http://schemas.microsoft.com/office/drawing/2014/main" id="{124B6466-3C1C-600D-5869-621932069EC1}"/>
              </a:ext>
            </a:extLst>
          </p:cNvPr>
          <p:cNvCxnSpPr>
            <a:cxnSpLocks/>
          </p:cNvCxnSpPr>
          <p:nvPr/>
        </p:nvCxnSpPr>
        <p:spPr>
          <a:xfrm flipV="1">
            <a:off x="8424075" y="3628243"/>
            <a:ext cx="925063" cy="215069"/>
          </a:xfrm>
          <a:prstGeom prst="bentConnector3">
            <a:avLst/>
          </a:prstGeom>
          <a:ln w="381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1C467196-D9BD-1150-90CA-15D31F0C9816}"/>
              </a:ext>
            </a:extLst>
          </p:cNvPr>
          <p:cNvCxnSpPr/>
          <p:nvPr/>
        </p:nvCxnSpPr>
        <p:spPr>
          <a:xfrm flipV="1">
            <a:off x="9899115" y="3431729"/>
            <a:ext cx="811302" cy="196514"/>
          </a:xfrm>
          <a:prstGeom prst="bentConnector3">
            <a:avLst/>
          </a:prstGeom>
          <a:ln w="381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63907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2103CC2B-CFFF-44EE-9581-49CED764E4C5}"/>
              </a:ext>
            </a:extLst>
          </p:cNvPr>
          <p:cNvSpPr>
            <a:spLocks noGrp="1"/>
          </p:cNvSpPr>
          <p:nvPr>
            <p:ph type="title"/>
          </p:nvPr>
        </p:nvSpPr>
        <p:spPr/>
        <p:txBody>
          <a:bodyPr/>
          <a:lstStyle/>
          <a:p>
            <a:br>
              <a:rPr sz="2800" dirty="0">
                <a:solidFill>
                  <a:schemeClr val="tx2"/>
                </a:solidFill>
              </a:rPr>
            </a:br>
            <a:endParaRPr lang="en-US" sz="2800" dirty="0">
              <a:solidFill>
                <a:schemeClr val="tx2"/>
              </a:solidFill>
            </a:endParaRPr>
          </a:p>
        </p:txBody>
      </p:sp>
      <p:sp>
        <p:nvSpPr>
          <p:cNvPr id="40" name="Tekstvak 39">
            <a:extLst>
              <a:ext uri="{FF2B5EF4-FFF2-40B4-BE49-F238E27FC236}">
                <a16:creationId xmlns:a16="http://schemas.microsoft.com/office/drawing/2014/main" id="{0E77A5CF-0F32-AD00-3917-404E46C6A5B6}"/>
              </a:ext>
            </a:extLst>
          </p:cNvPr>
          <p:cNvSpPr txBox="1"/>
          <p:nvPr/>
        </p:nvSpPr>
        <p:spPr>
          <a:xfrm>
            <a:off x="6096000" y="388464"/>
            <a:ext cx="5954487" cy="1101969"/>
          </a:xfrm>
          <a:prstGeom prst="rect">
            <a:avLst/>
          </a:prstGeom>
          <a:noFill/>
        </p:spPr>
        <p:txBody>
          <a:bodyPr wrap="square" lIns="0" tIns="0" rIns="0" bIns="0" rtlCol="0">
            <a:noAutofit/>
          </a:bodyPr>
          <a:lstStyle/>
          <a:p>
            <a:pPr marL="0" marR="0" lvl="0" indent="0" defTabSz="520966" rtl="0" eaLnBrk="1" fontAlgn="auto" latinLnBrk="0" hangingPunct="1">
              <a:lnSpc>
                <a:spcPct val="100000"/>
              </a:lnSpc>
              <a:spcBef>
                <a:spcPts val="0"/>
              </a:spcBef>
              <a:spcAft>
                <a:spcPts val="0"/>
              </a:spcAft>
              <a:buClrTx/>
              <a:buSzTx/>
              <a:buFontTx/>
              <a:buNone/>
              <a:tabLst/>
              <a:defRPr/>
            </a:pPr>
            <a:r>
              <a:rPr lang="en-US" sz="2800" b="1" dirty="0">
                <a:solidFill>
                  <a:srgbClr val="3C3C41"/>
                </a:solidFill>
                <a:latin typeface="Signify Raisonne DemiBold" panose="020B0703030201040104" pitchFamily="34" charset="0"/>
              </a:rPr>
              <a:t>Extra savings with daylight harvesting &amp; presence detection</a:t>
            </a:r>
            <a:endParaRPr lang="nl-NL" sz="2800" b="1" dirty="0">
              <a:solidFill>
                <a:srgbClr val="3C3C41"/>
              </a:solidFill>
              <a:latin typeface="Signify Raisonne DemiBold" panose="020B0703030201040104" pitchFamily="34" charset="0"/>
            </a:endParaRPr>
          </a:p>
        </p:txBody>
      </p:sp>
      <p:grpSp>
        <p:nvGrpSpPr>
          <p:cNvPr id="26" name="Group 25">
            <a:extLst>
              <a:ext uri="{FF2B5EF4-FFF2-40B4-BE49-F238E27FC236}">
                <a16:creationId xmlns:a16="http://schemas.microsoft.com/office/drawing/2014/main" id="{3960207F-3AA5-754E-8E63-6F9137E1E7FA}"/>
              </a:ext>
            </a:extLst>
          </p:cNvPr>
          <p:cNvGrpSpPr/>
          <p:nvPr/>
        </p:nvGrpSpPr>
        <p:grpSpPr>
          <a:xfrm>
            <a:off x="5889822" y="2373918"/>
            <a:ext cx="5889076" cy="2588485"/>
            <a:chOff x="2340109" y="1295641"/>
            <a:chExt cx="7533021" cy="3162543"/>
          </a:xfrm>
        </p:grpSpPr>
        <p:grpSp>
          <p:nvGrpSpPr>
            <p:cNvPr id="25" name="Group 24">
              <a:extLst>
                <a:ext uri="{FF2B5EF4-FFF2-40B4-BE49-F238E27FC236}">
                  <a16:creationId xmlns:a16="http://schemas.microsoft.com/office/drawing/2014/main" id="{5E99E7AB-8BED-F299-674D-CB2BC6CEA758}"/>
                </a:ext>
              </a:extLst>
            </p:cNvPr>
            <p:cNvGrpSpPr/>
            <p:nvPr/>
          </p:nvGrpSpPr>
          <p:grpSpPr>
            <a:xfrm>
              <a:off x="2340109" y="1295641"/>
              <a:ext cx="7533021" cy="3162543"/>
              <a:chOff x="2366352" y="1267363"/>
              <a:chExt cx="7533021" cy="3162543"/>
            </a:xfrm>
          </p:grpSpPr>
          <p:sp>
            <p:nvSpPr>
              <p:cNvPr id="2" name="TextBox 12">
                <a:extLst>
                  <a:ext uri="{FF2B5EF4-FFF2-40B4-BE49-F238E27FC236}">
                    <a16:creationId xmlns:a16="http://schemas.microsoft.com/office/drawing/2014/main" id="{C916C7ED-BCEB-F104-AED5-0ECC898D07DB}"/>
                  </a:ext>
                </a:extLst>
              </p:cNvPr>
              <p:cNvSpPr txBox="1"/>
              <p:nvPr/>
            </p:nvSpPr>
            <p:spPr>
              <a:xfrm>
                <a:off x="2883600" y="2948903"/>
                <a:ext cx="1188401" cy="332509"/>
              </a:xfrm>
              <a:prstGeom prst="rect">
                <a:avLst/>
              </a:prstGeom>
              <a:noFill/>
            </p:spPr>
            <p:txBody>
              <a:bodyPr wrap="square" lIns="0" tIns="0" rIns="0" bIns="0" rtlCol="0">
                <a:noAutofit/>
              </a:bodyPr>
              <a:lstStyle>
                <a:defPPr>
                  <a:defRPr lang="en-US"/>
                </a:defPPr>
                <a:lvl1pPr marL="0" algn="l" defTabSz="521797" rtl="0" eaLnBrk="1" latinLnBrk="0" hangingPunct="1">
                  <a:defRPr sz="2054" kern="1200">
                    <a:solidFill>
                      <a:schemeClr val="tx1"/>
                    </a:solidFill>
                    <a:latin typeface="+mn-lt"/>
                    <a:ea typeface="+mn-ea"/>
                    <a:cs typeface="+mn-cs"/>
                  </a:defRPr>
                </a:lvl1pPr>
                <a:lvl2pPr marL="521797" algn="l" defTabSz="521797" rtl="0" eaLnBrk="1" latinLnBrk="0" hangingPunct="1">
                  <a:defRPr sz="2054" kern="1200">
                    <a:solidFill>
                      <a:schemeClr val="tx1"/>
                    </a:solidFill>
                    <a:latin typeface="+mn-lt"/>
                    <a:ea typeface="+mn-ea"/>
                    <a:cs typeface="+mn-cs"/>
                  </a:defRPr>
                </a:lvl2pPr>
                <a:lvl3pPr marL="1043594" algn="l" defTabSz="521797" rtl="0" eaLnBrk="1" latinLnBrk="0" hangingPunct="1">
                  <a:defRPr sz="2054" kern="1200">
                    <a:solidFill>
                      <a:schemeClr val="tx1"/>
                    </a:solidFill>
                    <a:latin typeface="+mn-lt"/>
                    <a:ea typeface="+mn-ea"/>
                    <a:cs typeface="+mn-cs"/>
                  </a:defRPr>
                </a:lvl3pPr>
                <a:lvl4pPr marL="1565393" algn="l" defTabSz="521797" rtl="0" eaLnBrk="1" latinLnBrk="0" hangingPunct="1">
                  <a:defRPr sz="2054" kern="1200">
                    <a:solidFill>
                      <a:schemeClr val="tx1"/>
                    </a:solidFill>
                    <a:latin typeface="+mn-lt"/>
                    <a:ea typeface="+mn-ea"/>
                    <a:cs typeface="+mn-cs"/>
                  </a:defRPr>
                </a:lvl4pPr>
                <a:lvl5pPr marL="2087190" algn="l" defTabSz="521797" rtl="0" eaLnBrk="1" latinLnBrk="0" hangingPunct="1">
                  <a:defRPr sz="2054" kern="1200">
                    <a:solidFill>
                      <a:schemeClr val="tx1"/>
                    </a:solidFill>
                    <a:latin typeface="+mn-lt"/>
                    <a:ea typeface="+mn-ea"/>
                    <a:cs typeface="+mn-cs"/>
                  </a:defRPr>
                </a:lvl5pPr>
                <a:lvl6pPr marL="2608987" algn="l" defTabSz="521797" rtl="0" eaLnBrk="1" latinLnBrk="0" hangingPunct="1">
                  <a:defRPr sz="2054" kern="1200">
                    <a:solidFill>
                      <a:schemeClr val="tx1"/>
                    </a:solidFill>
                    <a:latin typeface="+mn-lt"/>
                    <a:ea typeface="+mn-ea"/>
                    <a:cs typeface="+mn-cs"/>
                  </a:defRPr>
                </a:lvl6pPr>
                <a:lvl7pPr marL="3130785" algn="l" defTabSz="521797" rtl="0" eaLnBrk="1" latinLnBrk="0" hangingPunct="1">
                  <a:defRPr sz="2054" kern="1200">
                    <a:solidFill>
                      <a:schemeClr val="tx1"/>
                    </a:solidFill>
                    <a:latin typeface="+mn-lt"/>
                    <a:ea typeface="+mn-ea"/>
                    <a:cs typeface="+mn-cs"/>
                  </a:defRPr>
                </a:lvl7pPr>
                <a:lvl8pPr marL="3652582" algn="l" defTabSz="521797" rtl="0" eaLnBrk="1" latinLnBrk="0" hangingPunct="1">
                  <a:defRPr sz="2054" kern="1200">
                    <a:solidFill>
                      <a:schemeClr val="tx1"/>
                    </a:solidFill>
                    <a:latin typeface="+mn-lt"/>
                    <a:ea typeface="+mn-ea"/>
                    <a:cs typeface="+mn-cs"/>
                  </a:defRPr>
                </a:lvl8pPr>
                <a:lvl9pPr marL="4174379" algn="l" defTabSz="521797" rtl="0" eaLnBrk="1" latinLnBrk="0" hangingPunct="1">
                  <a:defRPr sz="2054" kern="1200">
                    <a:solidFill>
                      <a:schemeClr val="tx1"/>
                    </a:solidFill>
                    <a:latin typeface="+mn-lt"/>
                    <a:ea typeface="+mn-ea"/>
                    <a:cs typeface="+mn-cs"/>
                  </a:defRPr>
                </a:lvl9pPr>
              </a:lstStyle>
              <a:p>
                <a:pPr algn="ctr">
                  <a:lnSpc>
                    <a:spcPct val="90000"/>
                  </a:lnSpc>
                  <a:spcAft>
                    <a:spcPts val="900"/>
                  </a:spcAft>
                </a:pPr>
                <a:r>
                  <a:rPr lang="en-US" sz="1400" dirty="0" err="1">
                    <a:solidFill>
                      <a:schemeClr val="tx2"/>
                    </a:solidFill>
                    <a:latin typeface="Signify Relative Book" panose="02000506040000020004" pitchFamily="50" charset="0"/>
                  </a:rPr>
                  <a:t>Today’sTL</a:t>
                </a:r>
                <a:endParaRPr lang="en-NL" sz="1400" dirty="0">
                  <a:solidFill>
                    <a:schemeClr val="tx2"/>
                  </a:solidFill>
                  <a:latin typeface="Signify Relative Book" panose="02000506040000020004" pitchFamily="50" charset="0"/>
                </a:endParaRPr>
              </a:p>
            </p:txBody>
          </p:sp>
          <p:sp>
            <p:nvSpPr>
              <p:cNvPr id="4" name="Rectangle 3">
                <a:extLst>
                  <a:ext uri="{FF2B5EF4-FFF2-40B4-BE49-F238E27FC236}">
                    <a16:creationId xmlns:a16="http://schemas.microsoft.com/office/drawing/2014/main" id="{3D282A2E-9785-A742-6DC9-A4B4D52A147A}"/>
                  </a:ext>
                </a:extLst>
              </p:cNvPr>
              <p:cNvSpPr/>
              <p:nvPr/>
            </p:nvSpPr>
            <p:spPr>
              <a:xfrm>
                <a:off x="2366352" y="3712940"/>
                <a:ext cx="2527858" cy="63945"/>
              </a:xfrm>
              <a:prstGeom prst="rect">
                <a:avLst/>
              </a:prstGeom>
              <a:solidFill>
                <a:schemeClr val="accent3">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rtlCol="0" anchor="ctr"/>
              <a:lstStyle>
                <a:defPPr>
                  <a:defRPr lang="en-US"/>
                </a:defPPr>
                <a:lvl1pPr marL="0" algn="l" defTabSz="521797" rtl="0" eaLnBrk="1" latinLnBrk="0" hangingPunct="1">
                  <a:defRPr sz="2054" kern="1200">
                    <a:solidFill>
                      <a:schemeClr val="lt1"/>
                    </a:solidFill>
                    <a:latin typeface="+mn-lt"/>
                    <a:ea typeface="+mn-ea"/>
                    <a:cs typeface="+mn-cs"/>
                  </a:defRPr>
                </a:lvl1pPr>
                <a:lvl2pPr marL="521797" algn="l" defTabSz="521797" rtl="0" eaLnBrk="1" latinLnBrk="0" hangingPunct="1">
                  <a:defRPr sz="2054" kern="1200">
                    <a:solidFill>
                      <a:schemeClr val="lt1"/>
                    </a:solidFill>
                    <a:latin typeface="+mn-lt"/>
                    <a:ea typeface="+mn-ea"/>
                    <a:cs typeface="+mn-cs"/>
                  </a:defRPr>
                </a:lvl2pPr>
                <a:lvl3pPr marL="1043594" algn="l" defTabSz="521797" rtl="0" eaLnBrk="1" latinLnBrk="0" hangingPunct="1">
                  <a:defRPr sz="2054" kern="1200">
                    <a:solidFill>
                      <a:schemeClr val="lt1"/>
                    </a:solidFill>
                    <a:latin typeface="+mn-lt"/>
                    <a:ea typeface="+mn-ea"/>
                    <a:cs typeface="+mn-cs"/>
                  </a:defRPr>
                </a:lvl3pPr>
                <a:lvl4pPr marL="1565393" algn="l" defTabSz="521797" rtl="0" eaLnBrk="1" latinLnBrk="0" hangingPunct="1">
                  <a:defRPr sz="2054" kern="1200">
                    <a:solidFill>
                      <a:schemeClr val="lt1"/>
                    </a:solidFill>
                    <a:latin typeface="+mn-lt"/>
                    <a:ea typeface="+mn-ea"/>
                    <a:cs typeface="+mn-cs"/>
                  </a:defRPr>
                </a:lvl4pPr>
                <a:lvl5pPr marL="2087190" algn="l" defTabSz="521797" rtl="0" eaLnBrk="1" latinLnBrk="0" hangingPunct="1">
                  <a:defRPr sz="2054" kern="1200">
                    <a:solidFill>
                      <a:schemeClr val="lt1"/>
                    </a:solidFill>
                    <a:latin typeface="+mn-lt"/>
                    <a:ea typeface="+mn-ea"/>
                    <a:cs typeface="+mn-cs"/>
                  </a:defRPr>
                </a:lvl5pPr>
                <a:lvl6pPr marL="2608987" algn="l" defTabSz="521797" rtl="0" eaLnBrk="1" latinLnBrk="0" hangingPunct="1">
                  <a:defRPr sz="2054" kern="1200">
                    <a:solidFill>
                      <a:schemeClr val="lt1"/>
                    </a:solidFill>
                    <a:latin typeface="+mn-lt"/>
                    <a:ea typeface="+mn-ea"/>
                    <a:cs typeface="+mn-cs"/>
                  </a:defRPr>
                </a:lvl6pPr>
                <a:lvl7pPr marL="3130785" algn="l" defTabSz="521797" rtl="0" eaLnBrk="1" latinLnBrk="0" hangingPunct="1">
                  <a:defRPr sz="2054" kern="1200">
                    <a:solidFill>
                      <a:schemeClr val="lt1"/>
                    </a:solidFill>
                    <a:latin typeface="+mn-lt"/>
                    <a:ea typeface="+mn-ea"/>
                    <a:cs typeface="+mn-cs"/>
                  </a:defRPr>
                </a:lvl7pPr>
                <a:lvl8pPr marL="3652582" algn="l" defTabSz="521797" rtl="0" eaLnBrk="1" latinLnBrk="0" hangingPunct="1">
                  <a:defRPr sz="2054" kern="1200">
                    <a:solidFill>
                      <a:schemeClr val="lt1"/>
                    </a:solidFill>
                    <a:latin typeface="+mn-lt"/>
                    <a:ea typeface="+mn-ea"/>
                    <a:cs typeface="+mn-cs"/>
                  </a:defRPr>
                </a:lvl8pPr>
                <a:lvl9pPr marL="4174379" algn="l" defTabSz="521797" rtl="0" eaLnBrk="1" latinLnBrk="0" hangingPunct="1">
                  <a:defRPr sz="2054" kern="1200">
                    <a:solidFill>
                      <a:schemeClr val="lt1"/>
                    </a:solidFill>
                    <a:latin typeface="+mn-lt"/>
                    <a:ea typeface="+mn-ea"/>
                    <a:cs typeface="+mn-cs"/>
                  </a:defRPr>
                </a:lvl9pPr>
              </a:lstStyle>
              <a:p>
                <a:pPr algn="ctr">
                  <a:lnSpc>
                    <a:spcPct val="90000"/>
                  </a:lnSpc>
                  <a:spcAft>
                    <a:spcPts val="900"/>
                  </a:spcAft>
                </a:pPr>
                <a:endParaRPr lang="en-NL" sz="1800" dirty="0" err="1">
                  <a:solidFill>
                    <a:schemeClr val="tx2"/>
                  </a:solidFill>
                  <a:latin typeface="Signify Relative Book" panose="02000506040000020004" pitchFamily="50" charset="0"/>
                </a:endParaRPr>
              </a:p>
            </p:txBody>
          </p:sp>
          <p:grpSp>
            <p:nvGrpSpPr>
              <p:cNvPr id="8" name="Groep 22">
                <a:extLst>
                  <a:ext uri="{FF2B5EF4-FFF2-40B4-BE49-F238E27FC236}">
                    <a16:creationId xmlns:a16="http://schemas.microsoft.com/office/drawing/2014/main" id="{A539F77D-318B-3667-D542-BE9D39022425}"/>
                  </a:ext>
                </a:extLst>
              </p:cNvPr>
              <p:cNvGrpSpPr/>
              <p:nvPr/>
            </p:nvGrpSpPr>
            <p:grpSpPr>
              <a:xfrm>
                <a:off x="4871802" y="2058586"/>
                <a:ext cx="2517928" cy="2371320"/>
                <a:chOff x="3578073" y="2617342"/>
                <a:chExt cx="2517928" cy="2959544"/>
              </a:xfrm>
            </p:grpSpPr>
            <p:sp>
              <p:nvSpPr>
                <p:cNvPr id="20" name="TextBox 16">
                  <a:extLst>
                    <a:ext uri="{FF2B5EF4-FFF2-40B4-BE49-F238E27FC236}">
                      <a16:creationId xmlns:a16="http://schemas.microsoft.com/office/drawing/2014/main" id="{A6C12748-2BD2-5758-FF39-0C597D1630F9}"/>
                    </a:ext>
                  </a:extLst>
                </p:cNvPr>
                <p:cNvSpPr txBox="1"/>
                <p:nvPr/>
              </p:nvSpPr>
              <p:spPr>
                <a:xfrm>
                  <a:off x="3578074" y="4934697"/>
                  <a:ext cx="2517890" cy="642189"/>
                </a:xfrm>
                <a:prstGeom prst="rect">
                  <a:avLst/>
                </a:prstGeom>
                <a:noFill/>
              </p:spPr>
              <p:txBody>
                <a:bodyPr wrap="square" lIns="0" tIns="0" rIns="0" bIns="0" rtlCol="0">
                  <a:noAutofit/>
                </a:bodyPr>
                <a:lstStyle>
                  <a:defPPr>
                    <a:defRPr lang="en-US"/>
                  </a:defPPr>
                  <a:lvl1pPr marL="0" algn="l" defTabSz="521797" rtl="0" eaLnBrk="1" latinLnBrk="0" hangingPunct="1">
                    <a:defRPr sz="2054" kern="1200">
                      <a:solidFill>
                        <a:schemeClr val="tx1"/>
                      </a:solidFill>
                      <a:latin typeface="+mn-lt"/>
                      <a:ea typeface="+mn-ea"/>
                      <a:cs typeface="+mn-cs"/>
                    </a:defRPr>
                  </a:lvl1pPr>
                  <a:lvl2pPr marL="521797" algn="l" defTabSz="521797" rtl="0" eaLnBrk="1" latinLnBrk="0" hangingPunct="1">
                    <a:defRPr sz="2054" kern="1200">
                      <a:solidFill>
                        <a:schemeClr val="tx1"/>
                      </a:solidFill>
                      <a:latin typeface="+mn-lt"/>
                      <a:ea typeface="+mn-ea"/>
                      <a:cs typeface="+mn-cs"/>
                    </a:defRPr>
                  </a:lvl2pPr>
                  <a:lvl3pPr marL="1043594" algn="l" defTabSz="521797" rtl="0" eaLnBrk="1" latinLnBrk="0" hangingPunct="1">
                    <a:defRPr sz="2054" kern="1200">
                      <a:solidFill>
                        <a:schemeClr val="tx1"/>
                      </a:solidFill>
                      <a:latin typeface="+mn-lt"/>
                      <a:ea typeface="+mn-ea"/>
                      <a:cs typeface="+mn-cs"/>
                    </a:defRPr>
                  </a:lvl3pPr>
                  <a:lvl4pPr marL="1565393" algn="l" defTabSz="521797" rtl="0" eaLnBrk="1" latinLnBrk="0" hangingPunct="1">
                    <a:defRPr sz="2054" kern="1200">
                      <a:solidFill>
                        <a:schemeClr val="tx1"/>
                      </a:solidFill>
                      <a:latin typeface="+mn-lt"/>
                      <a:ea typeface="+mn-ea"/>
                      <a:cs typeface="+mn-cs"/>
                    </a:defRPr>
                  </a:lvl4pPr>
                  <a:lvl5pPr marL="2087190" algn="l" defTabSz="521797" rtl="0" eaLnBrk="1" latinLnBrk="0" hangingPunct="1">
                    <a:defRPr sz="2054" kern="1200">
                      <a:solidFill>
                        <a:schemeClr val="tx1"/>
                      </a:solidFill>
                      <a:latin typeface="+mn-lt"/>
                      <a:ea typeface="+mn-ea"/>
                      <a:cs typeface="+mn-cs"/>
                    </a:defRPr>
                  </a:lvl5pPr>
                  <a:lvl6pPr marL="2608987" algn="l" defTabSz="521797" rtl="0" eaLnBrk="1" latinLnBrk="0" hangingPunct="1">
                    <a:defRPr sz="2054" kern="1200">
                      <a:solidFill>
                        <a:schemeClr val="tx1"/>
                      </a:solidFill>
                      <a:latin typeface="+mn-lt"/>
                      <a:ea typeface="+mn-ea"/>
                      <a:cs typeface="+mn-cs"/>
                    </a:defRPr>
                  </a:lvl6pPr>
                  <a:lvl7pPr marL="3130785" algn="l" defTabSz="521797" rtl="0" eaLnBrk="1" latinLnBrk="0" hangingPunct="1">
                    <a:defRPr sz="2054" kern="1200">
                      <a:solidFill>
                        <a:schemeClr val="tx1"/>
                      </a:solidFill>
                      <a:latin typeface="+mn-lt"/>
                      <a:ea typeface="+mn-ea"/>
                      <a:cs typeface="+mn-cs"/>
                    </a:defRPr>
                  </a:lvl7pPr>
                  <a:lvl8pPr marL="3652582" algn="l" defTabSz="521797" rtl="0" eaLnBrk="1" latinLnBrk="0" hangingPunct="1">
                    <a:defRPr sz="2054" kern="1200">
                      <a:solidFill>
                        <a:schemeClr val="tx1"/>
                      </a:solidFill>
                      <a:latin typeface="+mn-lt"/>
                      <a:ea typeface="+mn-ea"/>
                      <a:cs typeface="+mn-cs"/>
                    </a:defRPr>
                  </a:lvl8pPr>
                  <a:lvl9pPr marL="4174379" algn="l" defTabSz="521797" rtl="0" eaLnBrk="1" latinLnBrk="0" hangingPunct="1">
                    <a:defRPr sz="2054" kern="1200">
                      <a:solidFill>
                        <a:schemeClr val="tx1"/>
                      </a:solidFill>
                      <a:latin typeface="+mn-lt"/>
                      <a:ea typeface="+mn-ea"/>
                      <a:cs typeface="+mn-cs"/>
                    </a:defRPr>
                  </a:lvl9pPr>
                </a:lstStyle>
                <a:p>
                  <a:pPr algn="ctr">
                    <a:lnSpc>
                      <a:spcPct val="90000"/>
                    </a:lnSpc>
                    <a:spcAft>
                      <a:spcPts val="900"/>
                    </a:spcAft>
                  </a:pPr>
                  <a:r>
                    <a:rPr lang="nl-NL" sz="1200" dirty="0">
                      <a:solidFill>
                        <a:schemeClr val="tx2"/>
                      </a:solidFill>
                      <a:effectLst/>
                      <a:latin typeface="Signify Relative Book" panose="02000506040000020004" pitchFamily="50" charset="0"/>
                      <a:ea typeface="Times New Roman" panose="02020603050405020304" pitchFamily="18" charset="0"/>
                    </a:rPr>
                    <a:t>Full LEDification: </a:t>
                  </a:r>
                  <a:br>
                    <a:rPr lang="nl-NL" sz="1200" dirty="0">
                      <a:solidFill>
                        <a:schemeClr val="tx2"/>
                      </a:solidFill>
                      <a:effectLst/>
                      <a:latin typeface="Signify Relative Book" panose="02000506040000020004" pitchFamily="50" charset="0"/>
                      <a:ea typeface="Times New Roman" panose="02020603050405020304" pitchFamily="18" charset="0"/>
                    </a:rPr>
                  </a:br>
                  <a:r>
                    <a:rPr lang="nl-NL" sz="1200" dirty="0">
                      <a:solidFill>
                        <a:schemeClr val="tx2"/>
                      </a:solidFill>
                      <a:latin typeface="Signify Relative Book" panose="02000506040000020004" pitchFamily="50" charset="0"/>
                      <a:ea typeface="Times New Roman" panose="02020603050405020304" pitchFamily="18" charset="0"/>
                    </a:rPr>
                    <a:t>&gt;65</a:t>
                  </a:r>
                  <a:r>
                    <a:rPr lang="nl-NL" sz="1200" dirty="0">
                      <a:solidFill>
                        <a:schemeClr val="tx2"/>
                      </a:solidFill>
                      <a:effectLst/>
                      <a:latin typeface="Signify Relative Book" panose="02000506040000020004" pitchFamily="50" charset="0"/>
                      <a:ea typeface="Times New Roman" panose="02020603050405020304" pitchFamily="18" charset="0"/>
                    </a:rPr>
                    <a:t>% energy savings</a:t>
                  </a:r>
                </a:p>
              </p:txBody>
            </p:sp>
            <p:sp>
              <p:nvSpPr>
                <p:cNvPr id="21" name="TextBox 11">
                  <a:extLst>
                    <a:ext uri="{FF2B5EF4-FFF2-40B4-BE49-F238E27FC236}">
                      <a16:creationId xmlns:a16="http://schemas.microsoft.com/office/drawing/2014/main" id="{48E16338-27D5-086E-6E53-8D62C559177C}"/>
                    </a:ext>
                  </a:extLst>
                </p:cNvPr>
                <p:cNvSpPr txBox="1"/>
                <p:nvPr/>
              </p:nvSpPr>
              <p:spPr>
                <a:xfrm>
                  <a:off x="4165403" y="2617342"/>
                  <a:ext cx="1234847" cy="414482"/>
                </a:xfrm>
                <a:prstGeom prst="rect">
                  <a:avLst/>
                </a:prstGeom>
                <a:noFill/>
              </p:spPr>
              <p:txBody>
                <a:bodyPr wrap="square" lIns="0" tIns="0" rIns="0" bIns="0" rtlCol="0">
                  <a:noAutofit/>
                </a:bodyPr>
                <a:lstStyle>
                  <a:defPPr>
                    <a:defRPr lang="en-US"/>
                  </a:defPPr>
                  <a:lvl1pPr marL="0" algn="l" defTabSz="521797" rtl="0" eaLnBrk="1" latinLnBrk="0" hangingPunct="1">
                    <a:defRPr sz="2054" kern="1200">
                      <a:solidFill>
                        <a:schemeClr val="tx1"/>
                      </a:solidFill>
                      <a:latin typeface="+mn-lt"/>
                      <a:ea typeface="+mn-ea"/>
                      <a:cs typeface="+mn-cs"/>
                    </a:defRPr>
                  </a:lvl1pPr>
                  <a:lvl2pPr marL="521797" algn="l" defTabSz="521797" rtl="0" eaLnBrk="1" latinLnBrk="0" hangingPunct="1">
                    <a:defRPr sz="2054" kern="1200">
                      <a:solidFill>
                        <a:schemeClr val="tx1"/>
                      </a:solidFill>
                      <a:latin typeface="+mn-lt"/>
                      <a:ea typeface="+mn-ea"/>
                      <a:cs typeface="+mn-cs"/>
                    </a:defRPr>
                  </a:lvl2pPr>
                  <a:lvl3pPr marL="1043594" algn="l" defTabSz="521797" rtl="0" eaLnBrk="1" latinLnBrk="0" hangingPunct="1">
                    <a:defRPr sz="2054" kern="1200">
                      <a:solidFill>
                        <a:schemeClr val="tx1"/>
                      </a:solidFill>
                      <a:latin typeface="+mn-lt"/>
                      <a:ea typeface="+mn-ea"/>
                      <a:cs typeface="+mn-cs"/>
                    </a:defRPr>
                  </a:lvl3pPr>
                  <a:lvl4pPr marL="1565393" algn="l" defTabSz="521797" rtl="0" eaLnBrk="1" latinLnBrk="0" hangingPunct="1">
                    <a:defRPr sz="2054" kern="1200">
                      <a:solidFill>
                        <a:schemeClr val="tx1"/>
                      </a:solidFill>
                      <a:latin typeface="+mn-lt"/>
                      <a:ea typeface="+mn-ea"/>
                      <a:cs typeface="+mn-cs"/>
                    </a:defRPr>
                  </a:lvl4pPr>
                  <a:lvl5pPr marL="2087190" algn="l" defTabSz="521797" rtl="0" eaLnBrk="1" latinLnBrk="0" hangingPunct="1">
                    <a:defRPr sz="2054" kern="1200">
                      <a:solidFill>
                        <a:schemeClr val="tx1"/>
                      </a:solidFill>
                      <a:latin typeface="+mn-lt"/>
                      <a:ea typeface="+mn-ea"/>
                      <a:cs typeface="+mn-cs"/>
                    </a:defRPr>
                  </a:lvl5pPr>
                  <a:lvl6pPr marL="2608987" algn="l" defTabSz="521797" rtl="0" eaLnBrk="1" latinLnBrk="0" hangingPunct="1">
                    <a:defRPr sz="2054" kern="1200">
                      <a:solidFill>
                        <a:schemeClr val="tx1"/>
                      </a:solidFill>
                      <a:latin typeface="+mn-lt"/>
                      <a:ea typeface="+mn-ea"/>
                      <a:cs typeface="+mn-cs"/>
                    </a:defRPr>
                  </a:lvl6pPr>
                  <a:lvl7pPr marL="3130785" algn="l" defTabSz="521797" rtl="0" eaLnBrk="1" latinLnBrk="0" hangingPunct="1">
                    <a:defRPr sz="2054" kern="1200">
                      <a:solidFill>
                        <a:schemeClr val="tx1"/>
                      </a:solidFill>
                      <a:latin typeface="+mn-lt"/>
                      <a:ea typeface="+mn-ea"/>
                      <a:cs typeface="+mn-cs"/>
                    </a:defRPr>
                  </a:lvl7pPr>
                  <a:lvl8pPr marL="3652582" algn="l" defTabSz="521797" rtl="0" eaLnBrk="1" latinLnBrk="0" hangingPunct="1">
                    <a:defRPr sz="2054" kern="1200">
                      <a:solidFill>
                        <a:schemeClr val="tx1"/>
                      </a:solidFill>
                      <a:latin typeface="+mn-lt"/>
                      <a:ea typeface="+mn-ea"/>
                      <a:cs typeface="+mn-cs"/>
                    </a:defRPr>
                  </a:lvl8pPr>
                  <a:lvl9pPr marL="4174379" algn="l" defTabSz="521797" rtl="0" eaLnBrk="1" latinLnBrk="0" hangingPunct="1">
                    <a:defRPr sz="2054" kern="1200">
                      <a:solidFill>
                        <a:schemeClr val="tx1"/>
                      </a:solidFill>
                      <a:latin typeface="+mn-lt"/>
                      <a:ea typeface="+mn-ea"/>
                      <a:cs typeface="+mn-cs"/>
                    </a:defRPr>
                  </a:lvl9pPr>
                </a:lstStyle>
                <a:p>
                  <a:pPr algn="ctr">
                    <a:lnSpc>
                      <a:spcPct val="90000"/>
                    </a:lnSpc>
                    <a:spcAft>
                      <a:spcPts val="900"/>
                    </a:spcAft>
                  </a:pPr>
                  <a:r>
                    <a:rPr lang="en-US" sz="1400" dirty="0">
                      <a:solidFill>
                        <a:schemeClr val="tx2"/>
                      </a:solidFill>
                      <a:latin typeface="Signify Relative Book" panose="02000506040000020004" pitchFamily="50" charset="0"/>
                    </a:rPr>
                    <a:t>Step 1: LED</a:t>
                  </a:r>
                  <a:endParaRPr lang="en-NL" sz="1400" dirty="0">
                    <a:solidFill>
                      <a:schemeClr val="tx2"/>
                    </a:solidFill>
                    <a:latin typeface="Signify Relative Book" panose="02000506040000020004" pitchFamily="50" charset="0"/>
                  </a:endParaRPr>
                </a:p>
              </p:txBody>
            </p:sp>
            <p:pic>
              <p:nvPicPr>
                <p:cNvPr id="22" name="Picture 21">
                  <a:extLst>
                    <a:ext uri="{FF2B5EF4-FFF2-40B4-BE49-F238E27FC236}">
                      <a16:creationId xmlns:a16="http://schemas.microsoft.com/office/drawing/2014/main" id="{8A868142-3554-8E9D-CD51-AE0105C3091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578073" y="3275813"/>
                  <a:ext cx="2517928" cy="1487867"/>
                </a:xfrm>
                <a:prstGeom prst="rect">
                  <a:avLst/>
                </a:prstGeom>
              </p:spPr>
            </p:pic>
            <p:sp>
              <p:nvSpPr>
                <p:cNvPr id="23" name="Tekstvak 2">
                  <a:extLst>
                    <a:ext uri="{FF2B5EF4-FFF2-40B4-BE49-F238E27FC236}">
                      <a16:creationId xmlns:a16="http://schemas.microsoft.com/office/drawing/2014/main" id="{F9FC0F25-C6EA-D9D9-71F9-7C45CCD61231}"/>
                    </a:ext>
                  </a:extLst>
                </p:cNvPr>
                <p:cNvSpPr txBox="1"/>
                <p:nvPr/>
              </p:nvSpPr>
              <p:spPr>
                <a:xfrm>
                  <a:off x="3603002" y="3671403"/>
                  <a:ext cx="2492962" cy="786089"/>
                </a:xfrm>
                <a:prstGeom prst="rect">
                  <a:avLst/>
                </a:prstGeom>
                <a:noFill/>
              </p:spPr>
              <p:txBody>
                <a:bodyPr wrap="square" lIns="0" tIns="0" rIns="0" bIns="0" rtlCol="0">
                  <a:noAutofit/>
                </a:bodyPr>
                <a:lstStyle>
                  <a:defPPr>
                    <a:defRPr lang="en-US"/>
                  </a:defPPr>
                  <a:lvl1pPr marL="0" algn="l" defTabSz="521797" rtl="0" eaLnBrk="1" latinLnBrk="0" hangingPunct="1">
                    <a:defRPr sz="2054" kern="1200">
                      <a:solidFill>
                        <a:schemeClr val="tx1"/>
                      </a:solidFill>
                      <a:latin typeface="+mn-lt"/>
                      <a:ea typeface="+mn-ea"/>
                      <a:cs typeface="+mn-cs"/>
                    </a:defRPr>
                  </a:lvl1pPr>
                  <a:lvl2pPr marL="521797" algn="l" defTabSz="521797" rtl="0" eaLnBrk="1" latinLnBrk="0" hangingPunct="1">
                    <a:defRPr sz="2054" kern="1200">
                      <a:solidFill>
                        <a:schemeClr val="tx1"/>
                      </a:solidFill>
                      <a:latin typeface="+mn-lt"/>
                      <a:ea typeface="+mn-ea"/>
                      <a:cs typeface="+mn-cs"/>
                    </a:defRPr>
                  </a:lvl2pPr>
                  <a:lvl3pPr marL="1043594" algn="l" defTabSz="521797" rtl="0" eaLnBrk="1" latinLnBrk="0" hangingPunct="1">
                    <a:defRPr sz="2054" kern="1200">
                      <a:solidFill>
                        <a:schemeClr val="tx1"/>
                      </a:solidFill>
                      <a:latin typeface="+mn-lt"/>
                      <a:ea typeface="+mn-ea"/>
                      <a:cs typeface="+mn-cs"/>
                    </a:defRPr>
                  </a:lvl3pPr>
                  <a:lvl4pPr marL="1565393" algn="l" defTabSz="521797" rtl="0" eaLnBrk="1" latinLnBrk="0" hangingPunct="1">
                    <a:defRPr sz="2054" kern="1200">
                      <a:solidFill>
                        <a:schemeClr val="tx1"/>
                      </a:solidFill>
                      <a:latin typeface="+mn-lt"/>
                      <a:ea typeface="+mn-ea"/>
                      <a:cs typeface="+mn-cs"/>
                    </a:defRPr>
                  </a:lvl4pPr>
                  <a:lvl5pPr marL="2087190" algn="l" defTabSz="521797" rtl="0" eaLnBrk="1" latinLnBrk="0" hangingPunct="1">
                    <a:defRPr sz="2054" kern="1200">
                      <a:solidFill>
                        <a:schemeClr val="tx1"/>
                      </a:solidFill>
                      <a:latin typeface="+mn-lt"/>
                      <a:ea typeface="+mn-ea"/>
                      <a:cs typeface="+mn-cs"/>
                    </a:defRPr>
                  </a:lvl5pPr>
                  <a:lvl6pPr marL="2608987" algn="l" defTabSz="521797" rtl="0" eaLnBrk="1" latinLnBrk="0" hangingPunct="1">
                    <a:defRPr sz="2054" kern="1200">
                      <a:solidFill>
                        <a:schemeClr val="tx1"/>
                      </a:solidFill>
                      <a:latin typeface="+mn-lt"/>
                      <a:ea typeface="+mn-ea"/>
                      <a:cs typeface="+mn-cs"/>
                    </a:defRPr>
                  </a:lvl6pPr>
                  <a:lvl7pPr marL="3130785" algn="l" defTabSz="521797" rtl="0" eaLnBrk="1" latinLnBrk="0" hangingPunct="1">
                    <a:defRPr sz="2054" kern="1200">
                      <a:solidFill>
                        <a:schemeClr val="tx1"/>
                      </a:solidFill>
                      <a:latin typeface="+mn-lt"/>
                      <a:ea typeface="+mn-ea"/>
                      <a:cs typeface="+mn-cs"/>
                    </a:defRPr>
                  </a:lvl7pPr>
                  <a:lvl8pPr marL="3652582" algn="l" defTabSz="521797" rtl="0" eaLnBrk="1" latinLnBrk="0" hangingPunct="1">
                    <a:defRPr sz="2054" kern="1200">
                      <a:solidFill>
                        <a:schemeClr val="tx1"/>
                      </a:solidFill>
                      <a:latin typeface="+mn-lt"/>
                      <a:ea typeface="+mn-ea"/>
                      <a:cs typeface="+mn-cs"/>
                    </a:defRPr>
                  </a:lvl8pPr>
                  <a:lvl9pPr marL="4174379" algn="l" defTabSz="521797" rtl="0" eaLnBrk="1" latinLnBrk="0" hangingPunct="1">
                    <a:defRPr sz="2054" kern="1200">
                      <a:solidFill>
                        <a:schemeClr val="tx1"/>
                      </a:solidFill>
                      <a:latin typeface="+mn-lt"/>
                      <a:ea typeface="+mn-ea"/>
                      <a:cs typeface="+mn-cs"/>
                    </a:defRPr>
                  </a:lvl9pPr>
                </a:lstStyle>
                <a:p>
                  <a:pPr algn="ctr">
                    <a:lnSpc>
                      <a:spcPct val="90000"/>
                    </a:lnSpc>
                    <a:spcAft>
                      <a:spcPts val="900"/>
                    </a:spcAft>
                  </a:pPr>
                  <a:r>
                    <a:rPr lang="nl-NL" sz="2800" dirty="0">
                      <a:solidFill>
                        <a:schemeClr val="tx2"/>
                      </a:solidFill>
                      <a:latin typeface="Signify Relative Book" panose="02000506040000020004" pitchFamily="50" charset="0"/>
                    </a:rPr>
                    <a:t>&gt;65</a:t>
                  </a:r>
                  <a:r>
                    <a:rPr lang="nl-NL" sz="3600" dirty="0">
                      <a:solidFill>
                        <a:schemeClr val="tx2"/>
                      </a:solidFill>
                      <a:latin typeface="Signify Relative Book" panose="02000506040000020004" pitchFamily="50" charset="0"/>
                    </a:rPr>
                    <a:t>%</a:t>
                  </a:r>
                </a:p>
              </p:txBody>
            </p:sp>
          </p:grpSp>
          <p:grpSp>
            <p:nvGrpSpPr>
              <p:cNvPr id="9" name="Groep 21">
                <a:extLst>
                  <a:ext uri="{FF2B5EF4-FFF2-40B4-BE49-F238E27FC236}">
                    <a16:creationId xmlns:a16="http://schemas.microsoft.com/office/drawing/2014/main" id="{DF0F8B63-FFE2-ED80-343E-7837CF948216}"/>
                  </a:ext>
                </a:extLst>
              </p:cNvPr>
              <p:cNvGrpSpPr/>
              <p:nvPr/>
            </p:nvGrpSpPr>
            <p:grpSpPr>
              <a:xfrm>
                <a:off x="7381483" y="1267363"/>
                <a:ext cx="2517890" cy="3153124"/>
                <a:chOff x="6087754" y="1466037"/>
                <a:chExt cx="2517890" cy="4110849"/>
              </a:xfrm>
            </p:grpSpPr>
            <p:sp>
              <p:nvSpPr>
                <p:cNvPr id="16" name="TextBox 7">
                  <a:extLst>
                    <a:ext uri="{FF2B5EF4-FFF2-40B4-BE49-F238E27FC236}">
                      <a16:creationId xmlns:a16="http://schemas.microsoft.com/office/drawing/2014/main" id="{1CBE9064-A331-FF3A-EDDD-18394165A79C}"/>
                    </a:ext>
                  </a:extLst>
                </p:cNvPr>
                <p:cNvSpPr txBox="1"/>
                <p:nvPr/>
              </p:nvSpPr>
              <p:spPr>
                <a:xfrm>
                  <a:off x="6292673" y="1466037"/>
                  <a:ext cx="2127099" cy="463568"/>
                </a:xfrm>
                <a:prstGeom prst="rect">
                  <a:avLst/>
                </a:prstGeom>
                <a:noFill/>
              </p:spPr>
              <p:txBody>
                <a:bodyPr wrap="square" lIns="0" tIns="0" rIns="0" bIns="0" rtlCol="0">
                  <a:noAutofit/>
                </a:bodyPr>
                <a:lstStyle>
                  <a:defPPr>
                    <a:defRPr lang="en-US"/>
                  </a:defPPr>
                  <a:lvl1pPr marL="0" algn="l" defTabSz="521797" rtl="0" eaLnBrk="1" latinLnBrk="0" hangingPunct="1">
                    <a:defRPr sz="2054" kern="1200">
                      <a:solidFill>
                        <a:schemeClr val="tx1"/>
                      </a:solidFill>
                      <a:latin typeface="+mn-lt"/>
                      <a:ea typeface="+mn-ea"/>
                      <a:cs typeface="+mn-cs"/>
                    </a:defRPr>
                  </a:lvl1pPr>
                  <a:lvl2pPr marL="521797" algn="l" defTabSz="521797" rtl="0" eaLnBrk="1" latinLnBrk="0" hangingPunct="1">
                    <a:defRPr sz="2054" kern="1200">
                      <a:solidFill>
                        <a:schemeClr val="tx1"/>
                      </a:solidFill>
                      <a:latin typeface="+mn-lt"/>
                      <a:ea typeface="+mn-ea"/>
                      <a:cs typeface="+mn-cs"/>
                    </a:defRPr>
                  </a:lvl2pPr>
                  <a:lvl3pPr marL="1043594" algn="l" defTabSz="521797" rtl="0" eaLnBrk="1" latinLnBrk="0" hangingPunct="1">
                    <a:defRPr sz="2054" kern="1200">
                      <a:solidFill>
                        <a:schemeClr val="tx1"/>
                      </a:solidFill>
                      <a:latin typeface="+mn-lt"/>
                      <a:ea typeface="+mn-ea"/>
                      <a:cs typeface="+mn-cs"/>
                    </a:defRPr>
                  </a:lvl3pPr>
                  <a:lvl4pPr marL="1565393" algn="l" defTabSz="521797" rtl="0" eaLnBrk="1" latinLnBrk="0" hangingPunct="1">
                    <a:defRPr sz="2054" kern="1200">
                      <a:solidFill>
                        <a:schemeClr val="tx1"/>
                      </a:solidFill>
                      <a:latin typeface="+mn-lt"/>
                      <a:ea typeface="+mn-ea"/>
                      <a:cs typeface="+mn-cs"/>
                    </a:defRPr>
                  </a:lvl4pPr>
                  <a:lvl5pPr marL="2087190" algn="l" defTabSz="521797" rtl="0" eaLnBrk="1" latinLnBrk="0" hangingPunct="1">
                    <a:defRPr sz="2054" kern="1200">
                      <a:solidFill>
                        <a:schemeClr val="tx1"/>
                      </a:solidFill>
                      <a:latin typeface="+mn-lt"/>
                      <a:ea typeface="+mn-ea"/>
                      <a:cs typeface="+mn-cs"/>
                    </a:defRPr>
                  </a:lvl5pPr>
                  <a:lvl6pPr marL="2608987" algn="l" defTabSz="521797" rtl="0" eaLnBrk="1" latinLnBrk="0" hangingPunct="1">
                    <a:defRPr sz="2054" kern="1200">
                      <a:solidFill>
                        <a:schemeClr val="tx1"/>
                      </a:solidFill>
                      <a:latin typeface="+mn-lt"/>
                      <a:ea typeface="+mn-ea"/>
                      <a:cs typeface="+mn-cs"/>
                    </a:defRPr>
                  </a:lvl6pPr>
                  <a:lvl7pPr marL="3130785" algn="l" defTabSz="521797" rtl="0" eaLnBrk="1" latinLnBrk="0" hangingPunct="1">
                    <a:defRPr sz="2054" kern="1200">
                      <a:solidFill>
                        <a:schemeClr val="tx1"/>
                      </a:solidFill>
                      <a:latin typeface="+mn-lt"/>
                      <a:ea typeface="+mn-ea"/>
                      <a:cs typeface="+mn-cs"/>
                    </a:defRPr>
                  </a:lvl7pPr>
                  <a:lvl8pPr marL="3652582" algn="l" defTabSz="521797" rtl="0" eaLnBrk="1" latinLnBrk="0" hangingPunct="1">
                    <a:defRPr sz="2054" kern="1200">
                      <a:solidFill>
                        <a:schemeClr val="tx1"/>
                      </a:solidFill>
                      <a:latin typeface="+mn-lt"/>
                      <a:ea typeface="+mn-ea"/>
                      <a:cs typeface="+mn-cs"/>
                    </a:defRPr>
                  </a:lvl8pPr>
                  <a:lvl9pPr marL="4174379" algn="l" defTabSz="521797" rtl="0" eaLnBrk="1" latinLnBrk="0" hangingPunct="1">
                    <a:defRPr sz="2054" kern="1200">
                      <a:solidFill>
                        <a:schemeClr val="tx1"/>
                      </a:solidFill>
                      <a:latin typeface="+mn-lt"/>
                      <a:ea typeface="+mn-ea"/>
                      <a:cs typeface="+mn-cs"/>
                    </a:defRPr>
                  </a:lvl9pPr>
                </a:lstStyle>
                <a:p>
                  <a:pPr algn="ctr">
                    <a:lnSpc>
                      <a:spcPct val="90000"/>
                    </a:lnSpc>
                    <a:spcAft>
                      <a:spcPts val="900"/>
                    </a:spcAft>
                  </a:pPr>
                  <a:r>
                    <a:rPr lang="en-NL" sz="1400" dirty="0">
                      <a:solidFill>
                        <a:schemeClr val="tx2"/>
                      </a:solidFill>
                      <a:latin typeface="Signify Relative Book" panose="02000506040000020004" pitchFamily="50" charset="0"/>
                    </a:rPr>
                    <a:t>St</a:t>
                  </a:r>
                  <a:r>
                    <a:rPr lang="en-US" sz="1400" dirty="0">
                      <a:solidFill>
                        <a:schemeClr val="tx2"/>
                      </a:solidFill>
                      <a:latin typeface="Signify Relative Book" panose="02000506040000020004" pitchFamily="50" charset="0"/>
                    </a:rPr>
                    <a:t>e</a:t>
                  </a:r>
                  <a:r>
                    <a:rPr lang="en-NL" sz="1400" dirty="0">
                      <a:solidFill>
                        <a:schemeClr val="tx2"/>
                      </a:solidFill>
                      <a:latin typeface="Signify Relative Book" panose="02000506040000020004" pitchFamily="50" charset="0"/>
                    </a:rPr>
                    <a:t>p 2</a:t>
                  </a:r>
                  <a:r>
                    <a:rPr lang="en-US" sz="1400" dirty="0">
                      <a:solidFill>
                        <a:schemeClr val="tx2"/>
                      </a:solidFill>
                      <a:latin typeface="Signify Relative Book" panose="02000506040000020004" pitchFamily="50" charset="0"/>
                    </a:rPr>
                    <a:t>: </a:t>
                  </a:r>
                </a:p>
                <a:p>
                  <a:pPr algn="ctr">
                    <a:lnSpc>
                      <a:spcPct val="90000"/>
                    </a:lnSpc>
                    <a:spcAft>
                      <a:spcPts val="900"/>
                    </a:spcAft>
                  </a:pPr>
                  <a:r>
                    <a:rPr lang="en-US" sz="1400" dirty="0">
                      <a:solidFill>
                        <a:schemeClr val="tx2"/>
                      </a:solidFill>
                      <a:latin typeface="Signify Relative Book" panose="02000506040000020004" pitchFamily="50" charset="0"/>
                    </a:rPr>
                    <a:t>LED + Sensors</a:t>
                  </a:r>
                  <a:endParaRPr lang="en-NL" sz="1400" dirty="0">
                    <a:solidFill>
                      <a:schemeClr val="tx2"/>
                    </a:solidFill>
                    <a:latin typeface="Signify Relative Book" panose="02000506040000020004" pitchFamily="50" charset="0"/>
                  </a:endParaRPr>
                </a:p>
              </p:txBody>
            </p:sp>
            <p:pic>
              <p:nvPicPr>
                <p:cNvPr id="17" name="Picture 16">
                  <a:extLst>
                    <a:ext uri="{FF2B5EF4-FFF2-40B4-BE49-F238E27FC236}">
                      <a16:creationId xmlns:a16="http://schemas.microsoft.com/office/drawing/2014/main" id="{9F9DA2FE-8353-936E-2C04-E45A3647689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87754" y="2366874"/>
                  <a:ext cx="2517890" cy="2372229"/>
                </a:xfrm>
                <a:prstGeom prst="rect">
                  <a:avLst/>
                </a:prstGeom>
              </p:spPr>
            </p:pic>
            <p:sp>
              <p:nvSpPr>
                <p:cNvPr id="18" name="TextBox 17">
                  <a:extLst>
                    <a:ext uri="{FF2B5EF4-FFF2-40B4-BE49-F238E27FC236}">
                      <a16:creationId xmlns:a16="http://schemas.microsoft.com/office/drawing/2014/main" id="{825E08F1-9C67-5621-A5A5-B0D9F4D6BCFE}"/>
                    </a:ext>
                  </a:extLst>
                </p:cNvPr>
                <p:cNvSpPr txBox="1"/>
                <p:nvPr/>
              </p:nvSpPr>
              <p:spPr>
                <a:xfrm>
                  <a:off x="6194562" y="4934697"/>
                  <a:ext cx="2323322" cy="642189"/>
                </a:xfrm>
                <a:prstGeom prst="rect">
                  <a:avLst/>
                </a:prstGeom>
                <a:noFill/>
              </p:spPr>
              <p:txBody>
                <a:bodyPr wrap="square" lIns="0" tIns="0" rIns="0" bIns="0" rtlCol="0">
                  <a:noAutofit/>
                </a:bodyPr>
                <a:lstStyle>
                  <a:defPPr>
                    <a:defRPr lang="en-US"/>
                  </a:defPPr>
                  <a:lvl1pPr marL="0" algn="l" defTabSz="521797" rtl="0" eaLnBrk="1" latinLnBrk="0" hangingPunct="1">
                    <a:defRPr sz="2054" kern="1200">
                      <a:solidFill>
                        <a:schemeClr val="tx1"/>
                      </a:solidFill>
                      <a:latin typeface="+mn-lt"/>
                      <a:ea typeface="+mn-ea"/>
                      <a:cs typeface="+mn-cs"/>
                    </a:defRPr>
                  </a:lvl1pPr>
                  <a:lvl2pPr marL="521797" algn="l" defTabSz="521797" rtl="0" eaLnBrk="1" latinLnBrk="0" hangingPunct="1">
                    <a:defRPr sz="2054" kern="1200">
                      <a:solidFill>
                        <a:schemeClr val="tx1"/>
                      </a:solidFill>
                      <a:latin typeface="+mn-lt"/>
                      <a:ea typeface="+mn-ea"/>
                      <a:cs typeface="+mn-cs"/>
                    </a:defRPr>
                  </a:lvl2pPr>
                  <a:lvl3pPr marL="1043594" algn="l" defTabSz="521797" rtl="0" eaLnBrk="1" latinLnBrk="0" hangingPunct="1">
                    <a:defRPr sz="2054" kern="1200">
                      <a:solidFill>
                        <a:schemeClr val="tx1"/>
                      </a:solidFill>
                      <a:latin typeface="+mn-lt"/>
                      <a:ea typeface="+mn-ea"/>
                      <a:cs typeface="+mn-cs"/>
                    </a:defRPr>
                  </a:lvl3pPr>
                  <a:lvl4pPr marL="1565393" algn="l" defTabSz="521797" rtl="0" eaLnBrk="1" latinLnBrk="0" hangingPunct="1">
                    <a:defRPr sz="2054" kern="1200">
                      <a:solidFill>
                        <a:schemeClr val="tx1"/>
                      </a:solidFill>
                      <a:latin typeface="+mn-lt"/>
                      <a:ea typeface="+mn-ea"/>
                      <a:cs typeface="+mn-cs"/>
                    </a:defRPr>
                  </a:lvl4pPr>
                  <a:lvl5pPr marL="2087190" algn="l" defTabSz="521797" rtl="0" eaLnBrk="1" latinLnBrk="0" hangingPunct="1">
                    <a:defRPr sz="2054" kern="1200">
                      <a:solidFill>
                        <a:schemeClr val="tx1"/>
                      </a:solidFill>
                      <a:latin typeface="+mn-lt"/>
                      <a:ea typeface="+mn-ea"/>
                      <a:cs typeface="+mn-cs"/>
                    </a:defRPr>
                  </a:lvl5pPr>
                  <a:lvl6pPr marL="2608987" algn="l" defTabSz="521797" rtl="0" eaLnBrk="1" latinLnBrk="0" hangingPunct="1">
                    <a:defRPr sz="2054" kern="1200">
                      <a:solidFill>
                        <a:schemeClr val="tx1"/>
                      </a:solidFill>
                      <a:latin typeface="+mn-lt"/>
                      <a:ea typeface="+mn-ea"/>
                      <a:cs typeface="+mn-cs"/>
                    </a:defRPr>
                  </a:lvl6pPr>
                  <a:lvl7pPr marL="3130785" algn="l" defTabSz="521797" rtl="0" eaLnBrk="1" latinLnBrk="0" hangingPunct="1">
                    <a:defRPr sz="2054" kern="1200">
                      <a:solidFill>
                        <a:schemeClr val="tx1"/>
                      </a:solidFill>
                      <a:latin typeface="+mn-lt"/>
                      <a:ea typeface="+mn-ea"/>
                      <a:cs typeface="+mn-cs"/>
                    </a:defRPr>
                  </a:lvl7pPr>
                  <a:lvl8pPr marL="3652582" algn="l" defTabSz="521797" rtl="0" eaLnBrk="1" latinLnBrk="0" hangingPunct="1">
                    <a:defRPr sz="2054" kern="1200">
                      <a:solidFill>
                        <a:schemeClr val="tx1"/>
                      </a:solidFill>
                      <a:latin typeface="+mn-lt"/>
                      <a:ea typeface="+mn-ea"/>
                      <a:cs typeface="+mn-cs"/>
                    </a:defRPr>
                  </a:lvl8pPr>
                  <a:lvl9pPr marL="4174379" algn="l" defTabSz="521797" rtl="0" eaLnBrk="1" latinLnBrk="0" hangingPunct="1">
                    <a:defRPr sz="2054" kern="1200">
                      <a:solidFill>
                        <a:schemeClr val="tx1"/>
                      </a:solidFill>
                      <a:latin typeface="+mn-lt"/>
                      <a:ea typeface="+mn-ea"/>
                      <a:cs typeface="+mn-cs"/>
                    </a:defRPr>
                  </a:lvl9pPr>
                </a:lstStyle>
                <a:p>
                  <a:pPr algn="ctr">
                    <a:lnSpc>
                      <a:spcPct val="90000"/>
                    </a:lnSpc>
                    <a:spcAft>
                      <a:spcPts val="900"/>
                    </a:spcAft>
                  </a:pPr>
                  <a:r>
                    <a:rPr lang="nl-NL" sz="1200" dirty="0">
                      <a:solidFill>
                        <a:schemeClr val="tx2"/>
                      </a:solidFill>
                      <a:latin typeface="Signify Relative Book" panose="02000506040000020004" pitchFamily="50" charset="0"/>
                      <a:ea typeface="Times New Roman" panose="02020603050405020304" pitchFamily="18" charset="0"/>
                    </a:rPr>
                    <a:t>5</a:t>
                  </a:r>
                  <a:r>
                    <a:rPr lang="nl-NL" sz="1200" dirty="0">
                      <a:solidFill>
                        <a:schemeClr val="tx2"/>
                      </a:solidFill>
                      <a:effectLst/>
                      <a:latin typeface="Signify Relative Book" panose="02000506040000020004" pitchFamily="50" charset="0"/>
                      <a:ea typeface="Times New Roman" panose="02020603050405020304" pitchFamily="18" charset="0"/>
                    </a:rPr>
                    <a:t>0% extra energy savings with daylight &amp;  presence detection</a:t>
                  </a:r>
                </a:p>
              </p:txBody>
            </p:sp>
          </p:grpSp>
        </p:grpSp>
        <p:sp>
          <p:nvSpPr>
            <p:cNvPr id="24" name="Tekstvak 14">
              <a:extLst>
                <a:ext uri="{FF2B5EF4-FFF2-40B4-BE49-F238E27FC236}">
                  <a16:creationId xmlns:a16="http://schemas.microsoft.com/office/drawing/2014/main" id="{DF0C8B00-17AA-B824-18B5-4405D29319BE}"/>
                </a:ext>
              </a:extLst>
            </p:cNvPr>
            <p:cNvSpPr txBox="1"/>
            <p:nvPr/>
          </p:nvSpPr>
          <p:spPr>
            <a:xfrm>
              <a:off x="7363450" y="2612084"/>
              <a:ext cx="2492962" cy="1722119"/>
            </a:xfrm>
            <a:prstGeom prst="rect">
              <a:avLst/>
            </a:prstGeom>
            <a:noFill/>
          </p:spPr>
          <p:txBody>
            <a:bodyPr wrap="square" lIns="0" tIns="0" rIns="0" bIns="0" rtlCol="0" anchor="ctr">
              <a:noAutofit/>
            </a:bodyPr>
            <a:lstStyle>
              <a:defPPr>
                <a:defRPr lang="en-US"/>
              </a:defPPr>
              <a:lvl1pPr marL="0" algn="l" defTabSz="521797" rtl="0" eaLnBrk="1" latinLnBrk="0" hangingPunct="1">
                <a:defRPr sz="2054" kern="1200">
                  <a:solidFill>
                    <a:schemeClr val="tx1"/>
                  </a:solidFill>
                  <a:latin typeface="+mn-lt"/>
                  <a:ea typeface="+mn-ea"/>
                  <a:cs typeface="+mn-cs"/>
                </a:defRPr>
              </a:lvl1pPr>
              <a:lvl2pPr marL="521797" algn="l" defTabSz="521797" rtl="0" eaLnBrk="1" latinLnBrk="0" hangingPunct="1">
                <a:defRPr sz="2054" kern="1200">
                  <a:solidFill>
                    <a:schemeClr val="tx1"/>
                  </a:solidFill>
                  <a:latin typeface="+mn-lt"/>
                  <a:ea typeface="+mn-ea"/>
                  <a:cs typeface="+mn-cs"/>
                </a:defRPr>
              </a:lvl2pPr>
              <a:lvl3pPr marL="1043594" algn="l" defTabSz="521797" rtl="0" eaLnBrk="1" latinLnBrk="0" hangingPunct="1">
                <a:defRPr sz="2054" kern="1200">
                  <a:solidFill>
                    <a:schemeClr val="tx1"/>
                  </a:solidFill>
                  <a:latin typeface="+mn-lt"/>
                  <a:ea typeface="+mn-ea"/>
                  <a:cs typeface="+mn-cs"/>
                </a:defRPr>
              </a:lvl3pPr>
              <a:lvl4pPr marL="1565393" algn="l" defTabSz="521797" rtl="0" eaLnBrk="1" latinLnBrk="0" hangingPunct="1">
                <a:defRPr sz="2054" kern="1200">
                  <a:solidFill>
                    <a:schemeClr val="tx1"/>
                  </a:solidFill>
                  <a:latin typeface="+mn-lt"/>
                  <a:ea typeface="+mn-ea"/>
                  <a:cs typeface="+mn-cs"/>
                </a:defRPr>
              </a:lvl4pPr>
              <a:lvl5pPr marL="2087190" algn="l" defTabSz="521797" rtl="0" eaLnBrk="1" latinLnBrk="0" hangingPunct="1">
                <a:defRPr sz="2054" kern="1200">
                  <a:solidFill>
                    <a:schemeClr val="tx1"/>
                  </a:solidFill>
                  <a:latin typeface="+mn-lt"/>
                  <a:ea typeface="+mn-ea"/>
                  <a:cs typeface="+mn-cs"/>
                </a:defRPr>
              </a:lvl5pPr>
              <a:lvl6pPr marL="2608987" algn="l" defTabSz="521797" rtl="0" eaLnBrk="1" latinLnBrk="0" hangingPunct="1">
                <a:defRPr sz="2054" kern="1200">
                  <a:solidFill>
                    <a:schemeClr val="tx1"/>
                  </a:solidFill>
                  <a:latin typeface="+mn-lt"/>
                  <a:ea typeface="+mn-ea"/>
                  <a:cs typeface="+mn-cs"/>
                </a:defRPr>
              </a:lvl6pPr>
              <a:lvl7pPr marL="3130785" algn="l" defTabSz="521797" rtl="0" eaLnBrk="1" latinLnBrk="0" hangingPunct="1">
                <a:defRPr sz="2054" kern="1200">
                  <a:solidFill>
                    <a:schemeClr val="tx1"/>
                  </a:solidFill>
                  <a:latin typeface="+mn-lt"/>
                  <a:ea typeface="+mn-ea"/>
                  <a:cs typeface="+mn-cs"/>
                </a:defRPr>
              </a:lvl7pPr>
              <a:lvl8pPr marL="3652582" algn="l" defTabSz="521797" rtl="0" eaLnBrk="1" latinLnBrk="0" hangingPunct="1">
                <a:defRPr sz="2054" kern="1200">
                  <a:solidFill>
                    <a:schemeClr val="tx1"/>
                  </a:solidFill>
                  <a:latin typeface="+mn-lt"/>
                  <a:ea typeface="+mn-ea"/>
                  <a:cs typeface="+mn-cs"/>
                </a:defRPr>
              </a:lvl8pPr>
              <a:lvl9pPr marL="4174379" algn="l" defTabSz="521797" rtl="0" eaLnBrk="1" latinLnBrk="0" hangingPunct="1">
                <a:defRPr sz="2054" kern="1200">
                  <a:solidFill>
                    <a:schemeClr val="tx1"/>
                  </a:solidFill>
                  <a:latin typeface="+mn-lt"/>
                  <a:ea typeface="+mn-ea"/>
                  <a:cs typeface="+mn-cs"/>
                </a:defRPr>
              </a:lvl9pPr>
            </a:lstStyle>
            <a:p>
              <a:pPr algn="ctr">
                <a:lnSpc>
                  <a:spcPct val="90000"/>
                </a:lnSpc>
                <a:spcAft>
                  <a:spcPts val="900"/>
                </a:spcAft>
              </a:pPr>
              <a:r>
                <a:rPr lang="nl-NL" sz="2800" dirty="0">
                  <a:solidFill>
                    <a:schemeClr val="tx2"/>
                  </a:solidFill>
                  <a:latin typeface="Signify Relative Book" panose="02000506040000020004" pitchFamily="50" charset="0"/>
                </a:rPr>
                <a:t>Extra </a:t>
              </a:r>
              <a:r>
                <a:rPr lang="nl-NL" sz="2800" dirty="0">
                  <a:solidFill>
                    <a:schemeClr val="tx2"/>
                  </a:solidFill>
                </a:rPr>
                <a:t>50%</a:t>
              </a:r>
            </a:p>
            <a:p>
              <a:pPr algn="ctr">
                <a:lnSpc>
                  <a:spcPct val="90000"/>
                </a:lnSpc>
                <a:spcAft>
                  <a:spcPts val="900"/>
                </a:spcAft>
              </a:pPr>
              <a:r>
                <a:rPr lang="nl-NL" sz="1800" dirty="0">
                  <a:solidFill>
                    <a:schemeClr val="tx2"/>
                  </a:solidFill>
                </a:rPr>
                <a:t>t.o.v. Stap 1</a:t>
              </a:r>
              <a:endParaRPr lang="nl-NL" sz="1600" dirty="0">
                <a:solidFill>
                  <a:schemeClr val="tx2"/>
                </a:solidFill>
              </a:endParaRPr>
            </a:p>
            <a:p>
              <a:pPr algn="ctr">
                <a:lnSpc>
                  <a:spcPct val="90000"/>
                </a:lnSpc>
                <a:spcAft>
                  <a:spcPts val="900"/>
                </a:spcAft>
              </a:pPr>
              <a:endParaRPr lang="nl-NL" sz="4800" dirty="0">
                <a:solidFill>
                  <a:schemeClr val="tx2"/>
                </a:solidFill>
              </a:endParaRPr>
            </a:p>
          </p:txBody>
        </p:sp>
      </p:grpSp>
      <p:pic>
        <p:nvPicPr>
          <p:cNvPr id="3" name="Picture 2">
            <a:extLst>
              <a:ext uri="{FF2B5EF4-FFF2-40B4-BE49-F238E27FC236}">
                <a16:creationId xmlns:a16="http://schemas.microsoft.com/office/drawing/2014/main" id="{B202B823-DC3E-AD3A-59AE-0A37B40B5E42}"/>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t="-1"/>
          <a:stretch/>
        </p:blipFill>
        <p:spPr>
          <a:xfrm>
            <a:off x="-13054" y="0"/>
            <a:ext cx="5634141" cy="6856718"/>
          </a:xfrm>
          <a:prstGeom prst="rect">
            <a:avLst/>
          </a:prstGeom>
        </p:spPr>
      </p:pic>
    </p:spTree>
    <p:extLst>
      <p:ext uri="{BB962C8B-B14F-4D97-AF65-F5344CB8AC3E}">
        <p14:creationId xmlns:p14="http://schemas.microsoft.com/office/powerpoint/2010/main" val="1945479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2103CC2B-CFFF-44EE-9581-49CED764E4C5}"/>
              </a:ext>
            </a:extLst>
          </p:cNvPr>
          <p:cNvSpPr>
            <a:spLocks noGrp="1"/>
          </p:cNvSpPr>
          <p:nvPr>
            <p:ph type="title"/>
          </p:nvPr>
        </p:nvSpPr>
        <p:spPr/>
        <p:txBody>
          <a:bodyPr/>
          <a:lstStyle/>
          <a:p>
            <a:r>
              <a:rPr lang="nl-NL" dirty="0">
                <a:solidFill>
                  <a:schemeClr val="accent3"/>
                </a:solidFill>
                <a:latin typeface="Signify Raisonne DemiBold" panose="020B0703030201040104" pitchFamily="34" charset="0"/>
              </a:rPr>
              <a:t>Till</a:t>
            </a:r>
            <a:r>
              <a:rPr lang="nl-NL" sz="2800" dirty="0">
                <a:solidFill>
                  <a:schemeClr val="accent3"/>
                </a:solidFill>
                <a:latin typeface="Signify Raisonne DemiBold" panose="020B0703030201040104" pitchFamily="34" charset="0"/>
              </a:rPr>
              <a:t> 700 Euro per </a:t>
            </a:r>
            <a:r>
              <a:rPr lang="nl-NL" dirty="0">
                <a:solidFill>
                  <a:schemeClr val="accent3"/>
                </a:solidFill>
                <a:latin typeface="Signify Raisonne DemiBold" panose="020B0703030201040104" pitchFamily="34" charset="0"/>
              </a:rPr>
              <a:t>room</a:t>
            </a:r>
            <a:r>
              <a:rPr lang="nl-NL" dirty="0">
                <a:latin typeface="Signify Raisonne DemiBold" panose="020B0703030201040104" pitchFamily="34" charset="0"/>
              </a:rPr>
              <a:t> </a:t>
            </a:r>
            <a:r>
              <a:rPr lang="nl-NL" b="0" dirty="0">
                <a:latin typeface="Signify Raisonne DemiBold" panose="020B0703030201040104" pitchFamily="34" charset="0"/>
              </a:rPr>
              <a:t>are burned</a:t>
            </a:r>
            <a:r>
              <a:rPr lang="nl-NL" b="0" dirty="0">
                <a:solidFill>
                  <a:schemeClr val="accent3"/>
                </a:solidFill>
                <a:latin typeface="Signify Raisonne DemiBold" panose="020B0703030201040104" pitchFamily="34" charset="0"/>
              </a:rPr>
              <a:t> every year </a:t>
            </a:r>
            <a:r>
              <a:rPr lang="nl-NL" b="0" dirty="0">
                <a:latin typeface="Signify Raisonne DemiBold" panose="020B0703030201040104" pitchFamily="34" charset="0"/>
              </a:rPr>
              <a:t>with</a:t>
            </a:r>
            <a:r>
              <a:rPr lang="nl-NL" b="0" dirty="0">
                <a:solidFill>
                  <a:schemeClr val="accent3"/>
                </a:solidFill>
                <a:latin typeface="Signify Raisonne DemiBold" panose="020B0703030201040104" pitchFamily="34" charset="0"/>
              </a:rPr>
              <a:t> </a:t>
            </a:r>
            <a:r>
              <a:rPr lang="nl-NL" sz="2800" dirty="0">
                <a:latin typeface="Signify Raisonne DemiBold" panose="020B0703030201040104" pitchFamily="34" charset="0"/>
              </a:rPr>
              <a:t>conventionele verlichting</a:t>
            </a:r>
            <a:br>
              <a:rPr lang="nl-NL" sz="2800" dirty="0">
                <a:latin typeface="Signify Raisonne DemiBold" panose="020B0703030201040104" pitchFamily="34" charset="0"/>
              </a:rPr>
            </a:br>
            <a:br>
              <a:rPr lang="nl-NL" sz="3200" dirty="0">
                <a:solidFill>
                  <a:schemeClr val="tx2"/>
                </a:solidFill>
                <a:latin typeface="Signify Raisonne DemiBold" panose="020B0703030201040104" pitchFamily="34" charset="0"/>
              </a:rPr>
            </a:br>
            <a:r>
              <a:rPr lang="nl-NL" sz="3200" dirty="0">
                <a:solidFill>
                  <a:schemeClr val="tx2"/>
                </a:solidFill>
                <a:latin typeface="Signify Raisonne DemiBold" panose="020B0703030201040104" pitchFamily="34" charset="0"/>
              </a:rPr>
              <a:t> </a:t>
            </a:r>
            <a:br>
              <a:rPr lang="nl-NL" sz="3200" dirty="0">
                <a:solidFill>
                  <a:schemeClr val="tx2"/>
                </a:solidFill>
              </a:rPr>
            </a:br>
            <a:endParaRPr lang="en-US" sz="2800" dirty="0">
              <a:solidFill>
                <a:schemeClr val="tx2"/>
              </a:solidFill>
            </a:endParaRPr>
          </a:p>
        </p:txBody>
      </p:sp>
      <p:sp>
        <p:nvSpPr>
          <p:cNvPr id="4" name="Content Placeholder 3">
            <a:extLst>
              <a:ext uri="{FF2B5EF4-FFF2-40B4-BE49-F238E27FC236}">
                <a16:creationId xmlns:a16="http://schemas.microsoft.com/office/drawing/2014/main" id="{DC6682F0-C34E-FD07-EAD4-C3441FA3539F}"/>
              </a:ext>
            </a:extLst>
          </p:cNvPr>
          <p:cNvSpPr>
            <a:spLocks noGrp="1"/>
          </p:cNvSpPr>
          <p:nvPr>
            <p:ph sz="half" idx="1"/>
          </p:nvPr>
        </p:nvSpPr>
        <p:spPr>
          <a:xfrm>
            <a:off x="6589929" y="4188243"/>
            <a:ext cx="5274693" cy="4517348"/>
          </a:xfrm>
        </p:spPr>
        <p:txBody>
          <a:bodyPr/>
          <a:lstStyle/>
          <a:p>
            <a:pPr marL="285750" marR="0" lvl="0" indent="-285750" defTabSz="52096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i="0" u="none" strike="noStrike" kern="1200" cap="none" spc="0" normalizeH="0" baseline="0" noProof="0" dirty="0">
                <a:ln>
                  <a:noFill/>
                </a:ln>
                <a:solidFill>
                  <a:srgbClr val="3C3C41"/>
                </a:solidFill>
                <a:effectLst/>
                <a:uLnTx/>
                <a:uFillTx/>
                <a:latin typeface="Signify Relative Book" panose="02000506040000020004" pitchFamily="50" charset="0"/>
              </a:rPr>
              <a:t>Size of room: +/- </a:t>
            </a:r>
            <a:r>
              <a:rPr lang="en-US" sz="1600" dirty="0">
                <a:solidFill>
                  <a:srgbClr val="3C3C41"/>
                </a:solidFill>
                <a:latin typeface="Signify Relative Book" panose="02000506040000020004" pitchFamily="50" charset="0"/>
              </a:rPr>
              <a:t>43</a:t>
            </a:r>
            <a:r>
              <a:rPr kumimoji="0" lang="en-US" sz="1600" i="0" u="none" strike="noStrike" kern="1200" cap="none" spc="0" normalizeH="0" baseline="0" noProof="0" dirty="0">
                <a:ln>
                  <a:noFill/>
                </a:ln>
                <a:solidFill>
                  <a:srgbClr val="3C3C41"/>
                </a:solidFill>
                <a:effectLst/>
                <a:uLnTx/>
                <a:uFillTx/>
                <a:latin typeface="Signify Relative Book" panose="02000506040000020004" pitchFamily="50" charset="0"/>
              </a:rPr>
              <a:t>m²</a:t>
            </a:r>
          </a:p>
          <a:p>
            <a:pPr marL="285750" marR="0" lvl="0" indent="-285750" defTabSz="52096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i="0" u="none" strike="noStrike" kern="1200" cap="none" spc="0" normalizeH="0" baseline="0" noProof="0" dirty="0">
              <a:ln>
                <a:noFill/>
              </a:ln>
              <a:solidFill>
                <a:srgbClr val="3C3C41"/>
              </a:solidFill>
              <a:effectLst/>
              <a:uLnTx/>
              <a:uFillTx/>
              <a:latin typeface="Signify Relative Book" panose="02000506040000020004" pitchFamily="50" charset="0"/>
            </a:endParaRPr>
          </a:p>
          <a:p>
            <a:pPr marL="285750" marR="0" lvl="0" indent="-285750" defTabSz="52096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solidFill>
                  <a:srgbClr val="3C3C41"/>
                </a:solidFill>
                <a:latin typeface="Signify Relative Book" panose="02000506040000020004" pitchFamily="50" charset="0"/>
              </a:rPr>
              <a:t>9 lighting fixtures with 2xTL5 36W =&gt; LED</a:t>
            </a:r>
          </a:p>
          <a:p>
            <a:pPr marL="285750" marR="0" lvl="0" indent="-285750" defTabSz="52096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600" dirty="0">
              <a:solidFill>
                <a:srgbClr val="3C3C41"/>
              </a:solidFill>
              <a:latin typeface="Signify Relative Book" panose="02000506040000020004" pitchFamily="50" charset="0"/>
            </a:endParaRPr>
          </a:p>
          <a:p>
            <a:pPr marL="285750" marR="0" lvl="0" indent="-285750" defTabSz="52096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solidFill>
                  <a:srgbClr val="3C3C41"/>
                </a:solidFill>
                <a:latin typeface="Signify Relative Book" panose="02000506040000020004" pitchFamily="50" charset="0"/>
              </a:rPr>
              <a:t>Including sensors (</a:t>
            </a:r>
            <a:r>
              <a:rPr lang="en-US" sz="1200" i="1" dirty="0">
                <a:solidFill>
                  <a:srgbClr val="3C3C41"/>
                </a:solidFill>
                <a:latin typeface="Signify Relative Book" panose="02000506040000020004" pitchFamily="50" charset="0"/>
              </a:rPr>
              <a:t>daylight &amp; presence detection</a:t>
            </a:r>
            <a:r>
              <a:rPr lang="en-US" sz="1600" dirty="0">
                <a:solidFill>
                  <a:srgbClr val="3C3C41"/>
                </a:solidFill>
                <a:latin typeface="Signify Relative Book" panose="02000506040000020004" pitchFamily="50" charset="0"/>
              </a:rPr>
              <a:t>)</a:t>
            </a:r>
          </a:p>
          <a:p>
            <a:pPr marL="285750" marR="0" lvl="0" indent="-285750" defTabSz="52096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600" dirty="0">
              <a:solidFill>
                <a:srgbClr val="3C3C41"/>
              </a:solidFill>
              <a:latin typeface="Signify Relative Book" panose="02000506040000020004" pitchFamily="50" charset="0"/>
            </a:endParaRPr>
          </a:p>
          <a:p>
            <a:pPr marL="285750" marR="0" lvl="0" indent="-285750" defTabSz="52096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solidFill>
                  <a:srgbClr val="3C3C41"/>
                </a:solidFill>
                <a:latin typeface="Signify Relative Book" panose="02000506040000020004" pitchFamily="50" charset="0"/>
              </a:rPr>
              <a:t>Energy costs: 0,35€/kWh</a:t>
            </a:r>
          </a:p>
          <a:p>
            <a:pPr marL="285750" marR="0" lvl="0" indent="-285750" defTabSz="52096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solidFill>
                <a:srgbClr val="3C3C41"/>
              </a:solidFill>
              <a:latin typeface="Signify Relative Book" panose="02000506040000020004" pitchFamily="50" charset="0"/>
            </a:endParaRPr>
          </a:p>
          <a:p>
            <a:endParaRPr lang="en-BE" dirty="0"/>
          </a:p>
        </p:txBody>
      </p:sp>
      <p:sp>
        <p:nvSpPr>
          <p:cNvPr id="5" name="Picture Placeholder 4">
            <a:extLst>
              <a:ext uri="{FF2B5EF4-FFF2-40B4-BE49-F238E27FC236}">
                <a16:creationId xmlns:a16="http://schemas.microsoft.com/office/drawing/2014/main" id="{09ED9C8A-4BDD-9707-E83B-92D2D5153F97}"/>
              </a:ext>
            </a:extLst>
          </p:cNvPr>
          <p:cNvSpPr>
            <a:spLocks noGrp="1"/>
          </p:cNvSpPr>
          <p:nvPr>
            <p:ph type="pic" sz="quarter" idx="13"/>
          </p:nvPr>
        </p:nvSpPr>
        <p:spPr/>
      </p:sp>
      <p:pic>
        <p:nvPicPr>
          <p:cNvPr id="1026" name="Picture 2" descr="Geld zerstören, zerreißen oder verbrennen: Ist das erlaubt? - Modern Wealth">
            <a:extLst>
              <a:ext uri="{FF2B5EF4-FFF2-40B4-BE49-F238E27FC236}">
                <a16:creationId xmlns:a16="http://schemas.microsoft.com/office/drawing/2014/main" id="{897E2D15-37A0-3B60-6E08-B508C08EBBDC}"/>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1" y="1"/>
            <a:ext cx="6095097" cy="685799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Tabel 11">
            <a:extLst>
              <a:ext uri="{FF2B5EF4-FFF2-40B4-BE49-F238E27FC236}">
                <a16:creationId xmlns:a16="http://schemas.microsoft.com/office/drawing/2014/main" id="{FBE59E7C-16CE-2E9C-F70E-6B0532120A0D}"/>
              </a:ext>
            </a:extLst>
          </p:cNvPr>
          <p:cNvGraphicFramePr>
            <a:graphicFrameLocks noGrp="1"/>
          </p:cNvGraphicFramePr>
          <p:nvPr>
            <p:extLst>
              <p:ext uri="{D42A27DB-BD31-4B8C-83A1-F6EECF244321}">
                <p14:modId xmlns:p14="http://schemas.microsoft.com/office/powerpoint/2010/main" val="40517971"/>
              </p:ext>
            </p:extLst>
          </p:nvPr>
        </p:nvGraphicFramePr>
        <p:xfrm>
          <a:off x="6504204" y="2375691"/>
          <a:ext cx="5146084" cy="1031828"/>
        </p:xfrm>
        <a:graphic>
          <a:graphicData uri="http://schemas.openxmlformats.org/drawingml/2006/table">
            <a:tbl>
              <a:tblPr firstRow="1" bandRow="1">
                <a:tableStyleId>{5C22544A-7EE6-4342-B048-85BDC9FD1C3A}</a:tableStyleId>
              </a:tblPr>
              <a:tblGrid>
                <a:gridCol w="2573042">
                  <a:extLst>
                    <a:ext uri="{9D8B030D-6E8A-4147-A177-3AD203B41FA5}">
                      <a16:colId xmlns:a16="http://schemas.microsoft.com/office/drawing/2014/main" val="2813678690"/>
                    </a:ext>
                  </a:extLst>
                </a:gridCol>
                <a:gridCol w="2573042">
                  <a:extLst>
                    <a:ext uri="{9D8B030D-6E8A-4147-A177-3AD203B41FA5}">
                      <a16:colId xmlns:a16="http://schemas.microsoft.com/office/drawing/2014/main" val="2408322987"/>
                    </a:ext>
                  </a:extLst>
                </a:gridCol>
              </a:tblGrid>
              <a:tr h="391748">
                <a:tc>
                  <a:txBody>
                    <a:bodyPr/>
                    <a:lstStyle/>
                    <a:p>
                      <a:pPr algn="ctr"/>
                      <a:r>
                        <a:rPr lang="en-US" sz="1800" dirty="0">
                          <a:latin typeface="Signify Relative Book" panose="02000506040000020004" pitchFamily="50" charset="0"/>
                        </a:rPr>
                        <a:t>2800h/year</a:t>
                      </a:r>
                      <a:endParaRPr lang="en-BE" sz="1800" dirty="0">
                        <a:latin typeface="Signify Relative Book" panose="02000506040000020004" pitchFamily="50" charset="0"/>
                      </a:endParaRPr>
                    </a:p>
                  </a:txBody>
                  <a:tcPr/>
                </a:tc>
                <a:tc>
                  <a:txBody>
                    <a:bodyPr/>
                    <a:lstStyle/>
                    <a:p>
                      <a:pPr algn="ctr"/>
                      <a:r>
                        <a:rPr lang="en-US" sz="1800" dirty="0">
                          <a:latin typeface="Signify Relative Book" panose="02000506040000020004" pitchFamily="50" charset="0"/>
                        </a:rPr>
                        <a:t>4000h/year</a:t>
                      </a:r>
                      <a:endParaRPr lang="en-BE" sz="1800" dirty="0">
                        <a:latin typeface="Signify Relative Book" panose="02000506040000020004" pitchFamily="50" charset="0"/>
                      </a:endParaRPr>
                    </a:p>
                  </a:txBody>
                  <a:tcPr/>
                </a:tc>
                <a:extLst>
                  <a:ext uri="{0D108BD9-81ED-4DB2-BD59-A6C34878D82A}">
                    <a16:rowId xmlns:a16="http://schemas.microsoft.com/office/drawing/2014/main" val="2648923894"/>
                  </a:ext>
                </a:extLst>
              </a:tr>
              <a:tr h="391748">
                <a:tc>
                  <a:txBody>
                    <a:bodyPr/>
                    <a:lstStyle/>
                    <a:p>
                      <a:pPr algn="ctr"/>
                      <a:r>
                        <a:rPr lang="en-US" sz="3600" dirty="0">
                          <a:latin typeface="Signify Relative Book" panose="02000506040000020004" pitchFamily="50" charset="0"/>
                        </a:rPr>
                        <a:t>521€/year</a:t>
                      </a:r>
                      <a:endParaRPr lang="en-BE" sz="3600" dirty="0">
                        <a:latin typeface="Signify Relative Book" panose="02000506040000020004" pitchFamily="50" charset="0"/>
                      </a:endParaRPr>
                    </a:p>
                  </a:txBody>
                  <a:tcPr/>
                </a:tc>
                <a:tc>
                  <a:txBody>
                    <a:bodyPr/>
                    <a:lstStyle/>
                    <a:p>
                      <a:pPr marL="0" marR="0" lvl="0" indent="0" algn="ctr" defTabSz="912517" rtl="0" eaLnBrk="1" fontAlgn="auto" latinLnBrk="0" hangingPunct="1">
                        <a:lnSpc>
                          <a:spcPct val="100000"/>
                        </a:lnSpc>
                        <a:spcBef>
                          <a:spcPts val="0"/>
                        </a:spcBef>
                        <a:spcAft>
                          <a:spcPts val="0"/>
                        </a:spcAft>
                        <a:buClrTx/>
                        <a:buSzTx/>
                        <a:buFontTx/>
                        <a:buNone/>
                        <a:tabLst/>
                        <a:defRPr/>
                      </a:pPr>
                      <a:r>
                        <a:rPr lang="en-US" sz="3600" dirty="0">
                          <a:latin typeface="Signify Relative Book" panose="02000506040000020004" pitchFamily="50" charset="0"/>
                        </a:rPr>
                        <a:t>740€/year</a:t>
                      </a:r>
                      <a:endParaRPr lang="en-BE" sz="3600" dirty="0">
                        <a:latin typeface="Signify Relative Book" panose="02000506040000020004" pitchFamily="50" charset="0"/>
                      </a:endParaRPr>
                    </a:p>
                  </a:txBody>
                  <a:tcPr/>
                </a:tc>
                <a:extLst>
                  <a:ext uri="{0D108BD9-81ED-4DB2-BD59-A6C34878D82A}">
                    <a16:rowId xmlns:a16="http://schemas.microsoft.com/office/drawing/2014/main" val="1488917366"/>
                  </a:ext>
                </a:extLst>
              </a:tr>
            </a:tbl>
          </a:graphicData>
        </a:graphic>
      </p:graphicFrame>
    </p:spTree>
    <p:extLst>
      <p:ext uri="{BB962C8B-B14F-4D97-AF65-F5344CB8AC3E}">
        <p14:creationId xmlns:p14="http://schemas.microsoft.com/office/powerpoint/2010/main" val="2579629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31A69C8-7AD3-7515-1968-9BAAC045361A}"/>
              </a:ext>
            </a:extLst>
          </p:cNvPr>
          <p:cNvSpPr>
            <a:spLocks noGrp="1"/>
          </p:cNvSpPr>
          <p:nvPr>
            <p:ph type="ftr" sz="quarter" idx="4294967295"/>
          </p:nvPr>
        </p:nvSpPr>
        <p:spPr>
          <a:xfrm>
            <a:off x="920368" y="6332830"/>
            <a:ext cx="4784400" cy="273450"/>
          </a:xfrm>
          <a:prstGeom prst="rect">
            <a:avLst/>
          </a:prstGeom>
        </p:spPr>
        <p:txBody>
          <a:bodyPr/>
          <a:lstStyle/>
          <a:p>
            <a:r>
              <a:rPr lang="en-GB"/>
              <a:t>Document Name</a:t>
            </a:r>
            <a:endParaRPr lang="en-US"/>
          </a:p>
        </p:txBody>
      </p:sp>
      <p:sp>
        <p:nvSpPr>
          <p:cNvPr id="3" name="Slide Number Placeholder 2">
            <a:extLst>
              <a:ext uri="{FF2B5EF4-FFF2-40B4-BE49-F238E27FC236}">
                <a16:creationId xmlns:a16="http://schemas.microsoft.com/office/drawing/2014/main" id="{A48140CD-ABA4-8A32-ADB2-CEF4425AF62C}"/>
              </a:ext>
            </a:extLst>
          </p:cNvPr>
          <p:cNvSpPr>
            <a:spLocks noGrp="1"/>
          </p:cNvSpPr>
          <p:nvPr>
            <p:ph type="sldNum" sz="quarter" idx="12"/>
          </p:nvPr>
        </p:nvSpPr>
        <p:spPr/>
        <p:txBody>
          <a:bodyPr/>
          <a:lstStyle/>
          <a:p>
            <a:fld id="{32B354EE-31EA-4FC2-9496-7B6202183237}" type="slidenum">
              <a:rPr lang="en-US" smtClean="0"/>
              <a:pPr/>
              <a:t>24</a:t>
            </a:fld>
            <a:endParaRPr lang="en-US"/>
          </a:p>
        </p:txBody>
      </p:sp>
      <p:sp>
        <p:nvSpPr>
          <p:cNvPr id="10" name="Title 9">
            <a:extLst>
              <a:ext uri="{FF2B5EF4-FFF2-40B4-BE49-F238E27FC236}">
                <a16:creationId xmlns:a16="http://schemas.microsoft.com/office/drawing/2014/main" id="{99E3D671-DD2B-CEF4-72C2-FCA871D91FE4}"/>
              </a:ext>
            </a:extLst>
          </p:cNvPr>
          <p:cNvSpPr>
            <a:spLocks noGrp="1"/>
          </p:cNvSpPr>
          <p:nvPr>
            <p:ph type="title"/>
          </p:nvPr>
        </p:nvSpPr>
        <p:spPr/>
        <p:txBody>
          <a:bodyPr/>
          <a:lstStyle/>
          <a:p>
            <a:endParaRPr lang="nl-NL"/>
          </a:p>
        </p:txBody>
      </p:sp>
      <p:pic>
        <p:nvPicPr>
          <p:cNvPr id="6146" name="Picture 2" descr="Info en tips over besparen met ledverlichting | Vattenfall">
            <a:extLst>
              <a:ext uri="{FF2B5EF4-FFF2-40B4-BE49-F238E27FC236}">
                <a16:creationId xmlns:a16="http://schemas.microsoft.com/office/drawing/2014/main" id="{A3445979-770F-55B8-3BCC-A5015F289BB5}"/>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t="-1377"/>
          <a:stretch/>
        </p:blipFill>
        <p:spPr bwMode="auto">
          <a:xfrm>
            <a:off x="4121722" y="-104540"/>
            <a:ext cx="4104000" cy="6962540"/>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photo of woman on green grass field outdoors during daytime">
            <a:extLst>
              <a:ext uri="{FF2B5EF4-FFF2-40B4-BE49-F238E27FC236}">
                <a16:creationId xmlns:a16="http://schemas.microsoft.com/office/drawing/2014/main" id="{73FA77DE-FABB-744B-91DA-1CC922320B16}"/>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17722" y="0"/>
            <a:ext cx="410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6154" name="Picture 10" descr="Waarom is duurzaamheid belangrijk? - Ecoteers">
            <a:extLst>
              <a:ext uri="{FF2B5EF4-FFF2-40B4-BE49-F238E27FC236}">
                <a16:creationId xmlns:a16="http://schemas.microsoft.com/office/drawing/2014/main" id="{3D543199-2E31-AEE0-78E9-0C6E53A9554D}"/>
              </a:ext>
            </a:extLst>
          </p:cNvPr>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8194332" y="0"/>
            <a:ext cx="4106226" cy="685800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1CC6A92D-6868-8066-A9B5-63E7C74EFBBD}"/>
              </a:ext>
            </a:extLst>
          </p:cNvPr>
          <p:cNvSpPr txBox="1"/>
          <p:nvPr/>
        </p:nvSpPr>
        <p:spPr>
          <a:xfrm>
            <a:off x="4119496" y="5173829"/>
            <a:ext cx="4074835" cy="1036522"/>
          </a:xfrm>
          <a:prstGeom prst="rect">
            <a:avLst/>
          </a:prstGeom>
          <a:noFill/>
        </p:spPr>
        <p:txBody>
          <a:bodyPr wrap="square" lIns="0" tIns="0" rIns="0" bIns="0" rtlCol="0">
            <a:noAutofit/>
          </a:bodyPr>
          <a:lstStyle>
            <a:defPPr>
              <a:defRPr lang="en-US"/>
            </a:defPPr>
            <a:lvl1pPr>
              <a:lnSpc>
                <a:spcPct val="90000"/>
              </a:lnSpc>
              <a:spcAft>
                <a:spcPts val="900"/>
              </a:spcAft>
              <a:defRPr sz="2800" b="1">
                <a:solidFill>
                  <a:schemeClr val="bg1"/>
                </a:solidFill>
              </a:defRPr>
            </a:lvl1pPr>
          </a:lstStyle>
          <a:p>
            <a:pPr algn="ctr"/>
            <a:r>
              <a:rPr lang="nl-NL" dirty="0"/>
              <a:t> </a:t>
            </a:r>
          </a:p>
          <a:p>
            <a:pPr algn="ctr"/>
            <a:r>
              <a:rPr lang="nl-NL" sz="3200" dirty="0"/>
              <a:t>PROFIT</a:t>
            </a:r>
            <a:endParaRPr lang="nl-NL" dirty="0"/>
          </a:p>
        </p:txBody>
      </p:sp>
      <p:sp>
        <p:nvSpPr>
          <p:cNvPr id="8" name="TextBox 7">
            <a:extLst>
              <a:ext uri="{FF2B5EF4-FFF2-40B4-BE49-F238E27FC236}">
                <a16:creationId xmlns:a16="http://schemas.microsoft.com/office/drawing/2014/main" id="{12391138-807B-C9F0-21D4-6F7976594E21}"/>
              </a:ext>
            </a:extLst>
          </p:cNvPr>
          <p:cNvSpPr txBox="1"/>
          <p:nvPr/>
        </p:nvSpPr>
        <p:spPr>
          <a:xfrm>
            <a:off x="8194331" y="5144633"/>
            <a:ext cx="4101774" cy="751305"/>
          </a:xfrm>
          <a:prstGeom prst="rect">
            <a:avLst/>
          </a:prstGeom>
          <a:noFill/>
        </p:spPr>
        <p:txBody>
          <a:bodyPr wrap="square" lIns="0" tIns="0" rIns="0" bIns="0" rtlCol="0">
            <a:noAutofit/>
          </a:bodyPr>
          <a:lstStyle/>
          <a:p>
            <a:pPr algn="ctr">
              <a:lnSpc>
                <a:spcPct val="90000"/>
              </a:lnSpc>
              <a:spcAft>
                <a:spcPts val="900"/>
              </a:spcAft>
            </a:pPr>
            <a:r>
              <a:rPr lang="nl-NL" sz="2800" b="1" dirty="0">
                <a:solidFill>
                  <a:schemeClr val="bg1"/>
                </a:solidFill>
              </a:rPr>
              <a:t> </a:t>
            </a:r>
          </a:p>
          <a:p>
            <a:pPr algn="ctr">
              <a:lnSpc>
                <a:spcPct val="90000"/>
              </a:lnSpc>
              <a:spcAft>
                <a:spcPts val="900"/>
              </a:spcAft>
            </a:pPr>
            <a:r>
              <a:rPr lang="nl-NL" sz="3200" b="1" dirty="0">
                <a:solidFill>
                  <a:schemeClr val="bg1"/>
                </a:solidFill>
              </a:rPr>
              <a:t>PLANET</a:t>
            </a:r>
          </a:p>
        </p:txBody>
      </p:sp>
      <p:sp>
        <p:nvSpPr>
          <p:cNvPr id="9" name="TextBox 8">
            <a:extLst>
              <a:ext uri="{FF2B5EF4-FFF2-40B4-BE49-F238E27FC236}">
                <a16:creationId xmlns:a16="http://schemas.microsoft.com/office/drawing/2014/main" id="{F5426E79-753E-64DD-FEC2-7A6A313D4C7B}"/>
              </a:ext>
            </a:extLst>
          </p:cNvPr>
          <p:cNvSpPr txBox="1"/>
          <p:nvPr/>
        </p:nvSpPr>
        <p:spPr>
          <a:xfrm>
            <a:off x="17722" y="5180911"/>
            <a:ext cx="4103999" cy="751305"/>
          </a:xfrm>
          <a:prstGeom prst="rect">
            <a:avLst/>
          </a:prstGeom>
          <a:noFill/>
        </p:spPr>
        <p:txBody>
          <a:bodyPr wrap="square" lIns="0" tIns="0" rIns="0" bIns="0" rtlCol="0">
            <a:noAutofit/>
          </a:bodyPr>
          <a:lstStyle>
            <a:defPPr>
              <a:defRPr lang="en-US"/>
            </a:defPPr>
            <a:lvl1pPr>
              <a:lnSpc>
                <a:spcPct val="90000"/>
              </a:lnSpc>
              <a:spcAft>
                <a:spcPts val="900"/>
              </a:spcAft>
              <a:defRPr sz="2800" b="1">
                <a:solidFill>
                  <a:schemeClr val="bg1"/>
                </a:solidFill>
              </a:defRPr>
            </a:lvl1pPr>
          </a:lstStyle>
          <a:p>
            <a:endParaRPr lang="nl-NL" dirty="0"/>
          </a:p>
          <a:p>
            <a:pPr algn="ctr"/>
            <a:r>
              <a:rPr lang="nl-NL" sz="3200" dirty="0"/>
              <a:t>PEOPLE</a:t>
            </a:r>
          </a:p>
        </p:txBody>
      </p:sp>
      <p:sp>
        <p:nvSpPr>
          <p:cNvPr id="4" name="Rectangle 3">
            <a:extLst>
              <a:ext uri="{FF2B5EF4-FFF2-40B4-BE49-F238E27FC236}">
                <a16:creationId xmlns:a16="http://schemas.microsoft.com/office/drawing/2014/main" id="{B73F6C55-2C8C-46D6-B4B8-816FA25D0361}"/>
              </a:ext>
            </a:extLst>
          </p:cNvPr>
          <p:cNvSpPr/>
          <p:nvPr/>
        </p:nvSpPr>
        <p:spPr>
          <a:xfrm>
            <a:off x="0" y="0"/>
            <a:ext cx="8189878" cy="6858000"/>
          </a:xfrm>
          <a:prstGeom prst="rect">
            <a:avLst/>
          </a:prstGeom>
          <a:solidFill>
            <a:srgbClr val="3C3C41">
              <a:alpha val="7098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900"/>
              </a:spcAft>
            </a:pPr>
            <a:endParaRPr lang="nl-NL" sz="1800" dirty="0" err="1">
              <a:solidFill>
                <a:schemeClr val="bg1"/>
              </a:solidFill>
            </a:endParaRPr>
          </a:p>
        </p:txBody>
      </p:sp>
    </p:spTree>
    <p:extLst>
      <p:ext uri="{BB962C8B-B14F-4D97-AF65-F5344CB8AC3E}">
        <p14:creationId xmlns:p14="http://schemas.microsoft.com/office/powerpoint/2010/main" val="250225893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48140CD-ABA4-8A32-ADB2-CEF4425AF62C}"/>
              </a:ext>
            </a:extLst>
          </p:cNvPr>
          <p:cNvSpPr>
            <a:spLocks noGrp="1"/>
          </p:cNvSpPr>
          <p:nvPr>
            <p:ph type="sldNum" sz="quarter" idx="12"/>
          </p:nvPr>
        </p:nvSpPr>
        <p:spPr/>
        <p:txBody>
          <a:bodyPr/>
          <a:lstStyle/>
          <a:p>
            <a:fld id="{32B354EE-31EA-4FC2-9496-7B6202183237}" type="slidenum">
              <a:rPr lang="en-US" smtClean="0"/>
              <a:pPr/>
              <a:t>25</a:t>
            </a:fld>
            <a:endParaRPr lang="en-US"/>
          </a:p>
        </p:txBody>
      </p:sp>
      <p:pic>
        <p:nvPicPr>
          <p:cNvPr id="6154" name="Picture 10" descr="Waarom is duurzaamheid belangrijk? - Ecoteers">
            <a:extLst>
              <a:ext uri="{FF2B5EF4-FFF2-40B4-BE49-F238E27FC236}">
                <a16:creationId xmlns:a16="http://schemas.microsoft.com/office/drawing/2014/main" id="{3D543199-2E31-AEE0-78E9-0C6E53A9554D}"/>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l="-558"/>
          <a:stretch/>
        </p:blipFill>
        <p:spPr bwMode="auto">
          <a:xfrm>
            <a:off x="-182880" y="0"/>
            <a:ext cx="12374880"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12391138-807B-C9F0-21D4-6F7976594E21}"/>
              </a:ext>
            </a:extLst>
          </p:cNvPr>
          <p:cNvSpPr txBox="1"/>
          <p:nvPr/>
        </p:nvSpPr>
        <p:spPr>
          <a:xfrm>
            <a:off x="8194331" y="5144633"/>
            <a:ext cx="4101774" cy="751305"/>
          </a:xfrm>
          <a:prstGeom prst="rect">
            <a:avLst/>
          </a:prstGeom>
          <a:noFill/>
        </p:spPr>
        <p:txBody>
          <a:bodyPr wrap="square" lIns="0" tIns="0" rIns="0" bIns="0" rtlCol="0">
            <a:noAutofit/>
          </a:bodyPr>
          <a:lstStyle/>
          <a:p>
            <a:pPr algn="ctr">
              <a:lnSpc>
                <a:spcPct val="90000"/>
              </a:lnSpc>
              <a:spcAft>
                <a:spcPts val="900"/>
              </a:spcAft>
            </a:pPr>
            <a:r>
              <a:rPr lang="nl-NL" sz="2800" b="1" dirty="0">
                <a:solidFill>
                  <a:schemeClr val="bg1"/>
                </a:solidFill>
              </a:rPr>
              <a:t> </a:t>
            </a:r>
          </a:p>
          <a:p>
            <a:pPr algn="ctr">
              <a:lnSpc>
                <a:spcPct val="90000"/>
              </a:lnSpc>
              <a:spcAft>
                <a:spcPts val="900"/>
              </a:spcAft>
            </a:pPr>
            <a:r>
              <a:rPr lang="nl-NL" sz="3200" b="1" dirty="0">
                <a:solidFill>
                  <a:schemeClr val="bg1"/>
                </a:solidFill>
              </a:rPr>
              <a:t>PLANET</a:t>
            </a:r>
          </a:p>
        </p:txBody>
      </p:sp>
    </p:spTree>
    <p:extLst>
      <p:ext uri="{BB962C8B-B14F-4D97-AF65-F5344CB8AC3E}">
        <p14:creationId xmlns:p14="http://schemas.microsoft.com/office/powerpoint/2010/main" val="276523761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7"/>
          <p:cNvPicPr>
            <a:picLocks/>
          </p:cNvPicPr>
          <p:nvPr>
            <p:custDataLst>
              <p:tags r:id="rId2"/>
            </p:custDataLst>
          </p:nvPr>
        </p:nvPicPr>
        <p:blipFill>
          <a:blip r:embed="rId5" cstate="email">
            <a:extLst>
              <a:ext uri="{28A0092B-C50C-407E-A947-70E740481C1C}">
                <a14:useLocalDpi xmlns:a14="http://schemas.microsoft.com/office/drawing/2010/main"/>
              </a:ext>
            </a:extLst>
          </a:blip>
          <a:stretch>
            <a:fillRect/>
          </a:stretch>
        </p:blipFill>
        <p:spPr>
          <a:xfrm>
            <a:off x="8153400" y="5604701"/>
            <a:ext cx="1201484" cy="220980"/>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4" name="Rectangle 3">
            <a:extLst>
              <a:ext uri="{FF2B5EF4-FFF2-40B4-BE49-F238E27FC236}">
                <a16:creationId xmlns:a16="http://schemas.microsoft.com/office/drawing/2014/main" id="{0E92DFE9-F3C3-493C-8585-648013C6EEB6}"/>
              </a:ext>
            </a:extLst>
          </p:cNvPr>
          <p:cNvSpPr/>
          <p:nvPr/>
        </p:nvSpPr>
        <p:spPr>
          <a:xfrm>
            <a:off x="6544567" y="248183"/>
            <a:ext cx="3145710" cy="17951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21711"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a:ea typeface="+mn-ea"/>
              <a:cs typeface="+mn-cs"/>
            </a:endParaRPr>
          </a:p>
        </p:txBody>
      </p:sp>
      <p:sp>
        <p:nvSpPr>
          <p:cNvPr id="21" name="Rectangle 20">
            <a:extLst>
              <a:ext uri="{FF2B5EF4-FFF2-40B4-BE49-F238E27FC236}">
                <a16:creationId xmlns:a16="http://schemas.microsoft.com/office/drawing/2014/main" id="{9F08A3B1-9C63-4E84-925A-1E8AED777C39}"/>
              </a:ext>
            </a:extLst>
          </p:cNvPr>
          <p:cNvSpPr/>
          <p:nvPr/>
        </p:nvSpPr>
        <p:spPr>
          <a:xfrm>
            <a:off x="7653650" y="5507197"/>
            <a:ext cx="2682880" cy="4935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21711"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a:ea typeface="+mn-ea"/>
              <a:cs typeface="+mn-cs"/>
            </a:endParaRPr>
          </a:p>
        </p:txBody>
      </p:sp>
      <p:sp>
        <p:nvSpPr>
          <p:cNvPr id="19" name="TextBox 18">
            <a:extLst>
              <a:ext uri="{FF2B5EF4-FFF2-40B4-BE49-F238E27FC236}">
                <a16:creationId xmlns:a16="http://schemas.microsoft.com/office/drawing/2014/main" id="{128E979A-0D5F-4AE1-A689-C578109FE03B}"/>
              </a:ext>
            </a:extLst>
          </p:cNvPr>
          <p:cNvSpPr txBox="1"/>
          <p:nvPr/>
        </p:nvSpPr>
        <p:spPr>
          <a:xfrm>
            <a:off x="8208243" y="5411052"/>
            <a:ext cx="1086308" cy="415498"/>
          </a:xfrm>
          <a:prstGeom prst="rect">
            <a:avLst/>
          </a:prstGeom>
          <a:noFill/>
        </p:spPr>
        <p:txBody>
          <a:bodyPr wrap="square" rtlCol="0">
            <a:spAutoFit/>
          </a:bodyPr>
          <a:lstStyle/>
          <a:p>
            <a:pPr marL="0" marR="0" lvl="0" indent="0" algn="ctr" defTabSz="521711" rtl="0" eaLnBrk="1" fontAlgn="auto" latinLnBrk="0" hangingPunct="1">
              <a:lnSpc>
                <a:spcPct val="100000"/>
              </a:lnSpc>
              <a:spcBef>
                <a:spcPts val="0"/>
              </a:spcBef>
              <a:spcAft>
                <a:spcPts val="0"/>
              </a:spcAft>
              <a:buClrTx/>
              <a:buSzTx/>
              <a:buFontTx/>
              <a:buNone/>
              <a:tabLst/>
              <a:defRPr/>
            </a:pPr>
            <a:r>
              <a:rPr kumimoji="0" lang="en-US" sz="2100" b="0" i="0" u="none" strike="noStrike" kern="1200" cap="none" spc="0" normalizeH="0" baseline="0" noProof="0" dirty="0">
                <a:ln>
                  <a:noFill/>
                </a:ln>
                <a:solidFill>
                  <a:prstClr val="white"/>
                </a:solidFill>
                <a:effectLst/>
                <a:uLnTx/>
                <a:uFillTx/>
                <a:latin typeface="Calibri"/>
                <a:ea typeface="+mn-ea"/>
                <a:cs typeface="+mn-cs"/>
              </a:rPr>
              <a:t>Circular</a:t>
            </a:r>
            <a:endParaRPr kumimoji="0" lang="nl-NL" sz="21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13" name="Group 12">
            <a:extLst>
              <a:ext uri="{FF2B5EF4-FFF2-40B4-BE49-F238E27FC236}">
                <a16:creationId xmlns:a16="http://schemas.microsoft.com/office/drawing/2014/main" id="{EB5A0C14-95AF-4B65-B693-D5010E0391E9}"/>
              </a:ext>
            </a:extLst>
          </p:cNvPr>
          <p:cNvGrpSpPr/>
          <p:nvPr/>
        </p:nvGrpSpPr>
        <p:grpSpPr>
          <a:xfrm>
            <a:off x="3482452" y="608583"/>
            <a:ext cx="6775743" cy="6046593"/>
            <a:chOff x="1828505" y="623584"/>
            <a:chExt cx="6307473" cy="5628715"/>
          </a:xfrm>
        </p:grpSpPr>
        <p:sp>
          <p:nvSpPr>
            <p:cNvPr id="15" name="Oval 14">
              <a:extLst>
                <a:ext uri="{FF2B5EF4-FFF2-40B4-BE49-F238E27FC236}">
                  <a16:creationId xmlns:a16="http://schemas.microsoft.com/office/drawing/2014/main" id="{B924CCFF-93DD-4A7D-ABA5-B3E46ACF7B94}"/>
                </a:ext>
              </a:extLst>
            </p:cNvPr>
            <p:cNvSpPr/>
            <p:nvPr/>
          </p:nvSpPr>
          <p:spPr>
            <a:xfrm>
              <a:off x="4059595" y="5061002"/>
              <a:ext cx="1000022" cy="1000019"/>
            </a:xfrm>
            <a:prstGeom prst="ellipse">
              <a:avLst/>
            </a:prstGeom>
            <a:solidFill>
              <a:srgbClr val="17DF8E"/>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21711"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grpSp>
          <p:nvGrpSpPr>
            <p:cNvPr id="16" name="Group 15">
              <a:extLst>
                <a:ext uri="{FF2B5EF4-FFF2-40B4-BE49-F238E27FC236}">
                  <a16:creationId xmlns:a16="http://schemas.microsoft.com/office/drawing/2014/main" id="{D3A40251-5F2B-448C-8BC6-25D5B462F88A}"/>
                </a:ext>
              </a:extLst>
            </p:cNvPr>
            <p:cNvGrpSpPr/>
            <p:nvPr/>
          </p:nvGrpSpPr>
          <p:grpSpPr>
            <a:xfrm>
              <a:off x="3062588" y="1474542"/>
              <a:ext cx="4108395" cy="4112228"/>
              <a:chOff x="3062588" y="1474542"/>
              <a:chExt cx="4108395" cy="4112228"/>
            </a:xfrm>
          </p:grpSpPr>
          <p:cxnSp>
            <p:nvCxnSpPr>
              <p:cNvPr id="64" name="Straight Arrow Connector 63">
                <a:extLst>
                  <a:ext uri="{FF2B5EF4-FFF2-40B4-BE49-F238E27FC236}">
                    <a16:creationId xmlns:a16="http://schemas.microsoft.com/office/drawing/2014/main" id="{685744DC-3576-4D25-A696-3FA761D3CBDE}"/>
                  </a:ext>
                </a:extLst>
              </p:cNvPr>
              <p:cNvCxnSpPr/>
              <p:nvPr/>
            </p:nvCxnSpPr>
            <p:spPr>
              <a:xfrm flipH="1" flipV="1">
                <a:off x="4754953" y="1474542"/>
                <a:ext cx="361833" cy="1824"/>
              </a:xfrm>
              <a:prstGeom prst="straightConnector1">
                <a:avLst/>
              </a:prstGeom>
              <a:ln w="38100">
                <a:solidFill>
                  <a:schemeClr val="accent3">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65" name="Group 64">
                <a:extLst>
                  <a:ext uri="{FF2B5EF4-FFF2-40B4-BE49-F238E27FC236}">
                    <a16:creationId xmlns:a16="http://schemas.microsoft.com/office/drawing/2014/main" id="{7728DB15-602A-4BDC-A2B4-F0532ABD4DB0}"/>
                  </a:ext>
                </a:extLst>
              </p:cNvPr>
              <p:cNvGrpSpPr/>
              <p:nvPr/>
            </p:nvGrpSpPr>
            <p:grpSpPr>
              <a:xfrm>
                <a:off x="3062588" y="1478373"/>
                <a:ext cx="4108395" cy="4108397"/>
                <a:chOff x="3062588" y="1478373"/>
                <a:chExt cx="4108395" cy="4108397"/>
              </a:xfrm>
            </p:grpSpPr>
            <p:sp>
              <p:nvSpPr>
                <p:cNvPr id="66" name="Arc 65">
                  <a:extLst>
                    <a:ext uri="{FF2B5EF4-FFF2-40B4-BE49-F238E27FC236}">
                      <a16:creationId xmlns:a16="http://schemas.microsoft.com/office/drawing/2014/main" id="{F85C1E77-88B8-43EE-A24A-91BC6CAA39CC}"/>
                    </a:ext>
                  </a:extLst>
                </p:cNvPr>
                <p:cNvSpPr/>
                <p:nvPr/>
              </p:nvSpPr>
              <p:spPr>
                <a:xfrm rot="5400000">
                  <a:off x="3062588" y="1478375"/>
                  <a:ext cx="4108395" cy="4108395"/>
                </a:xfrm>
                <a:prstGeom prst="arc">
                  <a:avLst/>
                </a:prstGeom>
                <a:ln w="38100">
                  <a:solidFill>
                    <a:schemeClr val="accent3">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521711"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67" name="Arc 66">
                  <a:extLst>
                    <a:ext uri="{FF2B5EF4-FFF2-40B4-BE49-F238E27FC236}">
                      <a16:creationId xmlns:a16="http://schemas.microsoft.com/office/drawing/2014/main" id="{F7BFD74E-5133-4733-BABF-D17FBBE50828}"/>
                    </a:ext>
                  </a:extLst>
                </p:cNvPr>
                <p:cNvSpPr/>
                <p:nvPr/>
              </p:nvSpPr>
              <p:spPr>
                <a:xfrm>
                  <a:off x="3062588" y="1478373"/>
                  <a:ext cx="4108395" cy="4108395"/>
                </a:xfrm>
                <a:prstGeom prst="arc">
                  <a:avLst/>
                </a:prstGeom>
                <a:ln w="38100">
                  <a:solidFill>
                    <a:schemeClr val="accent3">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521711"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grpSp>
        <p:sp>
          <p:nvSpPr>
            <p:cNvPr id="18" name="Rectangle 17">
              <a:extLst>
                <a:ext uri="{FF2B5EF4-FFF2-40B4-BE49-F238E27FC236}">
                  <a16:creationId xmlns:a16="http://schemas.microsoft.com/office/drawing/2014/main" id="{2EB90617-CAD7-4CD2-8425-F5CEFA6CAE5E}"/>
                </a:ext>
              </a:extLst>
            </p:cNvPr>
            <p:cNvSpPr/>
            <p:nvPr/>
          </p:nvSpPr>
          <p:spPr>
            <a:xfrm>
              <a:off x="6626386" y="1606033"/>
              <a:ext cx="908228" cy="2777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8000" tIns="0" rIns="0" bIns="0" rtlCol="0" anchor="ctr"/>
            <a:lstStyle/>
            <a:p>
              <a:pPr marL="0" marR="0" lvl="0" indent="0" algn="l" defTabSz="1219092"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E487">
                      <a:lumMod val="50000"/>
                    </a:srgbClr>
                  </a:solidFill>
                  <a:effectLst/>
                  <a:uLnTx/>
                  <a:uFillTx/>
                  <a:latin typeface="Calibri"/>
                  <a:ea typeface="+mn-ea"/>
                  <a:cs typeface="+mn-cs"/>
                </a:rPr>
                <a:t>recycle</a:t>
              </a:r>
              <a:endParaRPr kumimoji="0" lang="en-US" sz="1600" b="1" i="0" u="none" strike="noStrike" kern="1200" cap="none" spc="0" normalizeH="0" baseline="0" noProof="0" dirty="0">
                <a:ln>
                  <a:noFill/>
                </a:ln>
                <a:solidFill>
                  <a:srgbClr val="00E487">
                    <a:lumMod val="50000"/>
                  </a:srgbClr>
                </a:solidFill>
                <a:effectLst/>
                <a:uLnTx/>
                <a:uFillTx/>
                <a:latin typeface="Calibri"/>
                <a:ea typeface="+mn-ea"/>
                <a:cs typeface="+mn-cs"/>
              </a:endParaRPr>
            </a:p>
          </p:txBody>
        </p:sp>
        <p:cxnSp>
          <p:nvCxnSpPr>
            <p:cNvPr id="22" name="Straight Arrow Connector 21">
              <a:extLst>
                <a:ext uri="{FF2B5EF4-FFF2-40B4-BE49-F238E27FC236}">
                  <a16:creationId xmlns:a16="http://schemas.microsoft.com/office/drawing/2014/main" id="{C9BE3EC4-9D91-4E52-856D-E0411884A3FB}"/>
                </a:ext>
              </a:extLst>
            </p:cNvPr>
            <p:cNvCxnSpPr/>
            <p:nvPr/>
          </p:nvCxnSpPr>
          <p:spPr>
            <a:xfrm>
              <a:off x="4535153" y="1126070"/>
              <a:ext cx="0" cy="511044"/>
            </a:xfrm>
            <a:prstGeom prst="straightConnector1">
              <a:avLst/>
            </a:prstGeom>
            <a:ln w="31750">
              <a:solidFill>
                <a:srgbClr val="969696"/>
              </a:solidFill>
              <a:prstDash val="solid"/>
              <a:headEnd w="lg" len="med"/>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ABA2A26B-D9CB-42D4-B3F3-131A9B67A206}"/>
                </a:ext>
              </a:extLst>
            </p:cNvPr>
            <p:cNvSpPr txBox="1"/>
            <p:nvPr/>
          </p:nvSpPr>
          <p:spPr>
            <a:xfrm>
              <a:off x="4344056" y="6030700"/>
              <a:ext cx="368691" cy="221599"/>
            </a:xfrm>
            <a:prstGeom prst="rect">
              <a:avLst/>
            </a:prstGeom>
          </p:spPr>
          <p:txBody>
            <a:bodyPr wrap="none" lIns="0" tIns="0" rIns="0" bIns="0" rtlCol="0">
              <a:spAutoFit/>
            </a:bodyPr>
            <a:lstStyle/>
            <a:p>
              <a:pPr marL="0" marR="0" lvl="0" indent="0" algn="r" defTabSz="521711"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B050"/>
                  </a:solidFill>
                  <a:effectLst/>
                  <a:uLnTx/>
                  <a:uFillTx/>
                  <a:latin typeface="Calibri"/>
                  <a:ea typeface="+mn-ea"/>
                  <a:cs typeface="+mn-cs"/>
                </a:rPr>
                <a:t>user</a:t>
              </a:r>
            </a:p>
          </p:txBody>
        </p:sp>
        <p:sp>
          <p:nvSpPr>
            <p:cNvPr id="26" name="Rectangle 25">
              <a:extLst>
                <a:ext uri="{FF2B5EF4-FFF2-40B4-BE49-F238E27FC236}">
                  <a16:creationId xmlns:a16="http://schemas.microsoft.com/office/drawing/2014/main" id="{33F1AF9D-9556-4058-A2A2-A3428DA848E4}"/>
                </a:ext>
              </a:extLst>
            </p:cNvPr>
            <p:cNvSpPr/>
            <p:nvPr/>
          </p:nvSpPr>
          <p:spPr>
            <a:xfrm>
              <a:off x="3807892" y="623584"/>
              <a:ext cx="1454523" cy="566177"/>
            </a:xfrm>
            <a:prstGeom prst="rect">
              <a:avLst/>
            </a:prstGeom>
            <a:solidFill>
              <a:srgbClr val="00E4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092" rtl="0" eaLnBrk="1" fontAlgn="auto" latinLnBrk="0" hangingPunct="1">
                <a:lnSpc>
                  <a:spcPts val="1733"/>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a:ea typeface="+mn-ea"/>
                  <a:cs typeface="+mn-cs"/>
                </a:rPr>
                <a:t>extracting</a:t>
              </a:r>
            </a:p>
            <a:p>
              <a:pPr marL="0" marR="0" lvl="0" indent="0" algn="ctr" defTabSz="1219092" rtl="0" eaLnBrk="1" fontAlgn="auto" latinLnBrk="0" hangingPunct="1">
                <a:lnSpc>
                  <a:spcPts val="1733"/>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a:ea typeface="+mn-ea"/>
                  <a:cs typeface="+mn-cs"/>
                </a:rPr>
                <a:t>raw materials</a:t>
              </a: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27" name="Rectangle 26">
              <a:extLst>
                <a:ext uri="{FF2B5EF4-FFF2-40B4-BE49-F238E27FC236}">
                  <a16:creationId xmlns:a16="http://schemas.microsoft.com/office/drawing/2014/main" id="{F1F74012-4B2F-45AE-A687-851825D49CBB}"/>
                </a:ext>
              </a:extLst>
            </p:cNvPr>
            <p:cNvSpPr/>
            <p:nvPr/>
          </p:nvSpPr>
          <p:spPr>
            <a:xfrm>
              <a:off x="3827455" y="1720425"/>
              <a:ext cx="1415397" cy="384000"/>
            </a:xfrm>
            <a:prstGeom prst="rect">
              <a:avLst/>
            </a:prstGeom>
            <a:solidFill>
              <a:srgbClr val="00E4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092" rtl="0" eaLnBrk="1" fontAlgn="auto" latinLnBrk="0" hangingPunct="1">
                <a:lnSpc>
                  <a:spcPts val="1733"/>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a:ea typeface="+mn-ea"/>
                  <a:cs typeface="+mn-cs"/>
                </a:rPr>
                <a:t>parts supply</a:t>
              </a: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28" name="Rectangle 27">
              <a:extLst>
                <a:ext uri="{FF2B5EF4-FFF2-40B4-BE49-F238E27FC236}">
                  <a16:creationId xmlns:a16="http://schemas.microsoft.com/office/drawing/2014/main" id="{64A42942-8052-494D-80FE-11998536D85A}"/>
                </a:ext>
              </a:extLst>
            </p:cNvPr>
            <p:cNvSpPr/>
            <p:nvPr/>
          </p:nvSpPr>
          <p:spPr>
            <a:xfrm>
              <a:off x="3807892" y="2635171"/>
              <a:ext cx="1454523" cy="384000"/>
            </a:xfrm>
            <a:prstGeom prst="rect">
              <a:avLst/>
            </a:prstGeom>
            <a:solidFill>
              <a:srgbClr val="00E4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092" rtl="0" eaLnBrk="1" fontAlgn="auto" latinLnBrk="0" hangingPunct="1">
                <a:lnSpc>
                  <a:spcPts val="1733"/>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a:ea typeface="+mn-ea"/>
                  <a:cs typeface="+mn-cs"/>
                </a:rPr>
                <a:t>manufacturing</a:t>
              </a: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29" name="Rectangle 28">
              <a:extLst>
                <a:ext uri="{FF2B5EF4-FFF2-40B4-BE49-F238E27FC236}">
                  <a16:creationId xmlns:a16="http://schemas.microsoft.com/office/drawing/2014/main" id="{80E7DB73-B168-4132-8618-A9A3CDAA0E37}"/>
                </a:ext>
              </a:extLst>
            </p:cNvPr>
            <p:cNvSpPr/>
            <p:nvPr/>
          </p:nvSpPr>
          <p:spPr>
            <a:xfrm>
              <a:off x="3807892" y="3608085"/>
              <a:ext cx="1454523" cy="384000"/>
            </a:xfrm>
            <a:prstGeom prst="rect">
              <a:avLst/>
            </a:prstGeom>
            <a:solidFill>
              <a:srgbClr val="00E4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092" rtl="0" eaLnBrk="1" fontAlgn="auto" latinLnBrk="0" hangingPunct="1">
                <a:lnSpc>
                  <a:spcPts val="1733"/>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a:ea typeface="+mn-ea"/>
                  <a:cs typeface="+mn-cs"/>
                </a:rPr>
                <a:t>distribution</a:t>
              </a: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cxnSp>
          <p:nvCxnSpPr>
            <p:cNvPr id="30" name="Straight Arrow Connector 29">
              <a:extLst>
                <a:ext uri="{FF2B5EF4-FFF2-40B4-BE49-F238E27FC236}">
                  <a16:creationId xmlns:a16="http://schemas.microsoft.com/office/drawing/2014/main" id="{C4907191-32CB-4A25-82ED-79336DB3FC24}"/>
                </a:ext>
              </a:extLst>
            </p:cNvPr>
            <p:cNvCxnSpPr/>
            <p:nvPr/>
          </p:nvCxnSpPr>
          <p:spPr>
            <a:xfrm>
              <a:off x="4534751" y="3992085"/>
              <a:ext cx="0" cy="869195"/>
            </a:xfrm>
            <a:prstGeom prst="straightConnector1">
              <a:avLst/>
            </a:prstGeom>
            <a:ln w="31750">
              <a:solidFill>
                <a:srgbClr val="969696"/>
              </a:solidFill>
              <a:prstDash val="solid"/>
              <a:headEnd w="lg" len="med"/>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D3C7552B-9CB5-4BA7-982D-5BF36ACC7243}"/>
                </a:ext>
              </a:extLst>
            </p:cNvPr>
            <p:cNvCxnSpPr/>
            <p:nvPr/>
          </p:nvCxnSpPr>
          <p:spPr>
            <a:xfrm flipH="1">
              <a:off x="3418634" y="5598041"/>
              <a:ext cx="603644" cy="0"/>
            </a:xfrm>
            <a:prstGeom prst="straightConnector1">
              <a:avLst/>
            </a:prstGeom>
            <a:ln w="31750">
              <a:solidFill>
                <a:srgbClr val="969696"/>
              </a:solidFill>
              <a:prstDash val="solid"/>
              <a:headEnd w="lg" len="med"/>
              <a:tailEnd type="triangle"/>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C5F7B3CD-5342-49D7-B9BA-50965C7F5038}"/>
                </a:ext>
              </a:extLst>
            </p:cNvPr>
            <p:cNvSpPr/>
            <p:nvPr/>
          </p:nvSpPr>
          <p:spPr>
            <a:xfrm>
              <a:off x="1828505" y="5309449"/>
              <a:ext cx="1454523" cy="566177"/>
            </a:xfrm>
            <a:prstGeom prst="rect">
              <a:avLst/>
            </a:prstGeom>
            <a:solidFill>
              <a:srgbClr val="00E4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092" rtl="0" eaLnBrk="1" fontAlgn="auto" latinLnBrk="0" hangingPunct="1">
                <a:lnSpc>
                  <a:spcPts val="1733"/>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a:ea typeface="+mn-ea"/>
                  <a:cs typeface="+mn-cs"/>
                </a:rPr>
                <a:t>incineration </a:t>
              </a:r>
              <a:br>
                <a:rPr kumimoji="0" lang="en-GB" sz="1600" b="1" i="0" u="none" strike="noStrike" kern="1200" cap="none" spc="0" normalizeH="0" baseline="0" noProof="0" dirty="0">
                  <a:ln>
                    <a:noFill/>
                  </a:ln>
                  <a:solidFill>
                    <a:prstClr val="white"/>
                  </a:solidFill>
                  <a:effectLst/>
                  <a:uLnTx/>
                  <a:uFillTx/>
                  <a:latin typeface="Calibri"/>
                  <a:ea typeface="+mn-ea"/>
                  <a:cs typeface="+mn-cs"/>
                </a:rPr>
              </a:br>
              <a:r>
                <a:rPr kumimoji="0" lang="en-GB" sz="1600" b="1" i="0" u="none" strike="noStrike" kern="1200" cap="none" spc="0" normalizeH="0" baseline="0" noProof="0" dirty="0">
                  <a:ln>
                    <a:noFill/>
                  </a:ln>
                  <a:solidFill>
                    <a:prstClr val="white"/>
                  </a:solidFill>
                  <a:effectLst/>
                  <a:uLnTx/>
                  <a:uFillTx/>
                  <a:latin typeface="Calibri"/>
                  <a:ea typeface="+mn-ea"/>
                  <a:cs typeface="+mn-cs"/>
                </a:rPr>
                <a:t>&amp; landfill</a:t>
              </a: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pic>
          <p:nvPicPr>
            <p:cNvPr id="33" name="Picture 32">
              <a:extLst>
                <a:ext uri="{FF2B5EF4-FFF2-40B4-BE49-F238E27FC236}">
                  <a16:creationId xmlns:a16="http://schemas.microsoft.com/office/drawing/2014/main" id="{A9185DFE-0144-46A4-8386-47C58EBC72D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189596" y="5309448"/>
              <a:ext cx="750362" cy="548640"/>
            </a:xfrm>
            <a:prstGeom prst="rect">
              <a:avLst/>
            </a:prstGeom>
            <a:solidFill>
              <a:srgbClr val="00E487"/>
            </a:solidFill>
          </p:spPr>
        </p:pic>
        <p:grpSp>
          <p:nvGrpSpPr>
            <p:cNvPr id="35" name="Group 34">
              <a:extLst>
                <a:ext uri="{FF2B5EF4-FFF2-40B4-BE49-F238E27FC236}">
                  <a16:creationId xmlns:a16="http://schemas.microsoft.com/office/drawing/2014/main" id="{447DC0A7-3ACF-4686-9701-A233991BD99F}"/>
                </a:ext>
              </a:extLst>
            </p:cNvPr>
            <p:cNvGrpSpPr/>
            <p:nvPr/>
          </p:nvGrpSpPr>
          <p:grpSpPr>
            <a:xfrm>
              <a:off x="3514366" y="2333962"/>
              <a:ext cx="3252392" cy="3257478"/>
              <a:chOff x="3514366" y="2333962"/>
              <a:chExt cx="3252392" cy="3257478"/>
            </a:xfrm>
          </p:grpSpPr>
          <p:sp>
            <p:nvSpPr>
              <p:cNvPr id="61" name="Arc 60">
                <a:extLst>
                  <a:ext uri="{FF2B5EF4-FFF2-40B4-BE49-F238E27FC236}">
                    <a16:creationId xmlns:a16="http://schemas.microsoft.com/office/drawing/2014/main" id="{81942C19-FA69-45B8-A038-E2F7E466F451}"/>
                  </a:ext>
                </a:extLst>
              </p:cNvPr>
              <p:cNvSpPr/>
              <p:nvPr/>
            </p:nvSpPr>
            <p:spPr>
              <a:xfrm rot="5400000">
                <a:off x="3514366" y="2333962"/>
                <a:ext cx="3252391" cy="3252391"/>
              </a:xfrm>
              <a:prstGeom prst="arc">
                <a:avLst/>
              </a:prstGeom>
              <a:ln w="381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521711"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62" name="Arc 61">
                <a:extLst>
                  <a:ext uri="{FF2B5EF4-FFF2-40B4-BE49-F238E27FC236}">
                    <a16:creationId xmlns:a16="http://schemas.microsoft.com/office/drawing/2014/main" id="{36C10593-F58C-4081-A49A-A06421E083C1}"/>
                  </a:ext>
                </a:extLst>
              </p:cNvPr>
              <p:cNvSpPr/>
              <p:nvPr/>
            </p:nvSpPr>
            <p:spPr>
              <a:xfrm>
                <a:off x="3514367" y="2339049"/>
                <a:ext cx="3252391" cy="3252391"/>
              </a:xfrm>
              <a:prstGeom prst="arc">
                <a:avLst/>
              </a:prstGeom>
              <a:ln w="381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521711"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cxnSp>
            <p:nvCxnSpPr>
              <p:cNvPr id="63" name="Straight Arrow Connector 62">
                <a:extLst>
                  <a:ext uri="{FF2B5EF4-FFF2-40B4-BE49-F238E27FC236}">
                    <a16:creationId xmlns:a16="http://schemas.microsoft.com/office/drawing/2014/main" id="{34527490-195A-44BB-8031-DB4695FDE777}"/>
                  </a:ext>
                </a:extLst>
              </p:cNvPr>
              <p:cNvCxnSpPr/>
              <p:nvPr/>
            </p:nvCxnSpPr>
            <p:spPr>
              <a:xfrm flipH="1">
                <a:off x="4754953" y="2338171"/>
                <a:ext cx="399225" cy="3072"/>
              </a:xfrm>
              <a:prstGeom prst="straightConnector1">
                <a:avLst/>
              </a:prstGeom>
              <a:ln w="381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837B4CEA-113A-472C-95C6-A6666B80E8E2}"/>
                </a:ext>
              </a:extLst>
            </p:cNvPr>
            <p:cNvGrpSpPr/>
            <p:nvPr/>
          </p:nvGrpSpPr>
          <p:grpSpPr>
            <a:xfrm>
              <a:off x="3807087" y="3169132"/>
              <a:ext cx="2416803" cy="2416803"/>
              <a:chOff x="3807087" y="3169132"/>
              <a:chExt cx="2416803" cy="2416803"/>
            </a:xfrm>
          </p:grpSpPr>
          <p:sp>
            <p:nvSpPr>
              <p:cNvPr id="58" name="Arc 57">
                <a:extLst>
                  <a:ext uri="{FF2B5EF4-FFF2-40B4-BE49-F238E27FC236}">
                    <a16:creationId xmlns:a16="http://schemas.microsoft.com/office/drawing/2014/main" id="{F128EA9F-4685-400D-8AC9-273B5E28DDDB}"/>
                  </a:ext>
                </a:extLst>
              </p:cNvPr>
              <p:cNvSpPr/>
              <p:nvPr/>
            </p:nvSpPr>
            <p:spPr>
              <a:xfrm rot="5400000">
                <a:off x="3916941" y="3278987"/>
                <a:ext cx="2416803" cy="2197093"/>
              </a:xfrm>
              <a:prstGeom prst="arc">
                <a:avLst/>
              </a:prstGeom>
              <a:ln w="381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521711"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59" name="Arc 58">
                <a:extLst>
                  <a:ext uri="{FF2B5EF4-FFF2-40B4-BE49-F238E27FC236}">
                    <a16:creationId xmlns:a16="http://schemas.microsoft.com/office/drawing/2014/main" id="{C38FAE3A-3C5F-4E35-8A72-74EE8BABB435}"/>
                  </a:ext>
                </a:extLst>
              </p:cNvPr>
              <p:cNvSpPr/>
              <p:nvPr/>
            </p:nvSpPr>
            <p:spPr>
              <a:xfrm>
                <a:off x="3807087" y="3278695"/>
                <a:ext cx="2416803" cy="2197093"/>
              </a:xfrm>
              <a:prstGeom prst="arc">
                <a:avLst/>
              </a:prstGeom>
              <a:ln w="381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521711"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cxnSp>
            <p:nvCxnSpPr>
              <p:cNvPr id="60" name="Straight Arrow Connector 59">
                <a:extLst>
                  <a:ext uri="{FF2B5EF4-FFF2-40B4-BE49-F238E27FC236}">
                    <a16:creationId xmlns:a16="http://schemas.microsoft.com/office/drawing/2014/main" id="{EAB5D433-C2E0-4D68-ACF7-F52AA0B1A789}"/>
                  </a:ext>
                </a:extLst>
              </p:cNvPr>
              <p:cNvCxnSpPr/>
              <p:nvPr/>
            </p:nvCxnSpPr>
            <p:spPr>
              <a:xfrm flipH="1">
                <a:off x="4746937" y="3278695"/>
                <a:ext cx="275479" cy="4952"/>
              </a:xfrm>
              <a:prstGeom prst="straightConnector1">
                <a:avLst/>
              </a:prstGeom>
              <a:ln w="38100">
                <a:solidFill>
                  <a:schemeClr val="accent3">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grpSp>
          <p:nvGrpSpPr>
            <p:cNvPr id="37" name="Group 36">
              <a:extLst>
                <a:ext uri="{FF2B5EF4-FFF2-40B4-BE49-F238E27FC236}">
                  <a16:creationId xmlns:a16="http://schemas.microsoft.com/office/drawing/2014/main" id="{D4CADCDF-2651-4E96-B85F-CDA89512D002}"/>
                </a:ext>
              </a:extLst>
            </p:cNvPr>
            <p:cNvGrpSpPr/>
            <p:nvPr/>
          </p:nvGrpSpPr>
          <p:grpSpPr>
            <a:xfrm>
              <a:off x="4342204" y="4178082"/>
              <a:ext cx="1408755" cy="1408753"/>
              <a:chOff x="4342204" y="4178082"/>
              <a:chExt cx="1408755" cy="1408753"/>
            </a:xfrm>
          </p:grpSpPr>
          <p:cxnSp>
            <p:nvCxnSpPr>
              <p:cNvPr id="55" name="Straight Arrow Connector 54">
                <a:extLst>
                  <a:ext uri="{FF2B5EF4-FFF2-40B4-BE49-F238E27FC236}">
                    <a16:creationId xmlns:a16="http://schemas.microsoft.com/office/drawing/2014/main" id="{11E3B917-8ADA-4FFB-846D-84E089FFF655}"/>
                  </a:ext>
                </a:extLst>
              </p:cNvPr>
              <p:cNvCxnSpPr>
                <a:cxnSpLocks/>
                <a:stCxn id="57" idx="0"/>
              </p:cNvCxnSpPr>
              <p:nvPr/>
            </p:nvCxnSpPr>
            <p:spPr>
              <a:xfrm flipH="1">
                <a:off x="4740010" y="4247299"/>
                <a:ext cx="306572" cy="0"/>
              </a:xfrm>
              <a:prstGeom prst="straightConnector1">
                <a:avLst/>
              </a:prstGeom>
              <a:ln w="38100">
                <a:solidFill>
                  <a:schemeClr val="accent3">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6" name="Arc 55">
                <a:extLst>
                  <a:ext uri="{FF2B5EF4-FFF2-40B4-BE49-F238E27FC236}">
                    <a16:creationId xmlns:a16="http://schemas.microsoft.com/office/drawing/2014/main" id="{3FAE176C-B2BB-4728-9BB7-5AF85E5DA8F2}"/>
                  </a:ext>
                </a:extLst>
              </p:cNvPr>
              <p:cNvSpPr/>
              <p:nvPr/>
            </p:nvSpPr>
            <p:spPr>
              <a:xfrm rot="5400000">
                <a:off x="4406238" y="4242116"/>
                <a:ext cx="1408753" cy="1280685"/>
              </a:xfrm>
              <a:prstGeom prst="arc">
                <a:avLst/>
              </a:prstGeom>
              <a:ln w="38100">
                <a:solidFill>
                  <a:schemeClr val="accent3">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521711"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57" name="Arc 56">
                <a:extLst>
                  <a:ext uri="{FF2B5EF4-FFF2-40B4-BE49-F238E27FC236}">
                    <a16:creationId xmlns:a16="http://schemas.microsoft.com/office/drawing/2014/main" id="{5B509EB6-8B1F-45B0-9BED-4F4D73A0678E}"/>
                  </a:ext>
                </a:extLst>
              </p:cNvPr>
              <p:cNvSpPr/>
              <p:nvPr/>
            </p:nvSpPr>
            <p:spPr>
              <a:xfrm>
                <a:off x="4342204" y="4247299"/>
                <a:ext cx="1408755" cy="1280687"/>
              </a:xfrm>
              <a:prstGeom prst="arc">
                <a:avLst/>
              </a:prstGeom>
              <a:ln w="38100">
                <a:solidFill>
                  <a:schemeClr val="accent3">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521711"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cxnSp>
          <p:nvCxnSpPr>
            <p:cNvPr id="38" name="Straight Arrow Connector 37">
              <a:extLst>
                <a:ext uri="{FF2B5EF4-FFF2-40B4-BE49-F238E27FC236}">
                  <a16:creationId xmlns:a16="http://schemas.microsoft.com/office/drawing/2014/main" id="{7A56579F-55BC-47F1-99B6-66E8AE1EB16F}"/>
                </a:ext>
              </a:extLst>
            </p:cNvPr>
            <p:cNvCxnSpPr/>
            <p:nvPr/>
          </p:nvCxnSpPr>
          <p:spPr>
            <a:xfrm>
              <a:off x="4535153" y="3004996"/>
              <a:ext cx="0" cy="542169"/>
            </a:xfrm>
            <a:prstGeom prst="straightConnector1">
              <a:avLst/>
            </a:prstGeom>
            <a:ln w="31750">
              <a:solidFill>
                <a:srgbClr val="969696"/>
              </a:solidFill>
              <a:prstDash val="solid"/>
              <a:headEnd w="lg" len="med"/>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BC938202-3AB2-46A2-BFC7-37C4FD0B6311}"/>
                </a:ext>
              </a:extLst>
            </p:cNvPr>
            <p:cNvCxnSpPr/>
            <p:nvPr/>
          </p:nvCxnSpPr>
          <p:spPr>
            <a:xfrm>
              <a:off x="4535153" y="2050697"/>
              <a:ext cx="0" cy="516436"/>
            </a:xfrm>
            <a:prstGeom prst="straightConnector1">
              <a:avLst/>
            </a:prstGeom>
            <a:ln w="31750">
              <a:solidFill>
                <a:srgbClr val="969696"/>
              </a:solidFill>
              <a:prstDash val="solid"/>
              <a:headEnd w="lg" len="med"/>
              <a:tailEnd type="triangle"/>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1DCF767C-ADA4-47AE-925A-2ADCEF5C8298}"/>
                </a:ext>
              </a:extLst>
            </p:cNvPr>
            <p:cNvGrpSpPr/>
            <p:nvPr/>
          </p:nvGrpSpPr>
          <p:grpSpPr>
            <a:xfrm>
              <a:off x="5632750" y="2263111"/>
              <a:ext cx="724975" cy="724973"/>
              <a:chOff x="5883546" y="2424636"/>
              <a:chExt cx="724975" cy="724973"/>
            </a:xfrm>
          </p:grpSpPr>
          <p:sp>
            <p:nvSpPr>
              <p:cNvPr id="53" name="Oval 52">
                <a:extLst>
                  <a:ext uri="{FF2B5EF4-FFF2-40B4-BE49-F238E27FC236}">
                    <a16:creationId xmlns:a16="http://schemas.microsoft.com/office/drawing/2014/main" id="{F0AF3AC2-1A2A-4064-AAC8-EFF1D27CB045}"/>
                  </a:ext>
                </a:extLst>
              </p:cNvPr>
              <p:cNvSpPr/>
              <p:nvPr/>
            </p:nvSpPr>
            <p:spPr>
              <a:xfrm>
                <a:off x="5883546" y="2424636"/>
                <a:ext cx="724975" cy="724973"/>
              </a:xfrm>
              <a:prstGeom prst="ellipse">
                <a:avLst/>
              </a:prstGeom>
              <a:solidFill>
                <a:srgbClr val="17DF8E"/>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21711"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pic>
            <p:nvPicPr>
              <p:cNvPr id="54" name="Picture 53">
                <a:extLst>
                  <a:ext uri="{FF2B5EF4-FFF2-40B4-BE49-F238E27FC236}">
                    <a16:creationId xmlns:a16="http://schemas.microsoft.com/office/drawing/2014/main" id="{C56B7575-BC4D-441A-ABC1-D076B0EA66C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964115" y="2591473"/>
                <a:ext cx="562771" cy="411480"/>
              </a:xfrm>
              <a:prstGeom prst="rect">
                <a:avLst/>
              </a:prstGeom>
              <a:solidFill>
                <a:srgbClr val="00E487"/>
              </a:solidFill>
            </p:spPr>
          </p:pic>
        </p:grpSp>
        <p:sp>
          <p:nvSpPr>
            <p:cNvPr id="41" name="Rectangle 40">
              <a:extLst>
                <a:ext uri="{FF2B5EF4-FFF2-40B4-BE49-F238E27FC236}">
                  <a16:creationId xmlns:a16="http://schemas.microsoft.com/office/drawing/2014/main" id="{0D4BC5FF-35AF-4375-BE31-A9E4C514704D}"/>
                </a:ext>
              </a:extLst>
            </p:cNvPr>
            <p:cNvSpPr/>
            <p:nvPr/>
          </p:nvSpPr>
          <p:spPr>
            <a:xfrm>
              <a:off x="6425787" y="2530792"/>
              <a:ext cx="1710191" cy="1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8000" tIns="0" rIns="0" bIns="0" rtlCol="0" anchor="ctr"/>
            <a:lstStyle/>
            <a:p>
              <a:pPr marL="0" marR="0" lvl="0" indent="0" algn="l" defTabSz="1219092"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E487">
                      <a:lumMod val="50000"/>
                    </a:srgbClr>
                  </a:solidFill>
                  <a:effectLst/>
                  <a:uLnTx/>
                  <a:uFillTx/>
                  <a:latin typeface="Calibri"/>
                  <a:ea typeface="+mn-ea"/>
                  <a:cs typeface="+mn-cs"/>
                </a:rPr>
                <a:t>parts harvesting </a:t>
              </a:r>
              <a:endParaRPr kumimoji="0" lang="en-US" sz="1600" b="1" i="0" u="none" strike="noStrike" kern="1200" cap="none" spc="0" normalizeH="0" baseline="0" noProof="0" dirty="0">
                <a:ln>
                  <a:noFill/>
                </a:ln>
                <a:solidFill>
                  <a:srgbClr val="00E487">
                    <a:lumMod val="50000"/>
                  </a:srgbClr>
                </a:solidFill>
                <a:effectLst/>
                <a:uLnTx/>
                <a:uFillTx/>
                <a:latin typeface="Calibri"/>
                <a:ea typeface="+mn-ea"/>
                <a:cs typeface="+mn-cs"/>
              </a:endParaRPr>
            </a:p>
          </p:txBody>
        </p:sp>
        <p:sp>
          <p:nvSpPr>
            <p:cNvPr id="42" name="Rectangle 41">
              <a:extLst>
                <a:ext uri="{FF2B5EF4-FFF2-40B4-BE49-F238E27FC236}">
                  <a16:creationId xmlns:a16="http://schemas.microsoft.com/office/drawing/2014/main" id="{8F41912A-6A73-4A94-812A-0D0D25BBF4F7}"/>
                </a:ext>
              </a:extLst>
            </p:cNvPr>
            <p:cNvSpPr/>
            <p:nvPr/>
          </p:nvSpPr>
          <p:spPr>
            <a:xfrm>
              <a:off x="6162489" y="3381303"/>
              <a:ext cx="896988" cy="1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8000" tIns="0" rIns="0" bIns="0" rtlCol="0" anchor="ctr"/>
            <a:lstStyle/>
            <a:p>
              <a:pPr marL="0" marR="0" lvl="0" indent="0" algn="l" defTabSz="1219092"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E487">
                      <a:lumMod val="50000"/>
                    </a:srgbClr>
                  </a:solidFill>
                  <a:effectLst/>
                  <a:uLnTx/>
                  <a:uFillTx/>
                  <a:latin typeface="Calibri"/>
                  <a:ea typeface="+mn-ea"/>
                  <a:cs typeface="+mn-cs"/>
                </a:rPr>
                <a:t>refurbish</a:t>
              </a:r>
              <a:endParaRPr kumimoji="0" lang="en-US" sz="1600" b="1" i="0" u="none" strike="noStrike" kern="1200" cap="none" spc="0" normalizeH="0" baseline="0" noProof="0" dirty="0">
                <a:ln>
                  <a:noFill/>
                </a:ln>
                <a:solidFill>
                  <a:srgbClr val="00E487">
                    <a:lumMod val="50000"/>
                  </a:srgbClr>
                </a:solidFill>
                <a:effectLst/>
                <a:uLnTx/>
                <a:uFillTx/>
                <a:latin typeface="Calibri"/>
                <a:ea typeface="+mn-ea"/>
                <a:cs typeface="+mn-cs"/>
              </a:endParaRPr>
            </a:p>
          </p:txBody>
        </p:sp>
        <p:grpSp>
          <p:nvGrpSpPr>
            <p:cNvPr id="43" name="Group 42">
              <a:extLst>
                <a:ext uri="{FF2B5EF4-FFF2-40B4-BE49-F238E27FC236}">
                  <a16:creationId xmlns:a16="http://schemas.microsoft.com/office/drawing/2014/main" id="{6D6A5C5E-9AF0-443F-B494-55F25F9CF7DF}"/>
                </a:ext>
              </a:extLst>
            </p:cNvPr>
            <p:cNvGrpSpPr/>
            <p:nvPr/>
          </p:nvGrpSpPr>
          <p:grpSpPr>
            <a:xfrm>
              <a:off x="5059617" y="4033475"/>
              <a:ext cx="724975" cy="724973"/>
              <a:chOff x="5147844" y="4157485"/>
              <a:chExt cx="724975" cy="724973"/>
            </a:xfrm>
          </p:grpSpPr>
          <p:sp>
            <p:nvSpPr>
              <p:cNvPr id="51" name="Oval 50">
                <a:extLst>
                  <a:ext uri="{FF2B5EF4-FFF2-40B4-BE49-F238E27FC236}">
                    <a16:creationId xmlns:a16="http://schemas.microsoft.com/office/drawing/2014/main" id="{C7EDD3A3-CEBF-409A-B7FD-2C34C4EEDD02}"/>
                  </a:ext>
                </a:extLst>
              </p:cNvPr>
              <p:cNvSpPr/>
              <p:nvPr/>
            </p:nvSpPr>
            <p:spPr>
              <a:xfrm>
                <a:off x="5147844" y="4157485"/>
                <a:ext cx="724975" cy="724973"/>
              </a:xfrm>
              <a:prstGeom prst="ellipse">
                <a:avLst/>
              </a:prstGeom>
              <a:solidFill>
                <a:srgbClr val="17DF8E"/>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21711"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pic>
            <p:nvPicPr>
              <p:cNvPr id="52" name="Picture 51">
                <a:extLst>
                  <a:ext uri="{FF2B5EF4-FFF2-40B4-BE49-F238E27FC236}">
                    <a16:creationId xmlns:a16="http://schemas.microsoft.com/office/drawing/2014/main" id="{838D9A4C-6253-426B-8FD3-A2E33D034E34}"/>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229224" y="4306717"/>
                <a:ext cx="562773" cy="411480"/>
              </a:xfrm>
              <a:prstGeom prst="rect">
                <a:avLst/>
              </a:prstGeom>
              <a:solidFill>
                <a:srgbClr val="00E487"/>
              </a:solidFill>
            </p:spPr>
          </p:pic>
        </p:grpSp>
        <p:grpSp>
          <p:nvGrpSpPr>
            <p:cNvPr id="44" name="Group 43">
              <a:extLst>
                <a:ext uri="{FF2B5EF4-FFF2-40B4-BE49-F238E27FC236}">
                  <a16:creationId xmlns:a16="http://schemas.microsoft.com/office/drawing/2014/main" id="{9AB8733E-E51C-4E02-B2E6-99B6B548B975}"/>
                </a:ext>
              </a:extLst>
            </p:cNvPr>
            <p:cNvGrpSpPr/>
            <p:nvPr/>
          </p:nvGrpSpPr>
          <p:grpSpPr>
            <a:xfrm>
              <a:off x="5376018" y="3125231"/>
              <a:ext cx="724975" cy="724973"/>
              <a:chOff x="5524346" y="3367205"/>
              <a:chExt cx="724975" cy="724973"/>
            </a:xfrm>
          </p:grpSpPr>
          <p:sp>
            <p:nvSpPr>
              <p:cNvPr id="49" name="Oval 48">
                <a:extLst>
                  <a:ext uri="{FF2B5EF4-FFF2-40B4-BE49-F238E27FC236}">
                    <a16:creationId xmlns:a16="http://schemas.microsoft.com/office/drawing/2014/main" id="{C64E7957-ABA5-4E23-8ABE-273B02606044}"/>
                  </a:ext>
                </a:extLst>
              </p:cNvPr>
              <p:cNvSpPr/>
              <p:nvPr/>
            </p:nvSpPr>
            <p:spPr>
              <a:xfrm>
                <a:off x="5524346" y="3367205"/>
                <a:ext cx="724975" cy="724973"/>
              </a:xfrm>
              <a:prstGeom prst="ellipse">
                <a:avLst/>
              </a:prstGeom>
              <a:solidFill>
                <a:srgbClr val="17DF8E"/>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21711"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pic>
            <p:nvPicPr>
              <p:cNvPr id="50" name="Picture 49">
                <a:extLst>
                  <a:ext uri="{FF2B5EF4-FFF2-40B4-BE49-F238E27FC236}">
                    <a16:creationId xmlns:a16="http://schemas.microsoft.com/office/drawing/2014/main" id="{3548D1A9-D4CF-4711-B40D-7703FBEC1BF6}"/>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624065" y="3512432"/>
                <a:ext cx="562771" cy="411480"/>
              </a:xfrm>
              <a:prstGeom prst="rect">
                <a:avLst/>
              </a:prstGeom>
              <a:solidFill>
                <a:srgbClr val="00E487"/>
              </a:solidFill>
            </p:spPr>
          </p:pic>
        </p:grpSp>
        <p:grpSp>
          <p:nvGrpSpPr>
            <p:cNvPr id="45" name="Group 44">
              <a:extLst>
                <a:ext uri="{FF2B5EF4-FFF2-40B4-BE49-F238E27FC236}">
                  <a16:creationId xmlns:a16="http://schemas.microsoft.com/office/drawing/2014/main" id="{D346CFDF-1621-4685-8D66-48AC7B88D68F}"/>
                </a:ext>
              </a:extLst>
            </p:cNvPr>
            <p:cNvGrpSpPr/>
            <p:nvPr/>
          </p:nvGrpSpPr>
          <p:grpSpPr>
            <a:xfrm>
              <a:off x="5835791" y="1389170"/>
              <a:ext cx="724975" cy="724973"/>
              <a:chOff x="5662556" y="1357938"/>
              <a:chExt cx="724975" cy="724973"/>
            </a:xfrm>
          </p:grpSpPr>
          <p:sp>
            <p:nvSpPr>
              <p:cNvPr id="47" name="Oval 46">
                <a:extLst>
                  <a:ext uri="{FF2B5EF4-FFF2-40B4-BE49-F238E27FC236}">
                    <a16:creationId xmlns:a16="http://schemas.microsoft.com/office/drawing/2014/main" id="{7CAD7252-FDF1-4C2E-B713-1AF436FC29BC}"/>
                  </a:ext>
                </a:extLst>
              </p:cNvPr>
              <p:cNvSpPr/>
              <p:nvPr/>
            </p:nvSpPr>
            <p:spPr>
              <a:xfrm>
                <a:off x="5662556" y="1357938"/>
                <a:ext cx="724975" cy="724973"/>
              </a:xfrm>
              <a:prstGeom prst="ellipse">
                <a:avLst/>
              </a:prstGeom>
              <a:solidFill>
                <a:srgbClr val="17DF8E"/>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21711"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pic>
            <p:nvPicPr>
              <p:cNvPr id="48" name="Picture 47">
                <a:extLst>
                  <a:ext uri="{FF2B5EF4-FFF2-40B4-BE49-F238E27FC236}">
                    <a16:creationId xmlns:a16="http://schemas.microsoft.com/office/drawing/2014/main" id="{32A8A55B-DB49-4115-B744-49F442C9A60E}"/>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5746011" y="1528487"/>
                <a:ext cx="562772" cy="411480"/>
              </a:xfrm>
              <a:prstGeom prst="rect">
                <a:avLst/>
              </a:prstGeom>
              <a:solidFill>
                <a:srgbClr val="00E487"/>
              </a:solidFill>
            </p:spPr>
          </p:pic>
        </p:grpSp>
        <p:sp>
          <p:nvSpPr>
            <p:cNvPr id="46" name="Rectangle 45">
              <a:extLst>
                <a:ext uri="{FF2B5EF4-FFF2-40B4-BE49-F238E27FC236}">
                  <a16:creationId xmlns:a16="http://schemas.microsoft.com/office/drawing/2014/main" id="{E975F32F-C0FC-4ACB-A8F9-0382CD903E3D}"/>
                </a:ext>
              </a:extLst>
            </p:cNvPr>
            <p:cNvSpPr/>
            <p:nvPr/>
          </p:nvSpPr>
          <p:spPr>
            <a:xfrm>
              <a:off x="5832337" y="4281241"/>
              <a:ext cx="748959" cy="1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8000" tIns="0" rIns="0" bIns="0" rtlCol="0" anchor="ctr" anchorCtr="0"/>
            <a:lstStyle/>
            <a:p>
              <a:pPr marL="0" marR="0" lvl="0" indent="0" algn="l" defTabSz="1219092"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E487">
                      <a:lumMod val="50000"/>
                    </a:srgbClr>
                  </a:solidFill>
                  <a:effectLst/>
                  <a:uLnTx/>
                  <a:uFillTx/>
                  <a:latin typeface="Calibri"/>
                  <a:ea typeface="+mn-ea"/>
                  <a:cs typeface="+mn-cs"/>
                </a:rPr>
                <a:t>service</a:t>
              </a:r>
              <a:endParaRPr kumimoji="0" lang="en-US" sz="1600" b="1" i="0" u="none" strike="noStrike" kern="1200" cap="none" spc="0" normalizeH="0" baseline="0" noProof="0" dirty="0">
                <a:ln>
                  <a:noFill/>
                </a:ln>
                <a:solidFill>
                  <a:srgbClr val="00E487">
                    <a:lumMod val="50000"/>
                  </a:srgbClr>
                </a:solidFill>
                <a:effectLst/>
                <a:uLnTx/>
                <a:uFillTx/>
                <a:latin typeface="Calibri"/>
                <a:ea typeface="+mn-ea"/>
                <a:cs typeface="+mn-cs"/>
              </a:endParaRPr>
            </a:p>
          </p:txBody>
        </p:sp>
      </p:grpSp>
      <p:sp>
        <p:nvSpPr>
          <p:cNvPr id="70" name="Title 1">
            <a:extLst>
              <a:ext uri="{FF2B5EF4-FFF2-40B4-BE49-F238E27FC236}">
                <a16:creationId xmlns:a16="http://schemas.microsoft.com/office/drawing/2014/main" id="{E6F33298-D9EE-4723-8D92-27A7E8FC76F8}"/>
              </a:ext>
            </a:extLst>
          </p:cNvPr>
          <p:cNvSpPr txBox="1">
            <a:spLocks/>
          </p:cNvSpPr>
          <p:nvPr/>
        </p:nvSpPr>
        <p:spPr>
          <a:xfrm>
            <a:off x="410878" y="512498"/>
            <a:ext cx="11368018" cy="776038"/>
          </a:xfrm>
          <a:prstGeom prst="rect">
            <a:avLst/>
          </a:prstGeom>
        </p:spPr>
        <p:txBody>
          <a:bodyPr vert="horz" lIns="0" tIns="0" rIns="0" bIns="0" rtlCol="0" anchor="t" anchorCtr="0">
            <a:noAutofit/>
          </a:bodyPr>
          <a:lstStyle>
            <a:lvl1pPr algn="l" defTabSz="913923" rtl="0" eaLnBrk="1" latinLnBrk="0" hangingPunct="1">
              <a:lnSpc>
                <a:spcPct val="90000"/>
              </a:lnSpc>
              <a:spcBef>
                <a:spcPct val="0"/>
              </a:spcBef>
              <a:buNone/>
              <a:defRPr sz="1800" b="1" kern="1200">
                <a:solidFill>
                  <a:schemeClr val="tx2"/>
                </a:solidFill>
                <a:latin typeface="+mj-lt"/>
                <a:ea typeface="+mj-ea"/>
                <a:cs typeface="+mj-cs"/>
              </a:defRPr>
            </a:lvl1pPr>
          </a:lstStyle>
          <a:p>
            <a:pPr marL="0" marR="0" lvl="0" indent="0" algn="l" defTabSz="913923"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3C3C41"/>
                </a:solidFill>
                <a:effectLst/>
                <a:uLnTx/>
                <a:uFillTx/>
                <a:latin typeface="Calibri"/>
                <a:ea typeface="+mj-ea"/>
                <a:cs typeface="+mj-cs"/>
              </a:rPr>
              <a:t>Our way to Circular Lighting</a:t>
            </a:r>
            <a:br>
              <a:rPr kumimoji="0" lang="en-US" sz="2800" b="1" i="0" u="none" strike="noStrike" kern="1200" cap="none" spc="0" normalizeH="0" baseline="0" noProof="0" dirty="0">
                <a:ln>
                  <a:noFill/>
                </a:ln>
                <a:solidFill>
                  <a:srgbClr val="3C3C41"/>
                </a:solidFill>
                <a:effectLst/>
                <a:uLnTx/>
                <a:uFillTx/>
                <a:latin typeface="Calibri"/>
                <a:ea typeface="+mj-ea"/>
                <a:cs typeface="+mj-cs"/>
              </a:rPr>
            </a:br>
            <a:r>
              <a:rPr kumimoji="0" lang="en-US" sz="2400" b="0" i="0" u="none" strike="noStrike" kern="1200" cap="none" spc="0" normalizeH="0" baseline="0" noProof="0" dirty="0">
                <a:ln>
                  <a:noFill/>
                </a:ln>
                <a:solidFill>
                  <a:srgbClr val="D9D9D9"/>
                </a:solidFill>
                <a:effectLst/>
                <a:uLnTx/>
                <a:uFillTx/>
                <a:latin typeface="Calibri"/>
                <a:ea typeface="+mj-ea"/>
                <a:cs typeface="+mj-cs"/>
              </a:rPr>
              <a:t>Design for a circular economy</a:t>
            </a:r>
          </a:p>
        </p:txBody>
      </p:sp>
    </p:spTree>
    <p:custDataLst>
      <p:tags r:id="rId1"/>
    </p:custDataLst>
    <p:extLst>
      <p:ext uri="{BB962C8B-B14F-4D97-AF65-F5344CB8AC3E}">
        <p14:creationId xmlns:p14="http://schemas.microsoft.com/office/powerpoint/2010/main" val="2543659162"/>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9581B382-D685-D742-AEF6-05797C2287FC}"/>
              </a:ext>
            </a:extLst>
          </p:cNvPr>
          <p:cNvSpPr>
            <a:spLocks noGrp="1"/>
          </p:cNvSpPr>
          <p:nvPr>
            <p:ph type="sldNum" sz="quarter" idx="12"/>
          </p:nvPr>
        </p:nvSpPr>
        <p:spPr/>
        <p:txBody>
          <a:bodyPr/>
          <a:lstStyle/>
          <a:p>
            <a:pPr marL="0" marR="0" lvl="0" indent="0" algn="l" defTabSz="521797" rtl="0" eaLnBrk="1" fontAlgn="auto" latinLnBrk="0" hangingPunct="1">
              <a:lnSpc>
                <a:spcPct val="100000"/>
              </a:lnSpc>
              <a:spcBef>
                <a:spcPts val="0"/>
              </a:spcBef>
              <a:spcAft>
                <a:spcPts val="0"/>
              </a:spcAft>
              <a:buClrTx/>
              <a:buSzTx/>
              <a:buFontTx/>
              <a:buNone/>
              <a:tabLst/>
              <a:defRPr/>
            </a:pPr>
            <a:fld id="{32B354EE-31EA-4FC2-9496-7B6202183237}" type="slidenum">
              <a:rPr kumimoji="0" lang="en-US" sz="1100" b="0" i="0" u="none" strike="noStrike" kern="1200" cap="none" spc="0" normalizeH="0" baseline="0" noProof="0" smtClean="0">
                <a:ln>
                  <a:noFill/>
                </a:ln>
                <a:solidFill>
                  <a:srgbClr val="1432FF"/>
                </a:solidFill>
                <a:effectLst/>
                <a:uLnTx/>
                <a:uFillTx/>
                <a:latin typeface="Signify Relative Book"/>
                <a:ea typeface="+mn-ea"/>
                <a:cs typeface="+mn-cs"/>
              </a:rPr>
              <a:pPr marL="0" marR="0" lvl="0" indent="0" algn="l" defTabSz="521797" rtl="0" eaLnBrk="1" fontAlgn="auto" latinLnBrk="0" hangingPunct="1">
                <a:lnSpc>
                  <a:spcPct val="100000"/>
                </a:lnSpc>
                <a:spcBef>
                  <a:spcPts val="0"/>
                </a:spcBef>
                <a:spcAft>
                  <a:spcPts val="0"/>
                </a:spcAft>
                <a:buClrTx/>
                <a:buSzTx/>
                <a:buFontTx/>
                <a:buNone/>
                <a:tabLst/>
                <a:defRPr/>
              </a:pPr>
              <a:t>27</a:t>
            </a:fld>
            <a:endParaRPr kumimoji="0" lang="en-US" sz="1100" b="0" i="0" u="none" strike="noStrike" kern="1200" cap="none" spc="0" normalizeH="0" baseline="0" noProof="0">
              <a:ln>
                <a:noFill/>
              </a:ln>
              <a:solidFill>
                <a:srgbClr val="1432FF"/>
              </a:solidFill>
              <a:effectLst/>
              <a:uLnTx/>
              <a:uFillTx/>
              <a:latin typeface="Signify Relative Book"/>
              <a:ea typeface="+mn-ea"/>
              <a:cs typeface="+mn-cs"/>
            </a:endParaRPr>
          </a:p>
        </p:txBody>
      </p:sp>
      <p:sp>
        <p:nvSpPr>
          <p:cNvPr id="4" name="Inhaltsplatzhalter 3">
            <a:extLst>
              <a:ext uri="{FF2B5EF4-FFF2-40B4-BE49-F238E27FC236}">
                <a16:creationId xmlns:a16="http://schemas.microsoft.com/office/drawing/2014/main" id="{3AA1F50F-24FE-7642-9C0C-B58410C9C30C}"/>
              </a:ext>
            </a:extLst>
          </p:cNvPr>
          <p:cNvSpPr>
            <a:spLocks noGrp="1"/>
          </p:cNvSpPr>
          <p:nvPr>
            <p:ph sz="quarter" idx="13"/>
          </p:nvPr>
        </p:nvSpPr>
        <p:spPr>
          <a:xfrm>
            <a:off x="5069541" y="1336568"/>
            <a:ext cx="7052490" cy="4828467"/>
          </a:xfrm>
        </p:spPr>
        <p:txBody>
          <a:bodyPr/>
          <a:lstStyle/>
          <a:p>
            <a:r>
              <a:rPr lang="en-US" sz="1800" b="1" u="sng" dirty="0">
                <a:solidFill>
                  <a:schemeClr val="accent3"/>
                </a:solidFill>
              </a:rPr>
              <a:t>Energy Efficiency &amp; Lifespan</a:t>
            </a:r>
            <a:r>
              <a:rPr lang="en-US" sz="1800" b="1" dirty="0">
                <a:solidFill>
                  <a:schemeClr val="accent3"/>
                </a:solidFill>
              </a:rPr>
              <a:t>: </a:t>
            </a:r>
            <a:r>
              <a:rPr lang="en-US" sz="1800" dirty="0"/>
              <a:t>In lighting, energy consumption accounts for more than 90% of the total lifecycle carbon footprint, along with expected lifespan, is the most important lever</a:t>
            </a:r>
            <a:br>
              <a:rPr lang="en-US" sz="1800" dirty="0"/>
            </a:br>
            <a:br>
              <a:rPr lang="en-US" sz="1800" dirty="0"/>
            </a:br>
            <a:r>
              <a:rPr lang="en-US" sz="1800" b="1" u="sng" dirty="0">
                <a:solidFill>
                  <a:schemeClr val="accent3"/>
                </a:solidFill>
              </a:rPr>
              <a:t>Serviceable:</a:t>
            </a:r>
            <a:r>
              <a:rPr lang="en-US" sz="1800" b="1" dirty="0">
                <a:solidFill>
                  <a:schemeClr val="accent3"/>
                </a:solidFill>
              </a:rPr>
              <a:t> </a:t>
            </a:r>
            <a:r>
              <a:rPr lang="en-US" sz="1800" dirty="0"/>
              <a:t>is the ability to extend the technical and economic life of the product</a:t>
            </a:r>
            <a:br>
              <a:rPr lang="en-US" sz="1800" dirty="0"/>
            </a:br>
            <a:br>
              <a:rPr lang="en-US" sz="1800" dirty="0"/>
            </a:br>
            <a:r>
              <a:rPr lang="en-US" sz="1800" b="1" u="sng" dirty="0">
                <a:solidFill>
                  <a:schemeClr val="accent3"/>
                </a:solidFill>
              </a:rPr>
              <a:t>Connectable: </a:t>
            </a:r>
            <a:r>
              <a:rPr lang="en-US" sz="1800" dirty="0"/>
              <a:t>Luminaires with a sensor or data connection can be connected to a system outside the luminaire. </a:t>
            </a:r>
          </a:p>
          <a:p>
            <a:br>
              <a:rPr lang="en-US" sz="1800" dirty="0"/>
            </a:br>
            <a:r>
              <a:rPr lang="en-US" sz="1800" b="1" u="sng" dirty="0">
                <a:solidFill>
                  <a:schemeClr val="accent3"/>
                </a:solidFill>
              </a:rPr>
              <a:t>Upgradable: </a:t>
            </a:r>
            <a:r>
              <a:rPr lang="en-US" sz="1800" dirty="0"/>
              <a:t>Lifetime extension through performance upgrades and extended functionality</a:t>
            </a:r>
          </a:p>
          <a:p>
            <a:br>
              <a:rPr lang="en-US" sz="1800" dirty="0"/>
            </a:br>
            <a:r>
              <a:rPr lang="en-US" sz="1800" b="1" u="sng" dirty="0">
                <a:solidFill>
                  <a:schemeClr val="accent3"/>
                </a:solidFill>
              </a:rPr>
              <a:t>Reusable &amp; recyclable </a:t>
            </a:r>
            <a:r>
              <a:rPr lang="en-US" sz="1800" b="1" dirty="0">
                <a:solidFill>
                  <a:schemeClr val="accent3"/>
                </a:solidFill>
              </a:rPr>
              <a:t>: </a:t>
            </a:r>
            <a:r>
              <a:rPr lang="en-US" sz="1800" dirty="0"/>
              <a:t>Luminaires and components can be reused; materials are recovered with minimal waste</a:t>
            </a:r>
            <a:br>
              <a:rPr lang="en-US" sz="1800" dirty="0"/>
            </a:br>
            <a:endParaRPr lang="en-US" sz="1800" dirty="0"/>
          </a:p>
        </p:txBody>
      </p:sp>
      <p:sp>
        <p:nvSpPr>
          <p:cNvPr id="14" name="Titel 4">
            <a:extLst>
              <a:ext uri="{FF2B5EF4-FFF2-40B4-BE49-F238E27FC236}">
                <a16:creationId xmlns:a16="http://schemas.microsoft.com/office/drawing/2014/main" id="{F6DC20F6-2CA3-5544-BE35-AFE7C2F45F1D}"/>
              </a:ext>
            </a:extLst>
          </p:cNvPr>
          <p:cNvSpPr txBox="1">
            <a:spLocks/>
          </p:cNvSpPr>
          <p:nvPr/>
        </p:nvSpPr>
        <p:spPr>
          <a:xfrm>
            <a:off x="411163" y="411163"/>
            <a:ext cx="11710868" cy="776287"/>
          </a:xfrm>
          <a:prstGeom prst="rect">
            <a:avLst/>
          </a:prstGeom>
        </p:spPr>
        <p:txBody>
          <a:bodyPr vert="horz" lIns="0" tIns="0" rIns="0" bIns="0" rtlCol="0" anchor="t" anchorCtr="0">
            <a:noAutofit/>
          </a:bodyPr>
          <a:lstStyle>
            <a:lvl1pPr algn="l" defTabSz="1042512" rtl="0" eaLnBrk="1" latinLnBrk="0" hangingPunct="1">
              <a:lnSpc>
                <a:spcPct val="90000"/>
              </a:lnSpc>
              <a:spcBef>
                <a:spcPct val="0"/>
              </a:spcBef>
              <a:buNone/>
              <a:defRPr sz="2400" b="0" kern="1200">
                <a:solidFill>
                  <a:schemeClr val="tx2"/>
                </a:solidFill>
                <a:latin typeface="+mj-lt"/>
                <a:ea typeface="+mj-ea"/>
                <a:cs typeface="+mj-cs"/>
              </a:defRPr>
            </a:lvl1pPr>
          </a:lstStyle>
          <a:p>
            <a:pPr marL="0" marR="0" lvl="0" indent="0" algn="l" defTabSz="1042512"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3C3C41"/>
                </a:solidFill>
                <a:effectLst/>
                <a:uLnTx/>
                <a:uFillTx/>
                <a:latin typeface="Signify Raisonne DemiBold"/>
                <a:ea typeface="+mj-ea"/>
                <a:cs typeface="+mj-cs"/>
              </a:rPr>
              <a:t>5 criteria for Circular Lighting</a:t>
            </a:r>
          </a:p>
        </p:txBody>
      </p:sp>
      <p:pic>
        <p:nvPicPr>
          <p:cNvPr id="2" name="Afbeelding 1">
            <a:extLst>
              <a:ext uri="{FF2B5EF4-FFF2-40B4-BE49-F238E27FC236}">
                <a16:creationId xmlns:a16="http://schemas.microsoft.com/office/drawing/2014/main" id="{C5EDADAB-2758-B4D5-3904-E441D1D5DBD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10882" y="1386341"/>
            <a:ext cx="4085318" cy="4085318"/>
          </a:xfrm>
          <a:prstGeom prst="rect">
            <a:avLst/>
          </a:prstGeom>
        </p:spPr>
      </p:pic>
    </p:spTree>
    <p:extLst>
      <p:ext uri="{BB962C8B-B14F-4D97-AF65-F5344CB8AC3E}">
        <p14:creationId xmlns:p14="http://schemas.microsoft.com/office/powerpoint/2010/main" val="28222719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72" name="Picture 12" descr="Growth of ocean 'garbage patch' alarms experts">
            <a:extLst>
              <a:ext uri="{FF2B5EF4-FFF2-40B4-BE49-F238E27FC236}">
                <a16:creationId xmlns:a16="http://schemas.microsoft.com/office/drawing/2014/main" id="{2D561B65-1BC5-A8C1-70EB-9D33D8919602}"/>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20" y="10"/>
            <a:ext cx="12191980" cy="6857990"/>
          </a:xfrm>
          <a:prstGeom prst="rect">
            <a:avLst/>
          </a:prstGeom>
          <a:solidFill>
            <a:srgbClr val="FFFFFF"/>
          </a:solidFill>
        </p:spPr>
      </p:pic>
      <p:sp>
        <p:nvSpPr>
          <p:cNvPr id="3" name="Slide Number Placeholder 2" hidden="1">
            <a:extLst>
              <a:ext uri="{FF2B5EF4-FFF2-40B4-BE49-F238E27FC236}">
                <a16:creationId xmlns:a16="http://schemas.microsoft.com/office/drawing/2014/main" id="{EB5EC7CB-7729-A943-124C-462B5F482221}"/>
              </a:ext>
            </a:extLst>
          </p:cNvPr>
          <p:cNvSpPr>
            <a:spLocks noGrp="1"/>
          </p:cNvSpPr>
          <p:nvPr>
            <p:ph type="sldNum" sz="quarter" idx="12"/>
          </p:nvPr>
        </p:nvSpPr>
        <p:spPr/>
        <p:txBody>
          <a:bodyPr/>
          <a:lstStyle/>
          <a:p>
            <a:pPr>
              <a:spcAft>
                <a:spcPts val="600"/>
              </a:spcAft>
            </a:pPr>
            <a:fld id="{32B354EE-31EA-4FC2-9496-7B6202183237}" type="slidenum">
              <a:rPr lang="en-US" smtClean="0"/>
              <a:pPr>
                <a:spcAft>
                  <a:spcPts val="600"/>
                </a:spcAft>
              </a:pPr>
              <a:t>28</a:t>
            </a:fld>
            <a:endParaRPr lang="en-US"/>
          </a:p>
        </p:txBody>
      </p:sp>
      <p:sp>
        <p:nvSpPr>
          <p:cNvPr id="5" name="Rectangle 4">
            <a:extLst>
              <a:ext uri="{FF2B5EF4-FFF2-40B4-BE49-F238E27FC236}">
                <a16:creationId xmlns:a16="http://schemas.microsoft.com/office/drawing/2014/main" id="{9865D059-0186-D9AA-5532-ED274FED4A9F}"/>
              </a:ext>
            </a:extLst>
          </p:cNvPr>
          <p:cNvSpPr/>
          <p:nvPr/>
        </p:nvSpPr>
        <p:spPr>
          <a:xfrm>
            <a:off x="0" y="0"/>
            <a:ext cx="6184900" cy="6857990"/>
          </a:xfrm>
          <a:prstGeom prst="rect">
            <a:avLst/>
          </a:prstGeom>
          <a:gradFill>
            <a:gsLst>
              <a:gs pos="0">
                <a:schemeClr val="tx1"/>
              </a:gs>
              <a:gs pos="100000">
                <a:schemeClr val="tx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900"/>
              </a:spcAft>
            </a:pPr>
            <a:endParaRPr lang="nl-NL" sz="1800" dirty="0" err="1">
              <a:solidFill>
                <a:schemeClr val="bg1"/>
              </a:solidFill>
            </a:endParaRPr>
          </a:p>
        </p:txBody>
      </p:sp>
      <p:sp>
        <p:nvSpPr>
          <p:cNvPr id="6" name="Oval 5">
            <a:extLst>
              <a:ext uri="{FF2B5EF4-FFF2-40B4-BE49-F238E27FC236}">
                <a16:creationId xmlns:a16="http://schemas.microsoft.com/office/drawing/2014/main" id="{4A534393-B95A-6782-5B3A-6A2F305CBE72}"/>
              </a:ext>
            </a:extLst>
          </p:cNvPr>
          <p:cNvSpPr/>
          <p:nvPr/>
        </p:nvSpPr>
        <p:spPr>
          <a:xfrm>
            <a:off x="800100" y="3428995"/>
            <a:ext cx="2651760" cy="2499360"/>
          </a:xfrm>
          <a:prstGeom prst="ellipse">
            <a:avLst/>
          </a:prstGeom>
          <a:gradFill flip="none" rotWithShape="1">
            <a:gsLst>
              <a:gs pos="0">
                <a:schemeClr val="accent4">
                  <a:lumMod val="50000"/>
                </a:schemeClr>
              </a:gs>
              <a:gs pos="84000">
                <a:schemeClr val="accent4">
                  <a:lumMod val="7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dirty="0">
              <a:solidFill>
                <a:schemeClr val="bg1"/>
              </a:solidFill>
            </a:endParaRPr>
          </a:p>
        </p:txBody>
      </p:sp>
      <p:sp>
        <p:nvSpPr>
          <p:cNvPr id="8" name="TextBox 7">
            <a:extLst>
              <a:ext uri="{FF2B5EF4-FFF2-40B4-BE49-F238E27FC236}">
                <a16:creationId xmlns:a16="http://schemas.microsoft.com/office/drawing/2014/main" id="{BE730167-5772-D641-8CC9-218B504E9580}"/>
              </a:ext>
            </a:extLst>
          </p:cNvPr>
          <p:cNvSpPr txBox="1"/>
          <p:nvPr/>
        </p:nvSpPr>
        <p:spPr>
          <a:xfrm>
            <a:off x="1291567" y="3756895"/>
            <a:ext cx="1320392" cy="647933"/>
          </a:xfrm>
          <a:prstGeom prst="rect">
            <a:avLst/>
          </a:prstGeom>
          <a:noFill/>
        </p:spPr>
        <p:txBody>
          <a:bodyPr wrap="square" lIns="0" tIns="0" rIns="0" bIns="0" rtlCol="0">
            <a:noAutofit/>
          </a:bodyPr>
          <a:lstStyle/>
          <a:p>
            <a:pPr algn="l">
              <a:lnSpc>
                <a:spcPct val="90000"/>
              </a:lnSpc>
              <a:spcAft>
                <a:spcPts val="900"/>
              </a:spcAft>
            </a:pPr>
            <a:r>
              <a:rPr lang="nl-NL" sz="11500" b="1" dirty="0">
                <a:solidFill>
                  <a:schemeClr val="accent3">
                    <a:lumMod val="75000"/>
                  </a:schemeClr>
                </a:solidFill>
              </a:rPr>
              <a:t>3</a:t>
            </a:r>
          </a:p>
        </p:txBody>
      </p:sp>
      <p:sp>
        <p:nvSpPr>
          <p:cNvPr id="10" name="TextBox 9">
            <a:extLst>
              <a:ext uri="{FF2B5EF4-FFF2-40B4-BE49-F238E27FC236}">
                <a16:creationId xmlns:a16="http://schemas.microsoft.com/office/drawing/2014/main" id="{8D1662E0-0D1B-9268-2CA2-3BF6737A1800}"/>
              </a:ext>
            </a:extLst>
          </p:cNvPr>
          <p:cNvSpPr txBox="1"/>
          <p:nvPr/>
        </p:nvSpPr>
        <p:spPr>
          <a:xfrm>
            <a:off x="1135813" y="4404838"/>
            <a:ext cx="1956637" cy="1015663"/>
          </a:xfrm>
          <a:prstGeom prst="rect">
            <a:avLst/>
          </a:prstGeom>
          <a:noFill/>
        </p:spPr>
        <p:txBody>
          <a:bodyPr wrap="square">
            <a:spAutoFit/>
          </a:bodyPr>
          <a:lstStyle/>
          <a:p>
            <a:pPr algn="ctr"/>
            <a:r>
              <a:rPr lang="nl-NL" sz="2000" dirty="0">
                <a:solidFill>
                  <a:schemeClr val="bg1"/>
                </a:solidFill>
                <a:latin typeface="+mn-lt"/>
              </a:rPr>
              <a:t>Using waste </a:t>
            </a:r>
            <a:br>
              <a:rPr lang="nl-NL" sz="2000" dirty="0">
                <a:solidFill>
                  <a:schemeClr val="bg1"/>
                </a:solidFill>
                <a:latin typeface="+mn-lt"/>
              </a:rPr>
            </a:br>
            <a:r>
              <a:rPr lang="nl-NL" sz="2000" dirty="0" err="1">
                <a:solidFill>
                  <a:schemeClr val="bg1"/>
                </a:solidFill>
                <a:latin typeface="+mn-lt"/>
              </a:rPr>
              <a:t>to</a:t>
            </a:r>
            <a:r>
              <a:rPr lang="nl-NL" sz="2000" dirty="0">
                <a:solidFill>
                  <a:schemeClr val="bg1"/>
                </a:solidFill>
                <a:latin typeface="+mn-lt"/>
              </a:rPr>
              <a:t> </a:t>
            </a:r>
            <a:r>
              <a:rPr lang="nl-NL" sz="2000" dirty="0" err="1">
                <a:solidFill>
                  <a:schemeClr val="bg1"/>
                </a:solidFill>
                <a:latin typeface="+mn-lt"/>
              </a:rPr>
              <a:t>create</a:t>
            </a:r>
            <a:r>
              <a:rPr lang="nl-NL" sz="2000" dirty="0">
                <a:solidFill>
                  <a:schemeClr val="bg1"/>
                </a:solidFill>
                <a:latin typeface="+mn-lt"/>
              </a:rPr>
              <a:t> </a:t>
            </a:r>
            <a:r>
              <a:rPr lang="nl-NL" sz="2000" dirty="0" err="1">
                <a:solidFill>
                  <a:schemeClr val="bg1"/>
                </a:solidFill>
                <a:latin typeface="+mn-lt"/>
              </a:rPr>
              <a:t>products</a:t>
            </a:r>
            <a:endParaRPr lang="nl-NL" sz="2000" dirty="0">
              <a:solidFill>
                <a:schemeClr val="bg1"/>
              </a:solidFill>
            </a:endParaRPr>
          </a:p>
        </p:txBody>
      </p:sp>
    </p:spTree>
    <p:extLst>
      <p:ext uri="{BB962C8B-B14F-4D97-AF65-F5344CB8AC3E}">
        <p14:creationId xmlns:p14="http://schemas.microsoft.com/office/powerpoint/2010/main" val="369336121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 descr="Coastal breeze - Philips: MyCreation">
            <a:extLst>
              <a:ext uri="{FF2B5EF4-FFF2-40B4-BE49-F238E27FC236}">
                <a16:creationId xmlns:a16="http://schemas.microsoft.com/office/drawing/2014/main" id="{3B76C4FC-DB66-74BA-D5E5-F296F6A45EF4}"/>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20" y="10"/>
            <a:ext cx="12191980" cy="6857990"/>
          </a:xfrm>
          <a:prstGeom prst="rect">
            <a:avLst/>
          </a:prstGeom>
          <a:solidFill>
            <a:srgbClr val="FFFFFF"/>
          </a:solidFill>
        </p:spPr>
      </p:pic>
      <p:sp>
        <p:nvSpPr>
          <p:cNvPr id="3" name="Slide Number Placeholder 2" hidden="1">
            <a:extLst>
              <a:ext uri="{FF2B5EF4-FFF2-40B4-BE49-F238E27FC236}">
                <a16:creationId xmlns:a16="http://schemas.microsoft.com/office/drawing/2014/main" id="{514DBF16-FA88-04DA-7DAB-9D1246C1E835}"/>
              </a:ext>
            </a:extLst>
          </p:cNvPr>
          <p:cNvSpPr>
            <a:spLocks noGrp="1"/>
          </p:cNvSpPr>
          <p:nvPr>
            <p:ph type="sldNum" sz="quarter" idx="12"/>
          </p:nvPr>
        </p:nvSpPr>
        <p:spPr/>
        <p:txBody>
          <a:bodyPr/>
          <a:lstStyle/>
          <a:p>
            <a:pPr>
              <a:spcAft>
                <a:spcPts val="600"/>
              </a:spcAft>
            </a:pPr>
            <a:fld id="{32B354EE-31EA-4FC2-9496-7B6202183237}" type="slidenum">
              <a:rPr lang="en-US" smtClean="0"/>
              <a:pPr>
                <a:spcAft>
                  <a:spcPts val="600"/>
                </a:spcAft>
              </a:pPr>
              <a:t>29</a:t>
            </a:fld>
            <a:endParaRPr lang="en-US"/>
          </a:p>
        </p:txBody>
      </p:sp>
      <p:sp>
        <p:nvSpPr>
          <p:cNvPr id="2" name="Oval 1">
            <a:extLst>
              <a:ext uri="{FF2B5EF4-FFF2-40B4-BE49-F238E27FC236}">
                <a16:creationId xmlns:a16="http://schemas.microsoft.com/office/drawing/2014/main" id="{9D688EF7-52A8-167A-95EA-C3F8116DC885}"/>
              </a:ext>
            </a:extLst>
          </p:cNvPr>
          <p:cNvSpPr/>
          <p:nvPr/>
        </p:nvSpPr>
        <p:spPr>
          <a:xfrm>
            <a:off x="800100" y="3428995"/>
            <a:ext cx="2651760" cy="249936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2400" dirty="0">
                <a:solidFill>
                  <a:schemeClr val="bg1"/>
                </a:solidFill>
              </a:rPr>
              <a:t>Waste  to Wonder</a:t>
            </a:r>
          </a:p>
        </p:txBody>
      </p:sp>
    </p:spTree>
    <p:extLst>
      <p:ext uri="{BB962C8B-B14F-4D97-AF65-F5344CB8AC3E}">
        <p14:creationId xmlns:p14="http://schemas.microsoft.com/office/powerpoint/2010/main" val="251102700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5BDCBDFE-C3A5-C4A9-35D2-F4A7E14B4CE7}"/>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20" y="10"/>
            <a:ext cx="12191980" cy="6857990"/>
          </a:xfrm>
          <a:prstGeom prst="rect">
            <a:avLst/>
          </a:prstGeom>
          <a:solidFill>
            <a:srgbClr val="FFFFFF"/>
          </a:solidFill>
        </p:spPr>
      </p:pic>
      <p:sp>
        <p:nvSpPr>
          <p:cNvPr id="18" name="Slide Number Placeholder 5" hidden="1">
            <a:extLst>
              <a:ext uri="{FF2B5EF4-FFF2-40B4-BE49-F238E27FC236}">
                <a16:creationId xmlns:a16="http://schemas.microsoft.com/office/drawing/2014/main" id="{FFDC2970-2313-A131-4BBA-6960F4C09027}"/>
              </a:ext>
            </a:extLst>
          </p:cNvPr>
          <p:cNvSpPr>
            <a:spLocks noGrp="1"/>
          </p:cNvSpPr>
          <p:nvPr>
            <p:ph type="sldNum" sz="quarter" idx="12"/>
          </p:nvPr>
        </p:nvSpPr>
        <p:spPr>
          <a:xfrm>
            <a:off x="410882" y="6332830"/>
            <a:ext cx="507262" cy="273450"/>
          </a:xfrm>
        </p:spPr>
        <p:txBody>
          <a:bodyPr/>
          <a:lstStyle/>
          <a:p>
            <a:pPr>
              <a:spcAft>
                <a:spcPts val="600"/>
              </a:spcAft>
            </a:pPr>
            <a:fld id="{32B354EE-31EA-4FC2-9496-7B6202183237}" type="slidenum">
              <a:rPr lang="en-US" smtClean="0"/>
              <a:pPr>
                <a:spcAft>
                  <a:spcPts val="600"/>
                </a:spcAft>
              </a:pPr>
              <a:t>3</a:t>
            </a:fld>
            <a:endParaRPr lang="en-US"/>
          </a:p>
        </p:txBody>
      </p:sp>
    </p:spTree>
    <p:extLst>
      <p:ext uri="{BB962C8B-B14F-4D97-AF65-F5344CB8AC3E}">
        <p14:creationId xmlns:p14="http://schemas.microsoft.com/office/powerpoint/2010/main" val="348624753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31A69C8-7AD3-7515-1968-9BAAC045361A}"/>
              </a:ext>
            </a:extLst>
          </p:cNvPr>
          <p:cNvSpPr>
            <a:spLocks noGrp="1"/>
          </p:cNvSpPr>
          <p:nvPr>
            <p:ph type="ftr" sz="quarter" idx="4294967295"/>
          </p:nvPr>
        </p:nvSpPr>
        <p:spPr>
          <a:xfrm>
            <a:off x="920368" y="6332830"/>
            <a:ext cx="4784400" cy="273450"/>
          </a:xfrm>
          <a:prstGeom prst="rect">
            <a:avLst/>
          </a:prstGeom>
        </p:spPr>
        <p:txBody>
          <a:bodyPr/>
          <a:lstStyle/>
          <a:p>
            <a:r>
              <a:rPr lang="en-GB"/>
              <a:t>Document Name</a:t>
            </a:r>
            <a:endParaRPr lang="en-US"/>
          </a:p>
        </p:txBody>
      </p:sp>
      <p:sp>
        <p:nvSpPr>
          <p:cNvPr id="3" name="Slide Number Placeholder 2">
            <a:extLst>
              <a:ext uri="{FF2B5EF4-FFF2-40B4-BE49-F238E27FC236}">
                <a16:creationId xmlns:a16="http://schemas.microsoft.com/office/drawing/2014/main" id="{A48140CD-ABA4-8A32-ADB2-CEF4425AF62C}"/>
              </a:ext>
            </a:extLst>
          </p:cNvPr>
          <p:cNvSpPr>
            <a:spLocks noGrp="1"/>
          </p:cNvSpPr>
          <p:nvPr>
            <p:ph type="sldNum" sz="quarter" idx="12"/>
          </p:nvPr>
        </p:nvSpPr>
        <p:spPr/>
        <p:txBody>
          <a:bodyPr/>
          <a:lstStyle/>
          <a:p>
            <a:fld id="{32B354EE-31EA-4FC2-9496-7B6202183237}" type="slidenum">
              <a:rPr lang="en-US" smtClean="0"/>
              <a:pPr/>
              <a:t>30</a:t>
            </a:fld>
            <a:endParaRPr lang="en-US"/>
          </a:p>
        </p:txBody>
      </p:sp>
      <p:sp>
        <p:nvSpPr>
          <p:cNvPr id="10" name="Title 9">
            <a:extLst>
              <a:ext uri="{FF2B5EF4-FFF2-40B4-BE49-F238E27FC236}">
                <a16:creationId xmlns:a16="http://schemas.microsoft.com/office/drawing/2014/main" id="{99E3D671-DD2B-CEF4-72C2-FCA871D91FE4}"/>
              </a:ext>
            </a:extLst>
          </p:cNvPr>
          <p:cNvSpPr>
            <a:spLocks noGrp="1"/>
          </p:cNvSpPr>
          <p:nvPr>
            <p:ph type="title"/>
          </p:nvPr>
        </p:nvSpPr>
        <p:spPr/>
        <p:txBody>
          <a:bodyPr/>
          <a:lstStyle/>
          <a:p>
            <a:endParaRPr lang="nl-NL"/>
          </a:p>
        </p:txBody>
      </p:sp>
      <p:pic>
        <p:nvPicPr>
          <p:cNvPr id="6148" name="Picture 4" descr="photo of woman on green grass field outdoors during daytime">
            <a:extLst>
              <a:ext uri="{FF2B5EF4-FFF2-40B4-BE49-F238E27FC236}">
                <a16:creationId xmlns:a16="http://schemas.microsoft.com/office/drawing/2014/main" id="{73FA77DE-FABB-744B-91DA-1CC922320B16}"/>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17722" y="0"/>
            <a:ext cx="410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6" descr="1.378 Euro sparen: So funktioniert es mit der 1-Euro-Regel - wmn">
            <a:extLst>
              <a:ext uri="{FF2B5EF4-FFF2-40B4-BE49-F238E27FC236}">
                <a16:creationId xmlns:a16="http://schemas.microsoft.com/office/drawing/2014/main" id="{BF5C8E13-A439-31DF-3CBF-8BE79770D5AC}"/>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4119495" y="0"/>
            <a:ext cx="4074836" cy="6867426"/>
          </a:xfrm>
          <a:prstGeom prst="rect">
            <a:avLst/>
          </a:prstGeom>
          <a:noFill/>
          <a:extLst>
            <a:ext uri="{909E8E84-426E-40DD-AFC4-6F175D3DCCD1}">
              <a14:hiddenFill xmlns:a14="http://schemas.microsoft.com/office/drawing/2010/main">
                <a:solidFill>
                  <a:srgbClr val="FFFFFF"/>
                </a:solidFill>
              </a14:hiddenFill>
            </a:ext>
          </a:extLst>
        </p:spPr>
      </p:pic>
      <p:pic>
        <p:nvPicPr>
          <p:cNvPr id="6154" name="Picture 10" descr="Waarom is duurzaamheid belangrijk? - Ecoteers">
            <a:extLst>
              <a:ext uri="{FF2B5EF4-FFF2-40B4-BE49-F238E27FC236}">
                <a16:creationId xmlns:a16="http://schemas.microsoft.com/office/drawing/2014/main" id="{3D543199-2E31-AEE0-78E9-0C6E53A9554D}"/>
              </a:ext>
            </a:extLst>
          </p:cNvPr>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8194332" y="0"/>
            <a:ext cx="4106226" cy="685800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1CC6A92D-6868-8066-A9B5-63E7C74EFBBD}"/>
              </a:ext>
            </a:extLst>
          </p:cNvPr>
          <p:cNvSpPr txBox="1"/>
          <p:nvPr/>
        </p:nvSpPr>
        <p:spPr>
          <a:xfrm>
            <a:off x="4119496" y="5173829"/>
            <a:ext cx="4074835" cy="1036522"/>
          </a:xfrm>
          <a:prstGeom prst="rect">
            <a:avLst/>
          </a:prstGeom>
          <a:noFill/>
        </p:spPr>
        <p:txBody>
          <a:bodyPr wrap="square" lIns="0" tIns="0" rIns="0" bIns="0" rtlCol="0">
            <a:noAutofit/>
          </a:bodyPr>
          <a:lstStyle>
            <a:defPPr>
              <a:defRPr lang="en-US"/>
            </a:defPPr>
            <a:lvl1pPr>
              <a:lnSpc>
                <a:spcPct val="90000"/>
              </a:lnSpc>
              <a:spcAft>
                <a:spcPts val="900"/>
              </a:spcAft>
              <a:defRPr sz="2800" b="1">
                <a:solidFill>
                  <a:schemeClr val="bg1"/>
                </a:solidFill>
              </a:defRPr>
            </a:lvl1pPr>
          </a:lstStyle>
          <a:p>
            <a:pPr algn="ctr"/>
            <a:r>
              <a:rPr lang="nl-NL" dirty="0"/>
              <a:t> </a:t>
            </a:r>
          </a:p>
          <a:p>
            <a:pPr algn="ctr"/>
            <a:r>
              <a:rPr lang="nl-NL" sz="3200" dirty="0"/>
              <a:t>PROFIT</a:t>
            </a:r>
            <a:endParaRPr lang="nl-NL" dirty="0"/>
          </a:p>
        </p:txBody>
      </p:sp>
      <p:sp>
        <p:nvSpPr>
          <p:cNvPr id="8" name="TextBox 7">
            <a:extLst>
              <a:ext uri="{FF2B5EF4-FFF2-40B4-BE49-F238E27FC236}">
                <a16:creationId xmlns:a16="http://schemas.microsoft.com/office/drawing/2014/main" id="{12391138-807B-C9F0-21D4-6F7976594E21}"/>
              </a:ext>
            </a:extLst>
          </p:cNvPr>
          <p:cNvSpPr txBox="1"/>
          <p:nvPr/>
        </p:nvSpPr>
        <p:spPr>
          <a:xfrm>
            <a:off x="8194331" y="5144633"/>
            <a:ext cx="4101774" cy="751305"/>
          </a:xfrm>
          <a:prstGeom prst="rect">
            <a:avLst/>
          </a:prstGeom>
          <a:noFill/>
        </p:spPr>
        <p:txBody>
          <a:bodyPr wrap="square" lIns="0" tIns="0" rIns="0" bIns="0" rtlCol="0">
            <a:noAutofit/>
          </a:bodyPr>
          <a:lstStyle/>
          <a:p>
            <a:pPr algn="ctr">
              <a:lnSpc>
                <a:spcPct val="90000"/>
              </a:lnSpc>
              <a:spcAft>
                <a:spcPts val="900"/>
              </a:spcAft>
            </a:pPr>
            <a:r>
              <a:rPr lang="nl-NL" sz="2800" b="1" dirty="0">
                <a:solidFill>
                  <a:schemeClr val="bg1"/>
                </a:solidFill>
              </a:rPr>
              <a:t> </a:t>
            </a:r>
          </a:p>
          <a:p>
            <a:pPr algn="ctr">
              <a:lnSpc>
                <a:spcPct val="90000"/>
              </a:lnSpc>
              <a:spcAft>
                <a:spcPts val="900"/>
              </a:spcAft>
            </a:pPr>
            <a:r>
              <a:rPr lang="nl-NL" sz="3200" b="1" dirty="0">
                <a:solidFill>
                  <a:schemeClr val="bg1"/>
                </a:solidFill>
              </a:rPr>
              <a:t>PLANET</a:t>
            </a:r>
          </a:p>
        </p:txBody>
      </p:sp>
      <p:sp>
        <p:nvSpPr>
          <p:cNvPr id="9" name="TextBox 8">
            <a:extLst>
              <a:ext uri="{FF2B5EF4-FFF2-40B4-BE49-F238E27FC236}">
                <a16:creationId xmlns:a16="http://schemas.microsoft.com/office/drawing/2014/main" id="{F5426E79-753E-64DD-FEC2-7A6A313D4C7B}"/>
              </a:ext>
            </a:extLst>
          </p:cNvPr>
          <p:cNvSpPr txBox="1"/>
          <p:nvPr/>
        </p:nvSpPr>
        <p:spPr>
          <a:xfrm>
            <a:off x="17722" y="5180911"/>
            <a:ext cx="4103999" cy="751305"/>
          </a:xfrm>
          <a:prstGeom prst="rect">
            <a:avLst/>
          </a:prstGeom>
          <a:noFill/>
        </p:spPr>
        <p:txBody>
          <a:bodyPr wrap="square" lIns="0" tIns="0" rIns="0" bIns="0" rtlCol="0">
            <a:noAutofit/>
          </a:bodyPr>
          <a:lstStyle>
            <a:defPPr>
              <a:defRPr lang="en-US"/>
            </a:defPPr>
            <a:lvl1pPr>
              <a:lnSpc>
                <a:spcPct val="90000"/>
              </a:lnSpc>
              <a:spcAft>
                <a:spcPts val="900"/>
              </a:spcAft>
              <a:defRPr sz="2800" b="1">
                <a:solidFill>
                  <a:schemeClr val="bg1"/>
                </a:solidFill>
              </a:defRPr>
            </a:lvl1pPr>
          </a:lstStyle>
          <a:p>
            <a:endParaRPr lang="nl-NL" dirty="0"/>
          </a:p>
          <a:p>
            <a:pPr algn="ctr"/>
            <a:r>
              <a:rPr lang="nl-NL" sz="3200" dirty="0"/>
              <a:t>PEOPLE</a:t>
            </a:r>
          </a:p>
        </p:txBody>
      </p:sp>
    </p:spTree>
    <p:extLst>
      <p:ext uri="{BB962C8B-B14F-4D97-AF65-F5344CB8AC3E}">
        <p14:creationId xmlns:p14="http://schemas.microsoft.com/office/powerpoint/2010/main" val="17875555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2103CC2B-CFFF-44EE-9581-49CED764E4C5}"/>
              </a:ext>
            </a:extLst>
          </p:cNvPr>
          <p:cNvSpPr>
            <a:spLocks noGrp="1"/>
          </p:cNvSpPr>
          <p:nvPr>
            <p:ph type="title"/>
          </p:nvPr>
        </p:nvSpPr>
        <p:spPr>
          <a:xfrm>
            <a:off x="6397201" y="2833271"/>
            <a:ext cx="5274693" cy="776038"/>
          </a:xfrm>
        </p:spPr>
        <p:txBody>
          <a:bodyPr/>
          <a:lstStyle/>
          <a:p>
            <a:r>
              <a:rPr lang="nl-NL" sz="2800" dirty="0">
                <a:solidFill>
                  <a:schemeClr val="accent3"/>
                </a:solidFill>
                <a:latin typeface="Signify Raisonne DemiBold" panose="020B0703030201040104" pitchFamily="34" charset="0"/>
              </a:rPr>
              <a:t>For happier people!</a:t>
            </a:r>
            <a:br>
              <a:rPr lang="nl-NL" sz="2800" dirty="0">
                <a:solidFill>
                  <a:schemeClr val="accent3"/>
                </a:solidFill>
                <a:latin typeface="Signify Raisonne DemiBold" panose="020B0703030201040104" pitchFamily="34" charset="0"/>
              </a:rPr>
            </a:br>
            <a:r>
              <a:rPr lang="nl-NL" sz="2800" dirty="0">
                <a:solidFill>
                  <a:schemeClr val="accent3"/>
                </a:solidFill>
                <a:latin typeface="Signify Raisonne DemiBold" panose="020B0703030201040104" pitchFamily="34" charset="0"/>
              </a:rPr>
              <a:t>For lower costs!</a:t>
            </a:r>
            <a:br>
              <a:rPr lang="nl-NL" sz="2800" dirty="0">
                <a:solidFill>
                  <a:schemeClr val="accent3"/>
                </a:solidFill>
                <a:latin typeface="Signify Raisonne DemiBold" panose="020B0703030201040104" pitchFamily="34" charset="0"/>
              </a:rPr>
            </a:br>
            <a:r>
              <a:rPr lang="nl-NL" sz="2800" dirty="0">
                <a:solidFill>
                  <a:schemeClr val="accent3"/>
                </a:solidFill>
                <a:latin typeface="Signify Raisonne DemiBold" panose="020B0703030201040104" pitchFamily="34" charset="0"/>
              </a:rPr>
              <a:t>For a healthier planet! </a:t>
            </a:r>
            <a:br>
              <a:rPr lang="nl-NL" sz="3200" dirty="0">
                <a:solidFill>
                  <a:schemeClr val="tx2"/>
                </a:solidFill>
              </a:rPr>
            </a:br>
            <a:endParaRPr lang="en-US" sz="2800" dirty="0">
              <a:solidFill>
                <a:schemeClr val="tx2"/>
              </a:solidFill>
            </a:endParaRPr>
          </a:p>
        </p:txBody>
      </p:sp>
      <p:sp>
        <p:nvSpPr>
          <p:cNvPr id="5" name="Picture Placeholder 4">
            <a:extLst>
              <a:ext uri="{FF2B5EF4-FFF2-40B4-BE49-F238E27FC236}">
                <a16:creationId xmlns:a16="http://schemas.microsoft.com/office/drawing/2014/main" id="{09ED9C8A-4BDD-9707-E83B-92D2D5153F97}"/>
              </a:ext>
            </a:extLst>
          </p:cNvPr>
          <p:cNvSpPr>
            <a:spLocks noGrp="1"/>
          </p:cNvSpPr>
          <p:nvPr>
            <p:ph type="pic" sz="quarter" idx="13"/>
          </p:nvPr>
        </p:nvSpPr>
        <p:spPr/>
      </p:sp>
      <p:pic>
        <p:nvPicPr>
          <p:cNvPr id="1026" name="Picture 2" descr="Geld zerstören, zerreißen oder verbrennen: Ist das erlaubt? - Modern Wealth">
            <a:extLst>
              <a:ext uri="{FF2B5EF4-FFF2-40B4-BE49-F238E27FC236}">
                <a16:creationId xmlns:a16="http://schemas.microsoft.com/office/drawing/2014/main" id="{897E2D15-37A0-3B60-6E08-B508C08EBBDC}"/>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1" y="1"/>
            <a:ext cx="6095097" cy="68579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7264139"/>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244716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384E56D-665C-44AE-41EF-61C5197CF291}"/>
              </a:ext>
            </a:extLst>
          </p:cNvPr>
          <p:cNvSpPr>
            <a:spLocks noGrp="1"/>
          </p:cNvSpPr>
          <p:nvPr>
            <p:ph type="title"/>
          </p:nvPr>
        </p:nvSpPr>
        <p:spPr/>
        <p:txBody>
          <a:bodyPr/>
          <a:lstStyle/>
          <a:p>
            <a:r>
              <a:rPr lang="en-US" sz="3600" dirty="0"/>
              <a:t>Challenges</a:t>
            </a:r>
            <a:endParaRPr lang="en-BE" sz="3600" dirty="0"/>
          </a:p>
        </p:txBody>
      </p:sp>
      <p:sp>
        <p:nvSpPr>
          <p:cNvPr id="7" name="Content Placeholder 6">
            <a:extLst>
              <a:ext uri="{FF2B5EF4-FFF2-40B4-BE49-F238E27FC236}">
                <a16:creationId xmlns:a16="http://schemas.microsoft.com/office/drawing/2014/main" id="{40332313-66AB-F143-E8BA-F282F2A26826}"/>
              </a:ext>
            </a:extLst>
          </p:cNvPr>
          <p:cNvSpPr>
            <a:spLocks noGrp="1"/>
          </p:cNvSpPr>
          <p:nvPr>
            <p:ph idx="1"/>
          </p:nvPr>
        </p:nvSpPr>
        <p:spPr>
          <a:xfrm>
            <a:off x="410880" y="1521182"/>
            <a:ext cx="9647520" cy="4517348"/>
          </a:xfrm>
        </p:spPr>
        <p:txBody>
          <a:bodyPr/>
          <a:lstStyle/>
          <a:p>
            <a:r>
              <a:rPr lang="en-US" dirty="0"/>
              <a:t>Cities face a lot more challenges next to regulations and norms in public buildings</a:t>
            </a:r>
            <a:endParaRPr lang="en-BE" dirty="0"/>
          </a:p>
        </p:txBody>
      </p:sp>
      <p:sp>
        <p:nvSpPr>
          <p:cNvPr id="2" name="Footer Placeholder 1">
            <a:extLst>
              <a:ext uri="{FF2B5EF4-FFF2-40B4-BE49-F238E27FC236}">
                <a16:creationId xmlns:a16="http://schemas.microsoft.com/office/drawing/2014/main" id="{7E499EC7-CF55-E18B-9A34-0A79B7D65EF0}"/>
              </a:ext>
            </a:extLst>
          </p:cNvPr>
          <p:cNvSpPr>
            <a:spLocks noGrp="1"/>
          </p:cNvSpPr>
          <p:nvPr>
            <p:ph type="ftr" sz="quarter" idx="11"/>
          </p:nvPr>
        </p:nvSpPr>
        <p:spPr/>
        <p:txBody>
          <a:bodyPr/>
          <a:lstStyle/>
          <a:p>
            <a:r>
              <a:rPr lang="en-GB"/>
              <a:t>Document Name</a:t>
            </a:r>
            <a:endParaRPr lang="en-US"/>
          </a:p>
        </p:txBody>
      </p:sp>
      <p:sp>
        <p:nvSpPr>
          <p:cNvPr id="3" name="Slide Number Placeholder 2">
            <a:extLst>
              <a:ext uri="{FF2B5EF4-FFF2-40B4-BE49-F238E27FC236}">
                <a16:creationId xmlns:a16="http://schemas.microsoft.com/office/drawing/2014/main" id="{D80EC3F9-1E25-9CA1-4017-AA93C9AAB72D}"/>
              </a:ext>
            </a:extLst>
          </p:cNvPr>
          <p:cNvSpPr>
            <a:spLocks noGrp="1"/>
          </p:cNvSpPr>
          <p:nvPr>
            <p:ph type="sldNum" sz="quarter" idx="12"/>
          </p:nvPr>
        </p:nvSpPr>
        <p:spPr/>
        <p:txBody>
          <a:bodyPr/>
          <a:lstStyle/>
          <a:p>
            <a:fld id="{32B354EE-31EA-4FC2-9496-7B6202183237}" type="slidenum">
              <a:rPr lang="en-US" smtClean="0"/>
              <a:t>4</a:t>
            </a:fld>
            <a:endParaRPr lang="en-US"/>
          </a:p>
        </p:txBody>
      </p:sp>
      <p:sp>
        <p:nvSpPr>
          <p:cNvPr id="8" name="Oval 1">
            <a:extLst>
              <a:ext uri="{FF2B5EF4-FFF2-40B4-BE49-F238E27FC236}">
                <a16:creationId xmlns:a16="http://schemas.microsoft.com/office/drawing/2014/main" id="{3082195E-BB51-C6F7-A3C6-39B963A9C296}"/>
              </a:ext>
            </a:extLst>
          </p:cNvPr>
          <p:cNvSpPr/>
          <p:nvPr/>
        </p:nvSpPr>
        <p:spPr>
          <a:xfrm>
            <a:off x="5006250" y="4200832"/>
            <a:ext cx="2177273" cy="1667232"/>
          </a:xfrm>
          <a:prstGeom prst="ellipse">
            <a:avLst/>
          </a:prstGeom>
          <a:gradFill>
            <a:gsLst>
              <a:gs pos="50000">
                <a:srgbClr val="00E487"/>
              </a:gs>
              <a:gs pos="100000">
                <a:srgbClr val="1ECBD0">
                  <a:alpha val="72000"/>
                </a:srgb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3000" b="1" dirty="0">
                <a:solidFill>
                  <a:schemeClr val="tx1"/>
                </a:solidFill>
                <a:latin typeface="Signify Raisonne DemiBold"/>
                <a:cs typeface="Calibri" panose="020F0502020204030204" pitchFamily="34" charset="0"/>
              </a:rPr>
              <a:t>Flexible working</a:t>
            </a:r>
            <a:endParaRPr kumimoji="0" lang="en-GB" sz="3000" b="1" i="0" u="none" strike="noStrike" kern="1200" cap="none" spc="0" normalizeH="0" baseline="0" noProof="0" dirty="0">
              <a:ln>
                <a:noFill/>
              </a:ln>
              <a:solidFill>
                <a:schemeClr val="bg1"/>
              </a:solidFill>
              <a:effectLst/>
              <a:uLnTx/>
              <a:uFillTx/>
              <a:latin typeface="Signify Raisonne DemiBold"/>
              <a:cs typeface="Calibri" panose="020F0502020204030204" pitchFamily="34" charset="0"/>
            </a:endParaRPr>
          </a:p>
        </p:txBody>
      </p:sp>
      <p:sp>
        <p:nvSpPr>
          <p:cNvPr id="9" name="Oval 1">
            <a:extLst>
              <a:ext uri="{FF2B5EF4-FFF2-40B4-BE49-F238E27FC236}">
                <a16:creationId xmlns:a16="http://schemas.microsoft.com/office/drawing/2014/main" id="{F7FF270D-A1BE-DD1C-3AA3-F88E7DBD2F9A}"/>
              </a:ext>
            </a:extLst>
          </p:cNvPr>
          <p:cNvSpPr/>
          <p:nvPr/>
        </p:nvSpPr>
        <p:spPr>
          <a:xfrm>
            <a:off x="1157911" y="4353176"/>
            <a:ext cx="3093260" cy="1667232"/>
          </a:xfrm>
          <a:prstGeom prst="ellipse">
            <a:avLst/>
          </a:prstGeom>
          <a:gradFill>
            <a:gsLst>
              <a:gs pos="50000">
                <a:srgbClr val="00E487"/>
              </a:gs>
              <a:gs pos="100000">
                <a:srgbClr val="1ECBD0">
                  <a:alpha val="72000"/>
                </a:srgb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3000" b="1" noProof="0" dirty="0">
                <a:solidFill>
                  <a:schemeClr val="tx1"/>
                </a:solidFill>
                <a:latin typeface="Signify Raisonne DemiBold"/>
                <a:cs typeface="Calibri" panose="020F0502020204030204" pitchFamily="34" charset="0"/>
              </a:rPr>
              <a:t>Regulations</a:t>
            </a:r>
            <a:endParaRPr kumimoji="0" lang="en-GB" sz="3000" b="1" i="0" u="none" strike="noStrike" kern="1200" cap="none" spc="0" normalizeH="0" baseline="0" noProof="0" dirty="0">
              <a:ln>
                <a:noFill/>
              </a:ln>
              <a:solidFill>
                <a:schemeClr val="bg1"/>
              </a:solidFill>
              <a:effectLst/>
              <a:uLnTx/>
              <a:uFillTx/>
              <a:latin typeface="Signify Raisonne DemiBold"/>
              <a:cs typeface="Calibri" panose="020F0502020204030204" pitchFamily="34" charset="0"/>
            </a:endParaRPr>
          </a:p>
        </p:txBody>
      </p:sp>
      <p:sp>
        <p:nvSpPr>
          <p:cNvPr id="10" name="Oval 1">
            <a:extLst>
              <a:ext uri="{FF2B5EF4-FFF2-40B4-BE49-F238E27FC236}">
                <a16:creationId xmlns:a16="http://schemas.microsoft.com/office/drawing/2014/main" id="{54708EF8-FC27-5ED2-5250-76E6986EC1AE}"/>
              </a:ext>
            </a:extLst>
          </p:cNvPr>
          <p:cNvSpPr/>
          <p:nvPr/>
        </p:nvSpPr>
        <p:spPr>
          <a:xfrm>
            <a:off x="6297490" y="2235730"/>
            <a:ext cx="2329674" cy="1912684"/>
          </a:xfrm>
          <a:prstGeom prst="ellipse">
            <a:avLst/>
          </a:prstGeom>
          <a:gradFill>
            <a:gsLst>
              <a:gs pos="50000">
                <a:srgbClr val="00E487"/>
              </a:gs>
              <a:gs pos="100000">
                <a:srgbClr val="1ECBD0">
                  <a:alpha val="72000"/>
                </a:srgb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3000" b="1" dirty="0">
                <a:solidFill>
                  <a:schemeClr val="tx1"/>
                </a:solidFill>
                <a:latin typeface="Signify Raisonne DemiBold"/>
                <a:cs typeface="Calibri" panose="020F0502020204030204" pitchFamily="34" charset="0"/>
              </a:rPr>
              <a:t>War for talent</a:t>
            </a:r>
            <a:endParaRPr kumimoji="0" lang="en-GB" sz="3000" b="1" i="0" u="none" strike="noStrike" kern="1200" cap="none" spc="0" normalizeH="0" baseline="0" noProof="0" dirty="0">
              <a:ln>
                <a:noFill/>
              </a:ln>
              <a:solidFill>
                <a:schemeClr val="bg1"/>
              </a:solidFill>
              <a:effectLst/>
              <a:uLnTx/>
              <a:uFillTx/>
              <a:latin typeface="Signify Raisonne DemiBold"/>
              <a:cs typeface="Calibri" panose="020F0502020204030204" pitchFamily="34" charset="0"/>
            </a:endParaRPr>
          </a:p>
        </p:txBody>
      </p:sp>
      <p:sp>
        <p:nvSpPr>
          <p:cNvPr id="11" name="Oval 1">
            <a:extLst>
              <a:ext uri="{FF2B5EF4-FFF2-40B4-BE49-F238E27FC236}">
                <a16:creationId xmlns:a16="http://schemas.microsoft.com/office/drawing/2014/main" id="{DD63CCA4-2F06-FF92-3F9D-069E6E9FAD7A}"/>
              </a:ext>
            </a:extLst>
          </p:cNvPr>
          <p:cNvSpPr/>
          <p:nvPr/>
        </p:nvSpPr>
        <p:spPr>
          <a:xfrm>
            <a:off x="3908087" y="2599229"/>
            <a:ext cx="1877354" cy="1667232"/>
          </a:xfrm>
          <a:prstGeom prst="ellipse">
            <a:avLst/>
          </a:prstGeom>
          <a:gradFill>
            <a:gsLst>
              <a:gs pos="50000">
                <a:srgbClr val="00E487"/>
              </a:gs>
              <a:gs pos="100000">
                <a:srgbClr val="1ECBD0">
                  <a:alpha val="72000"/>
                </a:srgb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3000" b="1" dirty="0">
                <a:solidFill>
                  <a:schemeClr val="tx1"/>
                </a:solidFill>
                <a:latin typeface="Signify Raisonne DemiBold"/>
                <a:cs typeface="Calibri" panose="020F0502020204030204" pitchFamily="34" charset="0"/>
              </a:rPr>
              <a:t>Costs</a:t>
            </a:r>
            <a:endParaRPr kumimoji="0" lang="en-GB" sz="3000" b="1" i="0" u="none" strike="noStrike" kern="1200" cap="none" spc="0" normalizeH="0" baseline="0" noProof="0" dirty="0">
              <a:ln>
                <a:noFill/>
              </a:ln>
              <a:solidFill>
                <a:schemeClr val="bg1"/>
              </a:solidFill>
              <a:effectLst/>
              <a:uLnTx/>
              <a:uFillTx/>
              <a:latin typeface="Signify Raisonne DemiBold"/>
              <a:cs typeface="Calibri" panose="020F0502020204030204" pitchFamily="34" charset="0"/>
            </a:endParaRPr>
          </a:p>
        </p:txBody>
      </p:sp>
      <p:sp>
        <p:nvSpPr>
          <p:cNvPr id="12" name="Oval 1">
            <a:extLst>
              <a:ext uri="{FF2B5EF4-FFF2-40B4-BE49-F238E27FC236}">
                <a16:creationId xmlns:a16="http://schemas.microsoft.com/office/drawing/2014/main" id="{7169C9C6-3EDD-6225-501F-9B7F487E7BDD}"/>
              </a:ext>
            </a:extLst>
          </p:cNvPr>
          <p:cNvSpPr/>
          <p:nvPr/>
        </p:nvSpPr>
        <p:spPr>
          <a:xfrm>
            <a:off x="8445919" y="3915710"/>
            <a:ext cx="2778211" cy="1926143"/>
          </a:xfrm>
          <a:prstGeom prst="ellipse">
            <a:avLst/>
          </a:prstGeom>
          <a:gradFill>
            <a:gsLst>
              <a:gs pos="50000">
                <a:srgbClr val="00E487"/>
              </a:gs>
              <a:gs pos="100000">
                <a:srgbClr val="1ECBD0">
                  <a:alpha val="72000"/>
                </a:srgb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400" b="1" dirty="0">
                <a:solidFill>
                  <a:schemeClr val="tx1"/>
                </a:solidFill>
                <a:latin typeface="Signify Raisonne DemiBold"/>
                <a:cs typeface="Calibri" panose="020F0502020204030204" pitchFamily="34" charset="0"/>
              </a:rPr>
              <a:t>Sustainability ambitions</a:t>
            </a:r>
            <a:endParaRPr kumimoji="0" lang="en-GB" sz="2400" b="1" i="0" u="none" strike="noStrike" kern="1200" cap="none" spc="0" normalizeH="0" baseline="0" noProof="0" dirty="0">
              <a:ln>
                <a:noFill/>
              </a:ln>
              <a:solidFill>
                <a:schemeClr val="bg1"/>
              </a:solidFill>
              <a:effectLst/>
              <a:uLnTx/>
              <a:uFillTx/>
              <a:latin typeface="Signify Raisonne DemiBold"/>
              <a:cs typeface="Calibri" panose="020F0502020204030204" pitchFamily="34" charset="0"/>
            </a:endParaRPr>
          </a:p>
        </p:txBody>
      </p:sp>
      <p:sp>
        <p:nvSpPr>
          <p:cNvPr id="13" name="Oval 1">
            <a:extLst>
              <a:ext uri="{FF2B5EF4-FFF2-40B4-BE49-F238E27FC236}">
                <a16:creationId xmlns:a16="http://schemas.microsoft.com/office/drawing/2014/main" id="{748945C6-837B-199F-B4D3-9EB0C32C5297}"/>
              </a:ext>
            </a:extLst>
          </p:cNvPr>
          <p:cNvSpPr/>
          <p:nvPr/>
        </p:nvSpPr>
        <p:spPr>
          <a:xfrm>
            <a:off x="9139214" y="1756921"/>
            <a:ext cx="2639681" cy="1926143"/>
          </a:xfrm>
          <a:prstGeom prst="ellipse">
            <a:avLst/>
          </a:prstGeom>
          <a:gradFill>
            <a:gsLst>
              <a:gs pos="50000">
                <a:srgbClr val="00E487"/>
              </a:gs>
              <a:gs pos="100000">
                <a:srgbClr val="1ECBD0">
                  <a:alpha val="72000"/>
                </a:srgb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400" b="1" dirty="0">
                <a:solidFill>
                  <a:schemeClr val="tx1"/>
                </a:solidFill>
                <a:latin typeface="Signify Raisonne DemiBold"/>
                <a:cs typeface="Calibri" panose="020F0502020204030204" pitchFamily="34" charset="0"/>
              </a:rPr>
              <a:t>Green procurement</a:t>
            </a:r>
            <a:endParaRPr kumimoji="0" lang="en-GB" sz="2400" b="1" i="0" u="none" strike="noStrike" kern="1200" cap="none" spc="0" normalizeH="0" baseline="0" noProof="0" dirty="0">
              <a:ln>
                <a:noFill/>
              </a:ln>
              <a:solidFill>
                <a:schemeClr val="bg1"/>
              </a:solidFill>
              <a:effectLst/>
              <a:uLnTx/>
              <a:uFillTx/>
              <a:latin typeface="Signify Raisonne DemiBold"/>
              <a:cs typeface="Calibri" panose="020F0502020204030204" pitchFamily="34" charset="0"/>
            </a:endParaRPr>
          </a:p>
        </p:txBody>
      </p:sp>
      <p:sp>
        <p:nvSpPr>
          <p:cNvPr id="14" name="Oval 1">
            <a:extLst>
              <a:ext uri="{FF2B5EF4-FFF2-40B4-BE49-F238E27FC236}">
                <a16:creationId xmlns:a16="http://schemas.microsoft.com/office/drawing/2014/main" id="{B2A4167D-6789-B7E6-79F4-B7948DDA75B4}"/>
              </a:ext>
            </a:extLst>
          </p:cNvPr>
          <p:cNvSpPr/>
          <p:nvPr/>
        </p:nvSpPr>
        <p:spPr>
          <a:xfrm>
            <a:off x="362507" y="2235730"/>
            <a:ext cx="3093260" cy="1912684"/>
          </a:xfrm>
          <a:prstGeom prst="ellipse">
            <a:avLst/>
          </a:prstGeom>
          <a:gradFill>
            <a:gsLst>
              <a:gs pos="50000">
                <a:srgbClr val="00E487"/>
              </a:gs>
              <a:gs pos="100000">
                <a:srgbClr val="1ECBD0">
                  <a:alpha val="72000"/>
                </a:srgb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800" b="1" noProof="0" dirty="0">
                <a:solidFill>
                  <a:schemeClr val="tx1"/>
                </a:solidFill>
                <a:latin typeface="Signify Raisonne DemiBold"/>
                <a:cs typeface="Calibri" panose="020F0502020204030204" pitchFamily="34" charset="0"/>
              </a:rPr>
              <a:t>Energy consumption</a:t>
            </a:r>
            <a:endParaRPr kumimoji="0" lang="en-GB" sz="2800" b="1" i="0" u="none" strike="noStrike" kern="1200" cap="none" spc="0" normalizeH="0" baseline="0" noProof="0" dirty="0">
              <a:ln>
                <a:noFill/>
              </a:ln>
              <a:solidFill>
                <a:schemeClr val="bg1"/>
              </a:solidFill>
              <a:effectLst/>
              <a:uLnTx/>
              <a:uFillTx/>
              <a:latin typeface="Signify Raisonne DemiBold"/>
              <a:cs typeface="Calibri" panose="020F0502020204030204" pitchFamily="34" charset="0"/>
            </a:endParaRPr>
          </a:p>
        </p:txBody>
      </p:sp>
      <p:sp>
        <p:nvSpPr>
          <p:cNvPr id="15" name="Oval 1">
            <a:extLst>
              <a:ext uri="{FF2B5EF4-FFF2-40B4-BE49-F238E27FC236}">
                <a16:creationId xmlns:a16="http://schemas.microsoft.com/office/drawing/2014/main" id="{676C8345-238D-A1C4-E334-DFB96D643EA6}"/>
              </a:ext>
            </a:extLst>
          </p:cNvPr>
          <p:cNvSpPr/>
          <p:nvPr/>
        </p:nvSpPr>
        <p:spPr>
          <a:xfrm>
            <a:off x="7297402" y="5563166"/>
            <a:ext cx="1565077" cy="1111068"/>
          </a:xfrm>
          <a:prstGeom prst="ellipse">
            <a:avLst/>
          </a:prstGeom>
          <a:gradFill>
            <a:gsLst>
              <a:gs pos="50000">
                <a:srgbClr val="00E487"/>
              </a:gs>
              <a:gs pos="100000">
                <a:srgbClr val="1ECBD0">
                  <a:alpha val="72000"/>
                </a:srgb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3000" b="1" dirty="0">
                <a:solidFill>
                  <a:schemeClr val="tx1"/>
                </a:solidFill>
                <a:latin typeface="Signify Raisonne DemiBold"/>
                <a:cs typeface="Calibri" panose="020F0502020204030204" pitchFamily="34" charset="0"/>
              </a:rPr>
              <a:t>Etc…</a:t>
            </a:r>
            <a:endParaRPr kumimoji="0" lang="en-GB" sz="3000" b="1" i="0" u="none" strike="noStrike" kern="1200" cap="none" spc="0" normalizeH="0" baseline="0" noProof="0" dirty="0">
              <a:ln>
                <a:noFill/>
              </a:ln>
              <a:solidFill>
                <a:schemeClr val="bg1"/>
              </a:solidFill>
              <a:effectLst/>
              <a:uLnTx/>
              <a:uFillTx/>
              <a:latin typeface="Signify Raisonne DemiBold"/>
              <a:cs typeface="Calibri" panose="020F0502020204030204" pitchFamily="34" charset="0"/>
            </a:endParaRPr>
          </a:p>
        </p:txBody>
      </p:sp>
    </p:spTree>
    <p:extLst>
      <p:ext uri="{BB962C8B-B14F-4D97-AF65-F5344CB8AC3E}">
        <p14:creationId xmlns:p14="http://schemas.microsoft.com/office/powerpoint/2010/main" val="32435448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500"/>
                                        <p:tgtEl>
                                          <p:spTgt spid="12"/>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4"/>
                                        </p:tgtEl>
                                        <p:attrNameLst>
                                          <p:attrName>style.visibility</p:attrName>
                                        </p:attrNameLst>
                                      </p:cBhvr>
                                      <p:to>
                                        <p:strVal val="visible"/>
                                      </p:to>
                                    </p:set>
                                    <p:animEffect transition="in" filter="fade">
                                      <p:cBhvr>
                                        <p:cTn id="31" dur="500"/>
                                        <p:tgtEl>
                                          <p:spTgt spid="14"/>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15"/>
                                        </p:tgtEl>
                                        <p:attrNameLst>
                                          <p:attrName>style.visibility</p:attrName>
                                        </p:attrNameLst>
                                      </p:cBhvr>
                                      <p:to>
                                        <p:strVal val="visible"/>
                                      </p:to>
                                    </p:set>
                                    <p:animEffect transition="in" filter="fade">
                                      <p:cBhvr>
                                        <p:cTn id="35"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2" grpId="0" animBg="1"/>
      <p:bldP spid="13" grpId="0" animBg="1"/>
      <p:bldP spid="14" grpId="0" animBg="1"/>
      <p:bldP spid="1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31A69C8-7AD3-7515-1968-9BAAC045361A}"/>
              </a:ext>
            </a:extLst>
          </p:cNvPr>
          <p:cNvSpPr>
            <a:spLocks noGrp="1"/>
          </p:cNvSpPr>
          <p:nvPr>
            <p:ph type="ftr" sz="quarter" idx="4294967295"/>
          </p:nvPr>
        </p:nvSpPr>
        <p:spPr>
          <a:xfrm>
            <a:off x="920368" y="6332830"/>
            <a:ext cx="4784400" cy="273450"/>
          </a:xfrm>
          <a:prstGeom prst="rect">
            <a:avLst/>
          </a:prstGeom>
        </p:spPr>
        <p:txBody>
          <a:bodyPr/>
          <a:lstStyle/>
          <a:p>
            <a:r>
              <a:rPr lang="en-GB"/>
              <a:t>Document Name</a:t>
            </a:r>
            <a:endParaRPr lang="en-US"/>
          </a:p>
        </p:txBody>
      </p:sp>
      <p:sp>
        <p:nvSpPr>
          <p:cNvPr id="3" name="Slide Number Placeholder 2">
            <a:extLst>
              <a:ext uri="{FF2B5EF4-FFF2-40B4-BE49-F238E27FC236}">
                <a16:creationId xmlns:a16="http://schemas.microsoft.com/office/drawing/2014/main" id="{A48140CD-ABA4-8A32-ADB2-CEF4425AF62C}"/>
              </a:ext>
            </a:extLst>
          </p:cNvPr>
          <p:cNvSpPr>
            <a:spLocks noGrp="1"/>
          </p:cNvSpPr>
          <p:nvPr>
            <p:ph type="sldNum" sz="quarter" idx="12"/>
          </p:nvPr>
        </p:nvSpPr>
        <p:spPr/>
        <p:txBody>
          <a:bodyPr/>
          <a:lstStyle/>
          <a:p>
            <a:fld id="{32B354EE-31EA-4FC2-9496-7B6202183237}" type="slidenum">
              <a:rPr lang="en-US" smtClean="0"/>
              <a:pPr/>
              <a:t>5</a:t>
            </a:fld>
            <a:endParaRPr lang="en-US"/>
          </a:p>
        </p:txBody>
      </p:sp>
      <p:sp>
        <p:nvSpPr>
          <p:cNvPr id="10" name="Title 9">
            <a:extLst>
              <a:ext uri="{FF2B5EF4-FFF2-40B4-BE49-F238E27FC236}">
                <a16:creationId xmlns:a16="http://schemas.microsoft.com/office/drawing/2014/main" id="{99E3D671-DD2B-CEF4-72C2-FCA871D91FE4}"/>
              </a:ext>
            </a:extLst>
          </p:cNvPr>
          <p:cNvSpPr>
            <a:spLocks noGrp="1"/>
          </p:cNvSpPr>
          <p:nvPr>
            <p:ph type="title"/>
          </p:nvPr>
        </p:nvSpPr>
        <p:spPr/>
        <p:txBody>
          <a:bodyPr/>
          <a:lstStyle/>
          <a:p>
            <a:endParaRPr lang="nl-NL"/>
          </a:p>
        </p:txBody>
      </p:sp>
      <p:pic>
        <p:nvPicPr>
          <p:cNvPr id="6148" name="Picture 4" descr="photo of woman on green grass field outdoors during daytime">
            <a:extLst>
              <a:ext uri="{FF2B5EF4-FFF2-40B4-BE49-F238E27FC236}">
                <a16:creationId xmlns:a16="http://schemas.microsoft.com/office/drawing/2014/main" id="{73FA77DE-FABB-744B-91DA-1CC922320B16}"/>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17722" y="0"/>
            <a:ext cx="410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6" descr="1.378 Euro sparen: So funktioniert es mit der 1-Euro-Regel - wmn">
            <a:extLst>
              <a:ext uri="{FF2B5EF4-FFF2-40B4-BE49-F238E27FC236}">
                <a16:creationId xmlns:a16="http://schemas.microsoft.com/office/drawing/2014/main" id="{BF5C8E13-A439-31DF-3CBF-8BE79770D5AC}"/>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4119495" y="0"/>
            <a:ext cx="4074836" cy="6867426"/>
          </a:xfrm>
          <a:prstGeom prst="rect">
            <a:avLst/>
          </a:prstGeom>
          <a:noFill/>
          <a:extLst>
            <a:ext uri="{909E8E84-426E-40DD-AFC4-6F175D3DCCD1}">
              <a14:hiddenFill xmlns:a14="http://schemas.microsoft.com/office/drawing/2010/main">
                <a:solidFill>
                  <a:srgbClr val="FFFFFF"/>
                </a:solidFill>
              </a14:hiddenFill>
            </a:ext>
          </a:extLst>
        </p:spPr>
      </p:pic>
      <p:pic>
        <p:nvPicPr>
          <p:cNvPr id="6154" name="Picture 10" descr="Waarom is duurzaamheid belangrijk? - Ecoteers">
            <a:extLst>
              <a:ext uri="{FF2B5EF4-FFF2-40B4-BE49-F238E27FC236}">
                <a16:creationId xmlns:a16="http://schemas.microsoft.com/office/drawing/2014/main" id="{3D543199-2E31-AEE0-78E9-0C6E53A9554D}"/>
              </a:ext>
            </a:extLst>
          </p:cNvPr>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8194332" y="0"/>
            <a:ext cx="4106226" cy="685800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1CC6A92D-6868-8066-A9B5-63E7C74EFBBD}"/>
              </a:ext>
            </a:extLst>
          </p:cNvPr>
          <p:cNvSpPr txBox="1"/>
          <p:nvPr/>
        </p:nvSpPr>
        <p:spPr>
          <a:xfrm>
            <a:off x="4119496" y="5173829"/>
            <a:ext cx="4074835" cy="1036522"/>
          </a:xfrm>
          <a:prstGeom prst="rect">
            <a:avLst/>
          </a:prstGeom>
          <a:noFill/>
        </p:spPr>
        <p:txBody>
          <a:bodyPr wrap="square" lIns="0" tIns="0" rIns="0" bIns="0" rtlCol="0">
            <a:noAutofit/>
          </a:bodyPr>
          <a:lstStyle>
            <a:defPPr>
              <a:defRPr lang="en-US"/>
            </a:defPPr>
            <a:lvl1pPr>
              <a:lnSpc>
                <a:spcPct val="90000"/>
              </a:lnSpc>
              <a:spcAft>
                <a:spcPts val="900"/>
              </a:spcAft>
              <a:defRPr sz="2800" b="1">
                <a:solidFill>
                  <a:schemeClr val="bg1"/>
                </a:solidFill>
              </a:defRPr>
            </a:lvl1pPr>
          </a:lstStyle>
          <a:p>
            <a:pPr algn="ctr"/>
            <a:r>
              <a:rPr lang="nl-NL" dirty="0"/>
              <a:t> </a:t>
            </a:r>
          </a:p>
          <a:p>
            <a:pPr algn="ctr"/>
            <a:r>
              <a:rPr lang="nl-NL" sz="3200" dirty="0"/>
              <a:t>PROFIT</a:t>
            </a:r>
            <a:endParaRPr lang="nl-NL" dirty="0"/>
          </a:p>
        </p:txBody>
      </p:sp>
      <p:sp>
        <p:nvSpPr>
          <p:cNvPr id="8" name="TextBox 7">
            <a:extLst>
              <a:ext uri="{FF2B5EF4-FFF2-40B4-BE49-F238E27FC236}">
                <a16:creationId xmlns:a16="http://schemas.microsoft.com/office/drawing/2014/main" id="{12391138-807B-C9F0-21D4-6F7976594E21}"/>
              </a:ext>
            </a:extLst>
          </p:cNvPr>
          <p:cNvSpPr txBox="1"/>
          <p:nvPr/>
        </p:nvSpPr>
        <p:spPr>
          <a:xfrm>
            <a:off x="8194331" y="5144633"/>
            <a:ext cx="4101774" cy="751305"/>
          </a:xfrm>
          <a:prstGeom prst="rect">
            <a:avLst/>
          </a:prstGeom>
          <a:noFill/>
        </p:spPr>
        <p:txBody>
          <a:bodyPr wrap="square" lIns="0" tIns="0" rIns="0" bIns="0" rtlCol="0">
            <a:noAutofit/>
          </a:bodyPr>
          <a:lstStyle/>
          <a:p>
            <a:pPr algn="ctr">
              <a:lnSpc>
                <a:spcPct val="90000"/>
              </a:lnSpc>
              <a:spcAft>
                <a:spcPts val="900"/>
              </a:spcAft>
            </a:pPr>
            <a:r>
              <a:rPr lang="nl-NL" sz="2800" b="1" dirty="0">
                <a:solidFill>
                  <a:schemeClr val="bg1"/>
                </a:solidFill>
              </a:rPr>
              <a:t> </a:t>
            </a:r>
          </a:p>
          <a:p>
            <a:pPr algn="ctr">
              <a:lnSpc>
                <a:spcPct val="90000"/>
              </a:lnSpc>
              <a:spcAft>
                <a:spcPts val="900"/>
              </a:spcAft>
            </a:pPr>
            <a:r>
              <a:rPr lang="nl-NL" sz="3200" b="1" dirty="0">
                <a:solidFill>
                  <a:schemeClr val="bg1"/>
                </a:solidFill>
              </a:rPr>
              <a:t>PLANET</a:t>
            </a:r>
          </a:p>
        </p:txBody>
      </p:sp>
      <p:sp>
        <p:nvSpPr>
          <p:cNvPr id="9" name="TextBox 8">
            <a:extLst>
              <a:ext uri="{FF2B5EF4-FFF2-40B4-BE49-F238E27FC236}">
                <a16:creationId xmlns:a16="http://schemas.microsoft.com/office/drawing/2014/main" id="{F5426E79-753E-64DD-FEC2-7A6A313D4C7B}"/>
              </a:ext>
            </a:extLst>
          </p:cNvPr>
          <p:cNvSpPr txBox="1"/>
          <p:nvPr/>
        </p:nvSpPr>
        <p:spPr>
          <a:xfrm>
            <a:off x="17722" y="5180911"/>
            <a:ext cx="4103999" cy="751305"/>
          </a:xfrm>
          <a:prstGeom prst="rect">
            <a:avLst/>
          </a:prstGeom>
          <a:noFill/>
        </p:spPr>
        <p:txBody>
          <a:bodyPr wrap="square" lIns="0" tIns="0" rIns="0" bIns="0" rtlCol="0">
            <a:noAutofit/>
          </a:bodyPr>
          <a:lstStyle>
            <a:defPPr>
              <a:defRPr lang="en-US"/>
            </a:defPPr>
            <a:lvl1pPr>
              <a:lnSpc>
                <a:spcPct val="90000"/>
              </a:lnSpc>
              <a:spcAft>
                <a:spcPts val="900"/>
              </a:spcAft>
              <a:defRPr sz="2800" b="1">
                <a:solidFill>
                  <a:schemeClr val="bg1"/>
                </a:solidFill>
              </a:defRPr>
            </a:lvl1pPr>
          </a:lstStyle>
          <a:p>
            <a:endParaRPr lang="nl-NL" dirty="0"/>
          </a:p>
          <a:p>
            <a:pPr algn="ctr"/>
            <a:r>
              <a:rPr lang="nl-NL" sz="3200" dirty="0"/>
              <a:t>PEOPLE</a:t>
            </a:r>
          </a:p>
        </p:txBody>
      </p:sp>
    </p:spTree>
    <p:extLst>
      <p:ext uri="{BB962C8B-B14F-4D97-AF65-F5344CB8AC3E}">
        <p14:creationId xmlns:p14="http://schemas.microsoft.com/office/powerpoint/2010/main" val="37237486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31A69C8-7AD3-7515-1968-9BAAC045361A}"/>
              </a:ext>
            </a:extLst>
          </p:cNvPr>
          <p:cNvSpPr>
            <a:spLocks noGrp="1"/>
          </p:cNvSpPr>
          <p:nvPr>
            <p:ph type="ftr" sz="quarter" idx="4294967295"/>
          </p:nvPr>
        </p:nvSpPr>
        <p:spPr>
          <a:xfrm>
            <a:off x="920368" y="6332830"/>
            <a:ext cx="4784400" cy="273450"/>
          </a:xfrm>
          <a:prstGeom prst="rect">
            <a:avLst/>
          </a:prstGeom>
        </p:spPr>
        <p:txBody>
          <a:bodyPr/>
          <a:lstStyle/>
          <a:p>
            <a:r>
              <a:rPr lang="en-GB"/>
              <a:t>Document Name</a:t>
            </a:r>
            <a:endParaRPr lang="en-US"/>
          </a:p>
        </p:txBody>
      </p:sp>
      <p:sp>
        <p:nvSpPr>
          <p:cNvPr id="3" name="Slide Number Placeholder 2">
            <a:extLst>
              <a:ext uri="{FF2B5EF4-FFF2-40B4-BE49-F238E27FC236}">
                <a16:creationId xmlns:a16="http://schemas.microsoft.com/office/drawing/2014/main" id="{A48140CD-ABA4-8A32-ADB2-CEF4425AF62C}"/>
              </a:ext>
            </a:extLst>
          </p:cNvPr>
          <p:cNvSpPr>
            <a:spLocks noGrp="1"/>
          </p:cNvSpPr>
          <p:nvPr>
            <p:ph type="sldNum" sz="quarter" idx="12"/>
          </p:nvPr>
        </p:nvSpPr>
        <p:spPr/>
        <p:txBody>
          <a:bodyPr/>
          <a:lstStyle/>
          <a:p>
            <a:fld id="{32B354EE-31EA-4FC2-9496-7B6202183237}" type="slidenum">
              <a:rPr lang="en-US" smtClean="0"/>
              <a:pPr/>
              <a:t>6</a:t>
            </a:fld>
            <a:endParaRPr lang="en-US"/>
          </a:p>
        </p:txBody>
      </p:sp>
      <p:sp>
        <p:nvSpPr>
          <p:cNvPr id="10" name="Title 9">
            <a:extLst>
              <a:ext uri="{FF2B5EF4-FFF2-40B4-BE49-F238E27FC236}">
                <a16:creationId xmlns:a16="http://schemas.microsoft.com/office/drawing/2014/main" id="{99E3D671-DD2B-CEF4-72C2-FCA871D91FE4}"/>
              </a:ext>
            </a:extLst>
          </p:cNvPr>
          <p:cNvSpPr>
            <a:spLocks noGrp="1"/>
          </p:cNvSpPr>
          <p:nvPr>
            <p:ph type="title"/>
          </p:nvPr>
        </p:nvSpPr>
        <p:spPr/>
        <p:txBody>
          <a:bodyPr/>
          <a:lstStyle/>
          <a:p>
            <a:endParaRPr lang="nl-NL" dirty="0"/>
          </a:p>
        </p:txBody>
      </p:sp>
      <p:pic>
        <p:nvPicPr>
          <p:cNvPr id="6148" name="Picture 4" descr="photo of woman on green grass field outdoors during daytime">
            <a:extLst>
              <a:ext uri="{FF2B5EF4-FFF2-40B4-BE49-F238E27FC236}">
                <a16:creationId xmlns:a16="http://schemas.microsoft.com/office/drawing/2014/main" id="{73FA77DE-FABB-744B-91DA-1CC922320B16}"/>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17722" y="1"/>
            <a:ext cx="12156556" cy="685800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F5426E79-753E-64DD-FEC2-7A6A313D4C7B}"/>
              </a:ext>
            </a:extLst>
          </p:cNvPr>
          <p:cNvSpPr txBox="1"/>
          <p:nvPr/>
        </p:nvSpPr>
        <p:spPr>
          <a:xfrm>
            <a:off x="17722" y="5180911"/>
            <a:ext cx="4103999" cy="751305"/>
          </a:xfrm>
          <a:prstGeom prst="rect">
            <a:avLst/>
          </a:prstGeom>
          <a:noFill/>
        </p:spPr>
        <p:txBody>
          <a:bodyPr wrap="square" lIns="0" tIns="0" rIns="0" bIns="0" rtlCol="0">
            <a:noAutofit/>
          </a:bodyPr>
          <a:lstStyle>
            <a:defPPr>
              <a:defRPr lang="en-US"/>
            </a:defPPr>
            <a:lvl1pPr>
              <a:lnSpc>
                <a:spcPct val="90000"/>
              </a:lnSpc>
              <a:spcAft>
                <a:spcPts val="900"/>
              </a:spcAft>
              <a:defRPr sz="2800" b="1">
                <a:solidFill>
                  <a:schemeClr val="bg1"/>
                </a:solidFill>
              </a:defRPr>
            </a:lvl1pPr>
          </a:lstStyle>
          <a:p>
            <a:endParaRPr lang="nl-NL" dirty="0"/>
          </a:p>
          <a:p>
            <a:pPr algn="ctr"/>
            <a:r>
              <a:rPr lang="nl-NL" sz="3200" dirty="0"/>
              <a:t>PEOPLE – WELL BEING</a:t>
            </a:r>
          </a:p>
        </p:txBody>
      </p:sp>
    </p:spTree>
    <p:extLst>
      <p:ext uri="{BB962C8B-B14F-4D97-AF65-F5344CB8AC3E}">
        <p14:creationId xmlns:p14="http://schemas.microsoft.com/office/powerpoint/2010/main" val="412886309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person reading a book&#10;&#10;Description automatically generated with medium confidence">
            <a:extLst>
              <a:ext uri="{FF2B5EF4-FFF2-40B4-BE49-F238E27FC236}">
                <a16:creationId xmlns:a16="http://schemas.microsoft.com/office/drawing/2014/main" id="{1D34D8A3-D4E8-D36D-A936-35A02ADB192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0" y="10"/>
            <a:ext cx="12191980" cy="6857990"/>
          </a:xfrm>
          <a:prstGeom prst="rect">
            <a:avLst/>
          </a:prstGeom>
          <a:noFill/>
        </p:spPr>
      </p:pic>
      <p:sp>
        <p:nvSpPr>
          <p:cNvPr id="3" name="Slide Number Placeholder 2" hidden="1">
            <a:extLst>
              <a:ext uri="{FF2B5EF4-FFF2-40B4-BE49-F238E27FC236}">
                <a16:creationId xmlns:a16="http://schemas.microsoft.com/office/drawing/2014/main" id="{55E08BBD-2EBA-F806-5C46-A3B694BF4EA8}"/>
              </a:ext>
            </a:extLst>
          </p:cNvPr>
          <p:cNvSpPr>
            <a:spLocks noGrp="1"/>
          </p:cNvSpPr>
          <p:nvPr>
            <p:ph type="sldNum" sz="quarter" idx="12"/>
          </p:nvPr>
        </p:nvSpPr>
        <p:spPr/>
        <p:txBody>
          <a:bodyPr/>
          <a:lstStyle/>
          <a:p>
            <a:pPr>
              <a:spcAft>
                <a:spcPts val="600"/>
              </a:spcAft>
            </a:pPr>
            <a:fld id="{32B354EE-31EA-4FC2-9496-7B6202183237}" type="slidenum">
              <a:rPr lang="en-US" smtClean="0"/>
              <a:pPr>
                <a:spcAft>
                  <a:spcPts val="600"/>
                </a:spcAft>
              </a:pPr>
              <a:t>7</a:t>
            </a:fld>
            <a:endParaRPr lang="en-US"/>
          </a:p>
        </p:txBody>
      </p:sp>
    </p:spTree>
    <p:extLst>
      <p:ext uri="{BB962C8B-B14F-4D97-AF65-F5344CB8AC3E}">
        <p14:creationId xmlns:p14="http://schemas.microsoft.com/office/powerpoint/2010/main" val="14884487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FA6A033-9927-43C9-94BB-F38BC2B994A7}"/>
              </a:ext>
            </a:extLst>
          </p:cNvPr>
          <p:cNvSpPr>
            <a:spLocks noGrp="1"/>
          </p:cNvSpPr>
          <p:nvPr>
            <p:ph type="body" idx="1"/>
          </p:nvPr>
        </p:nvSpPr>
        <p:spPr>
          <a:xfrm>
            <a:off x="413105" y="1521184"/>
            <a:ext cx="7488021" cy="3817442"/>
          </a:xfrm>
        </p:spPr>
        <p:txBody>
          <a:bodyPr/>
          <a:lstStyle/>
          <a:p>
            <a:r>
              <a:rPr lang="en-GB" dirty="0" err="1"/>
              <a:t>Gemiddeld</a:t>
            </a:r>
            <a:r>
              <a:rPr lang="en-GB" dirty="0"/>
              <a:t>, </a:t>
            </a:r>
            <a:r>
              <a:rPr lang="en-US" dirty="0" err="1"/>
              <a:t>zijn</a:t>
            </a:r>
            <a:r>
              <a:rPr lang="en-US" dirty="0"/>
              <a:t> we </a:t>
            </a:r>
            <a:r>
              <a:rPr lang="en-US" dirty="0" err="1">
                <a:solidFill>
                  <a:schemeClr val="accent3"/>
                </a:solidFill>
              </a:rPr>
              <a:t>meer</a:t>
            </a:r>
            <a:r>
              <a:rPr lang="en-US" dirty="0">
                <a:solidFill>
                  <a:schemeClr val="accent3"/>
                </a:solidFill>
              </a:rPr>
              <a:t> dan 90% </a:t>
            </a:r>
            <a:r>
              <a:rPr lang="en-US" dirty="0"/>
              <a:t>van </a:t>
            </a:r>
            <a:r>
              <a:rPr lang="en-US" dirty="0" err="1"/>
              <a:t>ons</a:t>
            </a:r>
            <a:r>
              <a:rPr lang="en-US" dirty="0"/>
              <a:t> </a:t>
            </a:r>
            <a:r>
              <a:rPr lang="en-US" dirty="0" err="1"/>
              <a:t>tijd</a:t>
            </a:r>
            <a:r>
              <a:rPr lang="en-US" dirty="0"/>
              <a:t> </a:t>
            </a:r>
            <a:r>
              <a:rPr lang="en-US" dirty="0" err="1"/>
              <a:t>binnen</a:t>
            </a:r>
            <a:endParaRPr lang="en-US" dirty="0"/>
          </a:p>
        </p:txBody>
      </p:sp>
    </p:spTree>
    <p:extLst>
      <p:ext uri="{BB962C8B-B14F-4D97-AF65-F5344CB8AC3E}">
        <p14:creationId xmlns:p14="http://schemas.microsoft.com/office/powerpoint/2010/main" val="142349275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C5E5658-6FC7-BA12-0917-EB9CC67CD4F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660000" y="10"/>
            <a:ext cx="8532000" cy="6857990"/>
          </a:xfrm>
          <a:prstGeom prst="rect">
            <a:avLst/>
          </a:prstGeom>
          <a:noFill/>
        </p:spPr>
      </p:pic>
      <p:sp>
        <p:nvSpPr>
          <p:cNvPr id="3" name="Slide Number Placeholder 2">
            <a:extLst>
              <a:ext uri="{FF2B5EF4-FFF2-40B4-BE49-F238E27FC236}">
                <a16:creationId xmlns:a16="http://schemas.microsoft.com/office/drawing/2014/main" id="{2364C94F-EE70-C8FE-E79D-6924766D805D}"/>
              </a:ext>
            </a:extLst>
          </p:cNvPr>
          <p:cNvSpPr>
            <a:spLocks noGrp="1"/>
          </p:cNvSpPr>
          <p:nvPr>
            <p:ph type="sldNum" sz="quarter" idx="12"/>
          </p:nvPr>
        </p:nvSpPr>
        <p:spPr>
          <a:xfrm>
            <a:off x="410882" y="6332830"/>
            <a:ext cx="507262" cy="273450"/>
          </a:xfrm>
        </p:spPr>
        <p:txBody>
          <a:bodyPr anchor="t">
            <a:normAutofit/>
          </a:bodyPr>
          <a:lstStyle/>
          <a:p>
            <a:pPr marL="0" marR="0" lvl="0" indent="0" defTabSz="521797" rtl="0" eaLnBrk="1" fontAlgn="auto" latinLnBrk="0" hangingPunct="1">
              <a:spcBef>
                <a:spcPts val="0"/>
              </a:spcBef>
              <a:spcAft>
                <a:spcPts val="600"/>
              </a:spcAft>
              <a:buClrTx/>
              <a:buSzTx/>
              <a:buFontTx/>
              <a:buNone/>
              <a:tabLst/>
              <a:defRPr/>
            </a:pPr>
            <a:fld id="{32B354EE-31EA-4FC2-9496-7B6202183237}" type="slidenum">
              <a:rPr kumimoji="0" lang="en-US" b="0" i="0" u="none" strike="noStrike" kern="1200" cap="none" spc="0" normalizeH="0" baseline="0" noProof="0" smtClean="0">
                <a:ln>
                  <a:noFill/>
                </a:ln>
                <a:effectLst/>
                <a:uLnTx/>
                <a:uFillTx/>
              </a:rPr>
              <a:pPr marL="0" marR="0" lvl="0" indent="0" defTabSz="521797" rtl="0" eaLnBrk="1" fontAlgn="auto" latinLnBrk="0" hangingPunct="1">
                <a:spcBef>
                  <a:spcPts val="0"/>
                </a:spcBef>
                <a:spcAft>
                  <a:spcPts val="600"/>
                </a:spcAft>
                <a:buClrTx/>
                <a:buSzTx/>
                <a:buFontTx/>
                <a:buNone/>
                <a:tabLst/>
                <a:defRPr/>
              </a:pPr>
              <a:t>9</a:t>
            </a:fld>
            <a:endParaRPr kumimoji="0" lang="en-US" b="0" i="0" u="none" strike="noStrike" kern="1200" cap="none" spc="0" normalizeH="0" baseline="0" noProof="0">
              <a:ln>
                <a:noFill/>
              </a:ln>
              <a:effectLst/>
              <a:uLnTx/>
              <a:uFillTx/>
            </a:endParaRPr>
          </a:p>
        </p:txBody>
      </p:sp>
      <p:sp>
        <p:nvSpPr>
          <p:cNvPr id="1031" name="Content Placeholder 1">
            <a:extLst>
              <a:ext uri="{FF2B5EF4-FFF2-40B4-BE49-F238E27FC236}">
                <a16:creationId xmlns:a16="http://schemas.microsoft.com/office/drawing/2014/main" id="{DF51BA66-13CA-744A-F125-CBC5D09E7EE8}"/>
              </a:ext>
            </a:extLst>
          </p:cNvPr>
          <p:cNvSpPr>
            <a:spLocks noGrp="1"/>
          </p:cNvSpPr>
          <p:nvPr>
            <p:ph type="body" sz="quarter" idx="13"/>
          </p:nvPr>
        </p:nvSpPr>
        <p:spPr>
          <a:xfrm>
            <a:off x="413104" y="1521184"/>
            <a:ext cx="2830327" cy="4494733"/>
          </a:xfrm>
        </p:spPr>
        <p:txBody>
          <a:bodyPr anchor="t">
            <a:normAutofit/>
          </a:bodyPr>
          <a:lstStyle/>
          <a:p>
            <a:r>
              <a:rPr lang="nl-NL" dirty="0"/>
              <a:t>Voor meer </a:t>
            </a:r>
          </a:p>
          <a:p>
            <a:r>
              <a:rPr lang="nl-NL" dirty="0"/>
              <a:t>1. Visueel comfort</a:t>
            </a:r>
          </a:p>
          <a:p>
            <a:r>
              <a:rPr lang="nl-NL" dirty="0"/>
              <a:t>2. Visuele prestatie</a:t>
            </a:r>
          </a:p>
          <a:p>
            <a:r>
              <a:rPr lang="nl-NL" dirty="0"/>
              <a:t>3. Veiligheid </a:t>
            </a:r>
          </a:p>
          <a:p>
            <a:endParaRPr lang="en-US" dirty="0"/>
          </a:p>
        </p:txBody>
      </p:sp>
      <p:sp>
        <p:nvSpPr>
          <p:cNvPr id="1033" name="Title 5">
            <a:extLst>
              <a:ext uri="{FF2B5EF4-FFF2-40B4-BE49-F238E27FC236}">
                <a16:creationId xmlns:a16="http://schemas.microsoft.com/office/drawing/2014/main" id="{C9821ED1-14A0-C423-9635-D7B50D4E902C}"/>
              </a:ext>
            </a:extLst>
          </p:cNvPr>
          <p:cNvSpPr>
            <a:spLocks noGrp="1"/>
          </p:cNvSpPr>
          <p:nvPr>
            <p:ph type="title"/>
          </p:nvPr>
        </p:nvSpPr>
        <p:spPr>
          <a:xfrm>
            <a:off x="410879" y="410669"/>
            <a:ext cx="2830327" cy="776038"/>
          </a:xfrm>
        </p:spPr>
        <p:txBody>
          <a:bodyPr anchor="t">
            <a:normAutofit fontScale="90000"/>
          </a:bodyPr>
          <a:lstStyle/>
          <a:p>
            <a:r>
              <a:rPr lang="en-US" sz="2000" err="1"/>
              <a:t>Nieuwe</a:t>
            </a:r>
            <a:r>
              <a:rPr lang="en-US" sz="2000"/>
              <a:t> norm EN 12464-1 (2021) </a:t>
            </a:r>
            <a:r>
              <a:rPr lang="en-US" sz="2000" err="1"/>
              <a:t>sinds</a:t>
            </a:r>
            <a:r>
              <a:rPr lang="en-US" sz="2000"/>
              <a:t> 1/03/2022</a:t>
            </a:r>
          </a:p>
        </p:txBody>
      </p:sp>
    </p:spTree>
    <p:extLst>
      <p:ext uri="{BB962C8B-B14F-4D97-AF65-F5344CB8AC3E}">
        <p14:creationId xmlns:p14="http://schemas.microsoft.com/office/powerpoint/2010/main" val="239475512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zi6KKLaKmdnoKE_KIANXQ"/>
</p:tagLst>
</file>

<file path=ppt/tags/tag102.xml><?xml version="1.0" encoding="utf-8"?>
<p:tagLst xmlns:a="http://schemas.openxmlformats.org/drawingml/2006/main" xmlns:r="http://schemas.openxmlformats.org/officeDocument/2006/relationships" xmlns:p="http://schemas.openxmlformats.org/presentationml/2006/main">
  <p:tag name="FIELDS.INITIALIZED" val="1"/>
  <p:tag name="ML_1" val="Phi"/>
  <p:tag name="ML_LAYOUT_RESOURCE" val="PHI_PRESENT4_3.MCR"/>
  <p:tag name="SHAPESETGROUPCLASSNAME" val="ShapeSetGroup2"/>
  <p:tag name="SHAPESETCLASSNAME" val="TITLETEXT"/>
  <p:tag name="COLORSETGROUPCLASSNAME" val="ColorSetGroupLight"/>
  <p:tag name="COLORSETCLASSNAME" val="ColorSet1"/>
  <p:tag name="FONTSETGROUPCLASSNAME" val="FontSetGroup1"/>
  <p:tag name="STYLESETGROUPCLASSNAME" val="StyleSetGroup1"/>
  <p:tag name="MAPNAME" val="Map1"/>
  <p:tag name="CFG.LAYOUT" val="Default"/>
  <p:tag name="MLI" val="1"/>
  <p:tag name="PICTURE 3_SHAPECLASSPROTECTIONTYPE" val="31"/>
  <p:tag name="TEXTBOX 4_SHAPECLASSPROTECTIONTYPE" val="63"/>
  <p:tag name="TEXTBOX 5_SHAPECLASSPROTECTIONTYPE" val="47"/>
  <p:tag name="TEXT PLACEHOLDER 2_SHAPECLASSPROTECTIONTYPE" val="3"/>
  <p:tag name="TITLE 1_SHAPECLASSPROTECTIONTYPE" val="3"/>
</p:tagLst>
</file>

<file path=ppt/tags/tag103.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IMAGETEXT01"/>
  <p:tag name="COLORSETGROUPCLASSNAME" val="ColorSetGroupLight"/>
  <p:tag name="FONTSETGROUPCLASSNAME" val="FontSetGroup1"/>
  <p:tag name="SHAPECLASSNAME" val="PhilipsLogoTitle"/>
  <p:tag name="SHAPECLASSFILE" val="PHGMCWORDMARK2008$C.emf"/>
  <p:tag name="SHAPECLASSPROTECTIONTYPE" val="3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MZcqiK.QS.uCKor15CER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pwfHA3mKSQSlIsgihYk8A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pwfHA3mKSQSlIsgihYk8A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mpmNO_54Sa2hlaXD_IEji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rDhZ.6C_Tu2XwAo0QYSkJ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3wbatYagSyKSJhzbVoC0G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KhZnkiSTuqlYXlI_XspM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RqvyvM2iRHaxZ5i4g7GA.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Gf4VFSuEQQups0ulDuF19w"/>
</p:tagLst>
</file>

<file path=ppt/tags/tag33.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X80pDCr0Q2Wp2L0wENcehQ"/>
</p:tagLst>
</file>

<file path=ppt/tags/tag36.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v3c97NhnRtGIQipb0wENxQ"/>
</p:tagLst>
</file>

<file path=ppt/tags/tag39.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50q1yE6hRTGv_ga4GbII8g"/>
</p:tagLst>
</file>

<file path=ppt/tags/tag42.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ar.LJhckSGCxmH17d0fWVg"/>
</p:tagLst>
</file>

<file path=ppt/tags/tag45.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Fn3EePDZRDCiGs6qA7F.ig"/>
</p:tagLst>
</file>

<file path=ppt/tags/tag48.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3wbatYagSyKSJhzbVoC0G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MZcqiK.QS.uCKor15CERX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MZcqiK.QS.uCKor15CERX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pwfHA3mKSQSlIsgihYk8A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pwfHA3mKSQSlIsgihYk8A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mpmNO_54Sa2hlaXD_IEji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rDhZ.6C_Tu2XwAo0QYSkJ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yKhZnkiSTuqlYXlI_XspM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RqvyvM2iRHaxZ5i4g7GA.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Gf4VFSuEQQups0ulDuF19w"/>
</p:tagLst>
</file>

<file path=ppt/tags/tag81.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X80pDCr0Q2Wp2L0wENcehQ"/>
</p:tagLst>
</file>

<file path=ppt/tags/tag84.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v3c97NhnRtGIQipb0wENxQ"/>
</p:tagLst>
</file>

<file path=ppt/tags/tag87.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50q1yE6hRTGv_ga4GbII8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MZcqiK.QS.uCKor15CERXA"/>
</p:tagLst>
</file>

<file path=ppt/tags/tag90.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ar.LJhckSGCxmH17d0fWVg"/>
</p:tagLst>
</file>

<file path=ppt/tags/tag93.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Fn3EePDZRDCiGs6qA7F.ig"/>
</p:tagLst>
</file>

<file path=ppt/tags/tag96.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97.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COLORTEXT01"/>
  <p:tag name="COLORSETGROUPCLASSNAME" val="ColorSetGroupLight"/>
  <p:tag name="FONTSETGROUPCLASSNAME" val="FontSetGroup1"/>
  <p:tag name="SHAPECLASSNAME" val="PhilipsLogoSlide"/>
  <p:tag name="SHAPECLASSFILE" val="PHGMCWORDMARK2008$C.emf"/>
  <p:tag name="SHAPECLASSPROTECTIONTYPE" val="31"/>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sf709g1hd0cICIt1.iSY7Q"/>
</p:tagLst>
</file>

<file path=ppt/theme/theme1.xml><?xml version="1.0" encoding="utf-8"?>
<a:theme xmlns:a="http://schemas.openxmlformats.org/drawingml/2006/main" name="Signify">
  <a:themeElements>
    <a:clrScheme name="Interact colour theme">
      <a:dk1>
        <a:sysClr val="windowText" lastClr="000000"/>
      </a:dk1>
      <a:lt1>
        <a:sysClr val="window" lastClr="FFFFFF"/>
      </a:lt1>
      <a:dk2>
        <a:srgbClr val="3C3C41"/>
      </a:dk2>
      <a:lt2>
        <a:srgbClr val="FFFFFF"/>
      </a:lt2>
      <a:accent1>
        <a:srgbClr val="969696"/>
      </a:accent1>
      <a:accent2>
        <a:srgbClr val="D5D5D5"/>
      </a:accent2>
      <a:accent3>
        <a:srgbClr val="FF375F"/>
      </a:accent3>
      <a:accent4>
        <a:srgbClr val="FF879F"/>
      </a:accent4>
      <a:accent5>
        <a:srgbClr val="1432FF"/>
      </a:accent5>
      <a:accent6>
        <a:srgbClr val="A1ADFF"/>
      </a:accent6>
      <a:hlink>
        <a:srgbClr val="0563C1"/>
      </a:hlink>
      <a:folHlink>
        <a:srgbClr val="954F72"/>
      </a:folHlink>
    </a:clrScheme>
    <a:fontScheme name="Interact Custom fonts">
      <a:majorFont>
        <a:latin typeface="Relative Faux"/>
        <a:ea typeface=""/>
        <a:cs typeface=""/>
      </a:majorFont>
      <a:minorFont>
        <a:latin typeface="Relative"/>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lnSpc>
            <a:spcPct val="90000"/>
          </a:lnSpc>
          <a:spcAft>
            <a:spcPts val="900"/>
          </a:spcAft>
          <a:defRPr sz="18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lnSpc>
            <a:spcPct val="90000"/>
          </a:lnSpc>
          <a:spcAft>
            <a:spcPts val="900"/>
          </a:spcAft>
          <a:defRPr sz="1800" dirty="0" err="1" smtClean="0">
            <a:solidFill>
              <a:schemeClr val="tx2"/>
            </a:solidFill>
          </a:defRPr>
        </a:defPPr>
      </a:lstStyle>
    </a:txDef>
  </a:objectDefaults>
  <a:extraClrSchemeLst/>
  <a:extLst>
    <a:ext uri="{05A4C25C-085E-4340-85A3-A5531E510DB2}">
      <thm15:themeFamily xmlns:thm15="http://schemas.microsoft.com/office/thememl/2012/main" name="Signify" id="{ECB4F504-1361-408B-868D-2948E10A242E}" vid="{AA89C11C-1510-4D14-9CEF-2AB2D5C0E3BF}"/>
    </a:ext>
  </a:extLst>
</a:theme>
</file>

<file path=ppt/theme/theme10.xml><?xml version="1.0" encoding="utf-8"?>
<a:theme xmlns:a="http://schemas.openxmlformats.org/drawingml/2006/main" name="2_Signify PowerPoint Theme">
  <a:themeElements>
    <a:clrScheme name="Signify colour theme">
      <a:dk1>
        <a:sysClr val="windowText" lastClr="000000"/>
      </a:dk1>
      <a:lt1>
        <a:sysClr val="window" lastClr="FFFFFF"/>
      </a:lt1>
      <a:dk2>
        <a:srgbClr val="3C3C41"/>
      </a:dk2>
      <a:lt2>
        <a:srgbClr val="FFFFFF"/>
      </a:lt2>
      <a:accent1>
        <a:srgbClr val="969696"/>
      </a:accent1>
      <a:accent2>
        <a:srgbClr val="D5D5D5"/>
      </a:accent2>
      <a:accent3>
        <a:srgbClr val="00E487"/>
      </a:accent3>
      <a:accent4>
        <a:srgbClr val="66EFB7"/>
      </a:accent4>
      <a:accent5>
        <a:srgbClr val="1432FF"/>
      </a:accent5>
      <a:accent6>
        <a:srgbClr val="A1ADFF"/>
      </a:accent6>
      <a:hlink>
        <a:srgbClr val="0563C1"/>
      </a:hlink>
      <a:folHlink>
        <a:srgbClr val="954F72"/>
      </a:folHlink>
    </a:clrScheme>
    <a:fontScheme name="Signify font theme">
      <a:majorFont>
        <a:latin typeface="Calibri"/>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gradFill>
          <a:gsLst>
            <a:gs pos="50000">
              <a:srgbClr val="00E487"/>
            </a:gs>
            <a:gs pos="100000">
              <a:srgbClr val="1ECBD0"/>
            </a:gs>
          </a:gsLst>
          <a:lin ang="18900000" scaled="0"/>
        </a:gradFill>
        <a:ln>
          <a:noFill/>
        </a:ln>
      </a:spPr>
      <a:bodyPr rtlCol="0" anchor="ctr"/>
      <a:lstStyle>
        <a:defPPr algn="ctr">
          <a:defRPr sz="14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400" dirty="0" err="1" smtClean="0">
            <a:solidFill>
              <a:schemeClr val="tx2"/>
            </a:solidFill>
          </a:defRPr>
        </a:defPPr>
      </a:lstStyle>
    </a:txDef>
  </a:objectDefaults>
  <a:extraClrSchemeLst/>
  <a:extLst>
    <a:ext uri="{05A4C25C-085E-4340-85A3-A5531E510DB2}">
      <thm15:themeFamily xmlns:thm15="http://schemas.microsoft.com/office/thememl/2012/main" name="Signify PowerPoint template 16_9.potx" id="{8877FC43-47E4-4E35-89FD-E256031568C2}" vid="{6CFF5B16-F80C-4D41-83B5-F839FD797EE6}"/>
    </a:ext>
  </a:extLst>
</a:theme>
</file>

<file path=ppt/theme/theme11.xml><?xml version="1.0" encoding="utf-8"?>
<a:theme xmlns:a="http://schemas.openxmlformats.org/drawingml/2006/main" name="4_Signify PowerPoint Theme">
  <a:themeElements>
    <a:clrScheme name="Signify colour theme">
      <a:dk1>
        <a:sysClr val="windowText" lastClr="000000"/>
      </a:dk1>
      <a:lt1>
        <a:sysClr val="window" lastClr="FFFFFF"/>
      </a:lt1>
      <a:dk2>
        <a:srgbClr val="3C3C41"/>
      </a:dk2>
      <a:lt2>
        <a:srgbClr val="FFFFFF"/>
      </a:lt2>
      <a:accent1>
        <a:srgbClr val="969696"/>
      </a:accent1>
      <a:accent2>
        <a:srgbClr val="D5D5D5"/>
      </a:accent2>
      <a:accent3>
        <a:srgbClr val="00E487"/>
      </a:accent3>
      <a:accent4>
        <a:srgbClr val="66EFB7"/>
      </a:accent4>
      <a:accent5>
        <a:srgbClr val="1432FF"/>
      </a:accent5>
      <a:accent6>
        <a:srgbClr val="A1ADFF"/>
      </a:accent6>
      <a:hlink>
        <a:srgbClr val="0563C1"/>
      </a:hlink>
      <a:folHlink>
        <a:srgbClr val="954F72"/>
      </a:folHlink>
    </a:clrScheme>
    <a:fontScheme name="Signify UPDATED font theme">
      <a:majorFont>
        <a:latin typeface="Signify Raisonne DemiBold"/>
        <a:ea typeface=""/>
        <a:cs typeface=""/>
      </a:majorFont>
      <a:minorFont>
        <a:latin typeface="Signify Relative Book"/>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lnSpc>
            <a:spcPct val="90000"/>
          </a:lnSpc>
          <a:spcAft>
            <a:spcPts val="900"/>
          </a:spcAft>
          <a:defRPr sz="18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lnSpc>
            <a:spcPct val="90000"/>
          </a:lnSpc>
          <a:spcAft>
            <a:spcPts val="900"/>
          </a:spcAft>
          <a:defRPr sz="1800" dirty="0" err="1" smtClean="0">
            <a:solidFill>
              <a:schemeClr val="tx2"/>
            </a:solidFill>
          </a:defRPr>
        </a:defPPr>
      </a:lstStyle>
    </a:txDef>
  </a:objectDefaults>
  <a:extraClrSchemeLst/>
  <a:extLst>
    <a:ext uri="{05A4C25C-085E-4340-85A3-A5531E510DB2}">
      <thm15:themeFamily xmlns:thm15="http://schemas.microsoft.com/office/thememl/2012/main" name="Signify PowerPoint template 16_9 Brand fonts.potx" id="{BEB557DB-FEFC-469D-AEC5-23657CDAD1EE}" vid="{6B5E6A58-30A4-4044-BE00-EDEE80610E4A}"/>
    </a:ext>
  </a:extLst>
</a:theme>
</file>

<file path=ppt/theme/theme12.xml><?xml version="1.0" encoding="utf-8"?>
<a:theme xmlns:a="http://schemas.openxmlformats.org/drawingml/2006/main" name="5_Signify PowerPoint Theme">
  <a:themeElements>
    <a:clrScheme name="Signify colour theme">
      <a:dk1>
        <a:sysClr val="windowText" lastClr="000000"/>
      </a:dk1>
      <a:lt1>
        <a:sysClr val="window" lastClr="FFFFFF"/>
      </a:lt1>
      <a:dk2>
        <a:srgbClr val="3C3C41"/>
      </a:dk2>
      <a:lt2>
        <a:srgbClr val="FFFFFF"/>
      </a:lt2>
      <a:accent1>
        <a:srgbClr val="969696"/>
      </a:accent1>
      <a:accent2>
        <a:srgbClr val="D5D5D5"/>
      </a:accent2>
      <a:accent3>
        <a:srgbClr val="00E487"/>
      </a:accent3>
      <a:accent4>
        <a:srgbClr val="66EFB7"/>
      </a:accent4>
      <a:accent5>
        <a:srgbClr val="1432FF"/>
      </a:accent5>
      <a:accent6>
        <a:srgbClr val="A1ADFF"/>
      </a:accent6>
      <a:hlink>
        <a:srgbClr val="0563C1"/>
      </a:hlink>
      <a:folHlink>
        <a:srgbClr val="954F72"/>
      </a:folHlink>
    </a:clrScheme>
    <a:fontScheme name="Signify UPDATED font theme">
      <a:majorFont>
        <a:latin typeface="Signify Raisonne DemiBold"/>
        <a:ea typeface=""/>
        <a:cs typeface=""/>
      </a:majorFont>
      <a:minorFont>
        <a:latin typeface="Signify Relative Book"/>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lnSpc>
            <a:spcPct val="90000"/>
          </a:lnSpc>
          <a:spcAft>
            <a:spcPts val="900"/>
          </a:spcAft>
          <a:defRPr sz="18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lnSpc>
            <a:spcPct val="90000"/>
          </a:lnSpc>
          <a:spcAft>
            <a:spcPts val="900"/>
          </a:spcAft>
          <a:defRPr sz="1800" dirty="0" err="1" smtClean="0">
            <a:solidFill>
              <a:schemeClr val="tx2"/>
            </a:solidFill>
          </a:defRPr>
        </a:defPPr>
      </a:lstStyle>
    </a:txDef>
  </a:objectDefaults>
  <a:extraClrSchemeLst/>
  <a:extLst>
    <a:ext uri="{05A4C25C-085E-4340-85A3-A5531E510DB2}">
      <thm15:themeFamily xmlns:thm15="http://schemas.microsoft.com/office/thememl/2012/main" name="Philips Multi-Brand template 16_9 Brand Fonts.potx" id="{F8A62773-587B-4EDB-897A-5CD99DE38308}" vid="{B096FF85-1FF8-423C-BA6F-C91D1FD0F53E}"/>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lour Kinetics PowerPoint Theme">
  <a:themeElements>
    <a:clrScheme name="Custom 1">
      <a:dk1>
        <a:sysClr val="windowText" lastClr="000000"/>
      </a:dk1>
      <a:lt1>
        <a:sysClr val="window" lastClr="FFFFFF"/>
      </a:lt1>
      <a:dk2>
        <a:srgbClr val="00005A"/>
      </a:dk2>
      <a:lt2>
        <a:srgbClr val="2D004B"/>
      </a:lt2>
      <a:accent1>
        <a:srgbClr val="FF557D"/>
      </a:accent1>
      <a:accent2>
        <a:srgbClr val="FFFF28"/>
      </a:accent2>
      <a:accent3>
        <a:srgbClr val="64E1F5"/>
      </a:accent3>
      <a:accent4>
        <a:srgbClr val="FF9600"/>
      </a:accent4>
      <a:accent5>
        <a:srgbClr val="002D2D"/>
      </a:accent5>
      <a:accent6>
        <a:srgbClr val="46001E"/>
      </a:accent6>
      <a:hlink>
        <a:srgbClr val="0563C1"/>
      </a:hlink>
      <a:folHlink>
        <a:srgbClr val="954F72"/>
      </a:folHlink>
    </a:clrScheme>
    <a:fontScheme name="Color Kinetics font theme">
      <a:majorFont>
        <a:latin typeface="Poppins SemiBold"/>
        <a:ea typeface=""/>
        <a:cs typeface=""/>
      </a:majorFont>
      <a:minorFont>
        <a:latin typeface="Open Sans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ln>
          <a:noFill/>
        </a:ln>
      </a:spPr>
      <a:bodyPr rtlCol="0" anchor="ctr"/>
      <a:lstStyle>
        <a:defPPr algn="ctr">
          <a:lnSpc>
            <a:spcPct val="90000"/>
          </a:lnSpc>
          <a:spcAft>
            <a:spcPts val="900"/>
          </a:spcAft>
          <a:defRPr sz="18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lnSpc>
            <a:spcPct val="90000"/>
          </a:lnSpc>
          <a:spcAft>
            <a:spcPts val="900"/>
          </a:spcAft>
          <a:defRPr sz="1800" dirty="0" err="1" smtClean="0">
            <a:solidFill>
              <a:schemeClr val="tx2"/>
            </a:solidFill>
          </a:defRPr>
        </a:defPPr>
      </a:lstStyle>
    </a:txDef>
  </a:objectDefaults>
  <a:extraClrSchemeLst/>
  <a:custClrLst>
    <a:custClr name="Blue 100%">
      <a:srgbClr val="00005A"/>
    </a:custClr>
    <a:custClr name="Blue 70%">
      <a:srgbClr val="4C4C8B"/>
    </a:custClr>
    <a:custClr name="Purple 100%">
      <a:srgbClr val="2D004B"/>
    </a:custClr>
    <a:custClr name="Purple 70%">
      <a:srgbClr val="6C4C81"/>
    </a:custClr>
    <a:custClr name="Green 100%">
      <a:srgbClr val="002D2D"/>
    </a:custClr>
    <a:custClr name="Green 70%">
      <a:srgbClr val="4C6C6C"/>
    </a:custClr>
    <a:custClr name="Red 100%">
      <a:srgbClr val="46001E"/>
    </a:custClr>
    <a:custClr name="Red 70%">
      <a:srgbClr val="7D4C61"/>
    </a:custClr>
    <a:custClr name=" ">
      <a:srgbClr val="FFFFFF"/>
    </a:custClr>
    <a:custClr name=" ">
      <a:srgbClr val="FFFFFF"/>
    </a:custClr>
    <a:custClr name="Yellow 100%">
      <a:srgbClr val="FFFF28"/>
    </a:custClr>
    <a:custClr name="Yellow 70%">
      <a:srgbClr val="FFFF68"/>
    </a:custClr>
    <a:custClr name="Orange 100%">
      <a:srgbClr val="FF9600"/>
    </a:custClr>
    <a:custClr name="Orange 70%">
      <a:srgbClr val="FFB54C"/>
    </a:custClr>
    <a:custClr name="Pink 100%">
      <a:srgbClr val="FF557D"/>
    </a:custClr>
    <a:custClr name="Pink 70%">
      <a:srgbClr val="FF88A4"/>
    </a:custClr>
    <a:custClr name="Cyan 100%">
      <a:srgbClr val="64E1F5"/>
    </a:custClr>
    <a:custClr name="Cyan 70%">
      <a:srgbClr val="92EAF8"/>
    </a:custClr>
  </a:custClrLst>
  <a:extLst>
    <a:ext uri="{05A4C25C-085E-4340-85A3-A5531E510DB2}">
      <thm15:themeFamily xmlns:thm15="http://schemas.microsoft.com/office/thememl/2012/main" name="Philips Multi-Brand 16_9 Brand Fonts.potx" id="{B2FB0556-262B-47CD-85EC-E5B115E1913B}" vid="{117ADDD4-AC1E-4072-97FF-D06BE2CD0A94}"/>
    </a:ext>
  </a:extLst>
</a:theme>
</file>

<file path=ppt/theme/theme3.xml><?xml version="1.0" encoding="utf-8"?>
<a:theme xmlns:a="http://schemas.openxmlformats.org/drawingml/2006/main" name="Philips PPT theme">
  <a:themeElements>
    <a:clrScheme name="Philips">
      <a:dk1>
        <a:sysClr val="windowText" lastClr="000000"/>
      </a:dk1>
      <a:lt1>
        <a:sysClr val="window" lastClr="FFFFFF"/>
      </a:lt1>
      <a:dk2>
        <a:srgbClr val="000000"/>
      </a:dk2>
      <a:lt2>
        <a:srgbClr val="FFFFFF"/>
      </a:lt2>
      <a:accent1>
        <a:srgbClr val="0066A1"/>
      </a:accent1>
      <a:accent2>
        <a:srgbClr val="1E9D8B"/>
      </a:accent2>
      <a:accent3>
        <a:srgbClr val="5B8F22"/>
      </a:accent3>
      <a:accent4>
        <a:srgbClr val="E98300"/>
      </a:accent4>
      <a:accent5>
        <a:srgbClr val="EC4371"/>
      </a:accent5>
      <a:accent6>
        <a:srgbClr val="9E2DB1"/>
      </a:accent6>
      <a:hlink>
        <a:srgbClr val="0089C4"/>
      </a:hlink>
      <a:folHlink>
        <a:srgbClr val="631D76"/>
      </a:folHlink>
    </a:clrScheme>
    <a:fontScheme name="Philips_New">
      <a:majorFont>
        <a:latin typeface="Calibri Light"/>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89C4"/>
        </a:solidFill>
        <a:ln w="25400" cap="flat" cmpd="sng" algn="ctr">
          <a:solidFill>
            <a:srgbClr val="0089C4"/>
          </a:solidFill>
          <a:prstDash val="solid"/>
        </a:ln>
        <a:effectLst/>
      </a:spPr>
      <a:bodyPr rtlCol="0" anchor="ctr"/>
      <a:lstStyle>
        <a:defPPr algn="ctr">
          <a:defRPr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hilips Multi-Brand 16_9 Brand Fonts.potx" id="{B2FB0556-262B-47CD-85EC-E5B115E1913B}" vid="{73AD4F72-F9CC-4C54-90DB-1224AD67F158}"/>
    </a:ext>
  </a:extLst>
</a:theme>
</file>

<file path=ppt/theme/theme4.xml><?xml version="1.0" encoding="utf-8"?>
<a:theme xmlns:a="http://schemas.openxmlformats.org/drawingml/2006/main" name="Multi-Brand-template_16_9-October2020">
  <a:themeElements>
    <a:clrScheme name="Signify colour theme">
      <a:dk1>
        <a:sysClr val="windowText" lastClr="000000"/>
      </a:dk1>
      <a:lt1>
        <a:sysClr val="window" lastClr="FFFFFF"/>
      </a:lt1>
      <a:dk2>
        <a:srgbClr val="3C3C41"/>
      </a:dk2>
      <a:lt2>
        <a:srgbClr val="FFFFFF"/>
      </a:lt2>
      <a:accent1>
        <a:srgbClr val="969696"/>
      </a:accent1>
      <a:accent2>
        <a:srgbClr val="D5D5D5"/>
      </a:accent2>
      <a:accent3>
        <a:srgbClr val="00E487"/>
      </a:accent3>
      <a:accent4>
        <a:srgbClr val="66EFB7"/>
      </a:accent4>
      <a:accent5>
        <a:srgbClr val="1432FF"/>
      </a:accent5>
      <a:accent6>
        <a:srgbClr val="A1ADFF"/>
      </a:accent6>
      <a:hlink>
        <a:srgbClr val="0563C1"/>
      </a:hlink>
      <a:folHlink>
        <a:srgbClr val="954F72"/>
      </a:folHlink>
    </a:clrScheme>
    <a:fontScheme name="Signify UPDATED font theme">
      <a:majorFont>
        <a:latin typeface="Signify Raisonne DemiBold"/>
        <a:ea typeface=""/>
        <a:cs typeface=""/>
      </a:majorFont>
      <a:minorFont>
        <a:latin typeface="Signify Relative Book"/>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lnSpc>
            <a:spcPct val="90000"/>
          </a:lnSpc>
          <a:spcAft>
            <a:spcPts val="900"/>
          </a:spcAft>
          <a:defRPr sz="18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lnSpc>
            <a:spcPct val="90000"/>
          </a:lnSpc>
          <a:spcAft>
            <a:spcPts val="900"/>
          </a:spcAft>
          <a:defRPr sz="1800" dirty="0" err="1" smtClean="0">
            <a:solidFill>
              <a:schemeClr val="tx2"/>
            </a:solidFill>
          </a:defRPr>
        </a:defPPr>
      </a:lstStyle>
    </a:txDef>
  </a:objectDefaults>
  <a:extraClrSchemeLst/>
  <a:extLst>
    <a:ext uri="{05A4C25C-085E-4340-85A3-A5531E510DB2}">
      <thm15:themeFamily xmlns:thm15="http://schemas.microsoft.com/office/thememl/2012/main" name="Multi-Brand-template_16_9-October2020" id="{33280499-BEFD-49EF-BDBC-9D9370010774}" vid="{C01637CD-C5A2-47EB-9F83-276921A39C16}"/>
    </a:ext>
  </a:extLst>
</a:theme>
</file>

<file path=ppt/theme/theme5.xml><?xml version="1.0" encoding="utf-8"?>
<a:theme xmlns:a="http://schemas.openxmlformats.org/drawingml/2006/main" name="1_Interact PowerPoint Theme">
  <a:themeElements>
    <a:clrScheme name="Interact colour theme">
      <a:dk1>
        <a:sysClr val="windowText" lastClr="000000"/>
      </a:dk1>
      <a:lt1>
        <a:sysClr val="window" lastClr="FFFFFF"/>
      </a:lt1>
      <a:dk2>
        <a:srgbClr val="3C3C41"/>
      </a:dk2>
      <a:lt2>
        <a:srgbClr val="FFFFFF"/>
      </a:lt2>
      <a:accent1>
        <a:srgbClr val="969696"/>
      </a:accent1>
      <a:accent2>
        <a:srgbClr val="D5D5D5"/>
      </a:accent2>
      <a:accent3>
        <a:srgbClr val="FF375F"/>
      </a:accent3>
      <a:accent4>
        <a:srgbClr val="FF879F"/>
      </a:accent4>
      <a:accent5>
        <a:srgbClr val="1432FF"/>
      </a:accent5>
      <a:accent6>
        <a:srgbClr val="A1ADFF"/>
      </a:accent6>
      <a:hlink>
        <a:srgbClr val="0563C1"/>
      </a:hlink>
      <a:folHlink>
        <a:srgbClr val="954F72"/>
      </a:folHlink>
    </a:clrScheme>
    <a:fontScheme name="Interact UPDATED font theme">
      <a:majorFont>
        <a:latin typeface="Signify Relative Faux"/>
        <a:ea typeface=""/>
        <a:cs typeface=""/>
      </a:majorFont>
      <a:minorFont>
        <a:latin typeface="Signify Relative Book"/>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lnSpc>
            <a:spcPct val="90000"/>
          </a:lnSpc>
          <a:spcAft>
            <a:spcPts val="900"/>
          </a:spcAft>
          <a:defRPr sz="18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lnSpc>
            <a:spcPct val="90000"/>
          </a:lnSpc>
          <a:spcAft>
            <a:spcPts val="900"/>
          </a:spcAft>
          <a:defRPr sz="1800" dirty="0" err="1" smtClean="0">
            <a:solidFill>
              <a:schemeClr val="tx2"/>
            </a:solidFill>
          </a:defRPr>
        </a:defPPr>
      </a:lstStyle>
    </a:txDef>
  </a:objectDefaults>
  <a:extraClrSchemeLst/>
  <a:extLst>
    <a:ext uri="{05A4C25C-085E-4340-85A3-A5531E510DB2}">
      <thm15:themeFamily xmlns:thm15="http://schemas.microsoft.com/office/thememl/2012/main" name="Philips Multi-Brand template 16_9 Brand Fonts.potx" id="{F8A62773-587B-4EDB-897A-5CD99DE38308}" vid="{DB7B63A0-A141-44D6-82FF-C086BAC53F98}"/>
    </a:ext>
  </a:extLst>
</a:theme>
</file>

<file path=ppt/theme/theme6.xml><?xml version="1.0" encoding="utf-8"?>
<a:theme xmlns:a="http://schemas.openxmlformats.org/drawingml/2006/main" name="1_Colour Kinetics PowerPoint Theme">
  <a:themeElements>
    <a:clrScheme name="Custom 1">
      <a:dk1>
        <a:sysClr val="windowText" lastClr="000000"/>
      </a:dk1>
      <a:lt1>
        <a:sysClr val="window" lastClr="FFFFFF"/>
      </a:lt1>
      <a:dk2>
        <a:srgbClr val="00005A"/>
      </a:dk2>
      <a:lt2>
        <a:srgbClr val="2D004B"/>
      </a:lt2>
      <a:accent1>
        <a:srgbClr val="FF557D"/>
      </a:accent1>
      <a:accent2>
        <a:srgbClr val="FFFF28"/>
      </a:accent2>
      <a:accent3>
        <a:srgbClr val="64E1F5"/>
      </a:accent3>
      <a:accent4>
        <a:srgbClr val="FF9600"/>
      </a:accent4>
      <a:accent5>
        <a:srgbClr val="002D2D"/>
      </a:accent5>
      <a:accent6>
        <a:srgbClr val="46001E"/>
      </a:accent6>
      <a:hlink>
        <a:srgbClr val="0563C1"/>
      </a:hlink>
      <a:folHlink>
        <a:srgbClr val="954F72"/>
      </a:folHlink>
    </a:clrScheme>
    <a:fontScheme name="Color Kinetics font theme">
      <a:majorFont>
        <a:latin typeface="Poppins SemiBold"/>
        <a:ea typeface=""/>
        <a:cs typeface=""/>
      </a:majorFont>
      <a:minorFont>
        <a:latin typeface="Open Sans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ln>
          <a:noFill/>
        </a:ln>
      </a:spPr>
      <a:bodyPr rtlCol="0" anchor="ctr"/>
      <a:lstStyle>
        <a:defPPr algn="ctr">
          <a:lnSpc>
            <a:spcPct val="90000"/>
          </a:lnSpc>
          <a:spcAft>
            <a:spcPts val="900"/>
          </a:spcAft>
          <a:defRPr sz="18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lnSpc>
            <a:spcPct val="90000"/>
          </a:lnSpc>
          <a:spcAft>
            <a:spcPts val="900"/>
          </a:spcAft>
          <a:defRPr sz="1800" dirty="0" err="1" smtClean="0">
            <a:solidFill>
              <a:schemeClr val="tx2"/>
            </a:solidFill>
          </a:defRPr>
        </a:defPPr>
      </a:lstStyle>
    </a:txDef>
  </a:objectDefaults>
  <a:extraClrSchemeLst/>
  <a:custClrLst>
    <a:custClr name="Blue 100%">
      <a:srgbClr val="00005A"/>
    </a:custClr>
    <a:custClr name="Blue 70%">
      <a:srgbClr val="4C4C8B"/>
    </a:custClr>
    <a:custClr name="Purple 100%">
      <a:srgbClr val="2D004B"/>
    </a:custClr>
    <a:custClr name="Purple 70%">
      <a:srgbClr val="6C4C81"/>
    </a:custClr>
    <a:custClr name="Green 100%">
      <a:srgbClr val="002D2D"/>
    </a:custClr>
    <a:custClr name="Green 70%">
      <a:srgbClr val="4C6C6C"/>
    </a:custClr>
    <a:custClr name="Red 100%">
      <a:srgbClr val="46001E"/>
    </a:custClr>
    <a:custClr name="Red 70%">
      <a:srgbClr val="7D4C61"/>
    </a:custClr>
    <a:custClr name=" ">
      <a:srgbClr val="FFFFFF"/>
    </a:custClr>
    <a:custClr name=" ">
      <a:srgbClr val="FFFFFF"/>
    </a:custClr>
    <a:custClr name="Yellow 100%">
      <a:srgbClr val="FFFF28"/>
    </a:custClr>
    <a:custClr name="Yellow 70%">
      <a:srgbClr val="FFFF68"/>
    </a:custClr>
    <a:custClr name="Orange 100%">
      <a:srgbClr val="FF9600"/>
    </a:custClr>
    <a:custClr name="Orange 70%">
      <a:srgbClr val="FFB54C"/>
    </a:custClr>
    <a:custClr name="Pink 100%">
      <a:srgbClr val="FF557D"/>
    </a:custClr>
    <a:custClr name="Pink 70%">
      <a:srgbClr val="FF88A4"/>
    </a:custClr>
    <a:custClr name="Cyan 100%">
      <a:srgbClr val="64E1F5"/>
    </a:custClr>
    <a:custClr name="Cyan 70%">
      <a:srgbClr val="92EAF8"/>
    </a:custClr>
  </a:custClrLst>
  <a:extLst>
    <a:ext uri="{05A4C25C-085E-4340-85A3-A5531E510DB2}">
      <thm15:themeFamily xmlns:thm15="http://schemas.microsoft.com/office/thememl/2012/main" name="Philips Multi-Brand template 16_9 Brand Fonts.potx" id="{F8A62773-587B-4EDB-897A-5CD99DE38308}" vid="{60263972-FB94-47C8-88A6-6B44A7FE365F}"/>
    </a:ext>
  </a:extLst>
</a:theme>
</file>

<file path=ppt/theme/theme7.xml><?xml version="1.0" encoding="utf-8"?>
<a:theme xmlns:a="http://schemas.openxmlformats.org/drawingml/2006/main" name="1_Philips PPT theme">
  <a:themeElements>
    <a:clrScheme name="Philips">
      <a:dk1>
        <a:sysClr val="windowText" lastClr="000000"/>
      </a:dk1>
      <a:lt1>
        <a:sysClr val="window" lastClr="FFFFFF"/>
      </a:lt1>
      <a:dk2>
        <a:srgbClr val="000000"/>
      </a:dk2>
      <a:lt2>
        <a:srgbClr val="FFFFFF"/>
      </a:lt2>
      <a:accent1>
        <a:srgbClr val="0066A1"/>
      </a:accent1>
      <a:accent2>
        <a:srgbClr val="1E9D8B"/>
      </a:accent2>
      <a:accent3>
        <a:srgbClr val="5B8F22"/>
      </a:accent3>
      <a:accent4>
        <a:srgbClr val="E98300"/>
      </a:accent4>
      <a:accent5>
        <a:srgbClr val="EC4371"/>
      </a:accent5>
      <a:accent6>
        <a:srgbClr val="9E2DB1"/>
      </a:accent6>
      <a:hlink>
        <a:srgbClr val="0089C4"/>
      </a:hlink>
      <a:folHlink>
        <a:srgbClr val="631D76"/>
      </a:folHlink>
    </a:clrScheme>
    <a:fontScheme name="Philips_New">
      <a:majorFont>
        <a:latin typeface="Calibri Light"/>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89C4"/>
        </a:solidFill>
        <a:ln w="25400" cap="flat" cmpd="sng" algn="ctr">
          <a:solidFill>
            <a:srgbClr val="0089C4"/>
          </a:solidFill>
          <a:prstDash val="solid"/>
        </a:ln>
        <a:effectLst/>
      </a:spPr>
      <a:bodyPr rtlCol="0" anchor="ctr"/>
      <a:lstStyle>
        <a:defPPr algn="ctr">
          <a:defRPr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hilips Multi-Brand template 16_9 Brand Fonts.potx" id="{F8A62773-587B-4EDB-897A-5CD99DE38308}" vid="{35836060-5446-4839-8E4F-D406A3D8634C}"/>
    </a:ext>
  </a:extLst>
</a:theme>
</file>

<file path=ppt/theme/theme8.xml><?xml version="1.0" encoding="utf-8"?>
<a:theme xmlns:a="http://schemas.openxmlformats.org/drawingml/2006/main" name="WiZ PPT Theme">
  <a:themeElements>
    <a:clrScheme name="Custom 1">
      <a:dk1>
        <a:srgbClr val="000000"/>
      </a:dk1>
      <a:lt1>
        <a:srgbClr val="FFFFFF"/>
      </a:lt1>
      <a:dk2>
        <a:srgbClr val="0089CB"/>
      </a:dk2>
      <a:lt2>
        <a:srgbClr val="CCCCCC"/>
      </a:lt2>
      <a:accent1>
        <a:srgbClr val="0089CB"/>
      </a:accent1>
      <a:accent2>
        <a:srgbClr val="0B1F2B"/>
      </a:accent2>
      <a:accent3>
        <a:srgbClr val="0089CB"/>
      </a:accent3>
      <a:accent4>
        <a:srgbClr val="0B1F2B"/>
      </a:accent4>
      <a:accent5>
        <a:srgbClr val="CCCCCC"/>
      </a:accent5>
      <a:accent6>
        <a:srgbClr val="333333"/>
      </a:accent6>
      <a:hlink>
        <a:srgbClr val="0089CB"/>
      </a:hlink>
      <a:folHlink>
        <a:srgbClr val="FFFFFF"/>
      </a:folHlink>
    </a:clrScheme>
    <a:fontScheme name="B&amp;G">
      <a:majorFont>
        <a:latin typeface="Gotham Book"/>
        <a:ea typeface=""/>
        <a:cs typeface=""/>
      </a:majorFont>
      <a:minorFont>
        <a:latin typeface="Gotham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rgbClr val="0089CB"/>
          </a:solid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algn="l">
          <a:defRPr dirty="0" err="1" smtClean="0">
            <a:latin typeface="Century Gothic" panose="020B0502020202020204" pitchFamily="34" charset="0"/>
          </a:defRPr>
        </a:defPPr>
      </a:lstStyle>
    </a:txDef>
  </a:objectDefaults>
  <a:extraClrSchemeLst/>
  <a:extLst>
    <a:ext uri="{05A4C25C-085E-4340-85A3-A5531E510DB2}">
      <thm15:themeFamily xmlns:thm15="http://schemas.microsoft.com/office/thememl/2012/main" name="2020723-WiZ_Consumer_PPT_template" id="{18C1E604-F48C-1B41-806B-77998BD47BB9}" vid="{A50DF87B-A021-9942-A8E8-FD9B9E674F2B}"/>
    </a:ext>
  </a:extLst>
</a:theme>
</file>

<file path=ppt/theme/theme9.xml><?xml version="1.0" encoding="utf-8"?>
<a:theme xmlns:a="http://schemas.openxmlformats.org/drawingml/2006/main" name="1_Signify PowerPoint Theme">
  <a:themeElements>
    <a:clrScheme name="Signify colour theme">
      <a:dk1>
        <a:sysClr val="windowText" lastClr="000000"/>
      </a:dk1>
      <a:lt1>
        <a:sysClr val="window" lastClr="FFFFFF"/>
      </a:lt1>
      <a:dk2>
        <a:srgbClr val="3C3C41"/>
      </a:dk2>
      <a:lt2>
        <a:srgbClr val="FFFFFF"/>
      </a:lt2>
      <a:accent1>
        <a:srgbClr val="969696"/>
      </a:accent1>
      <a:accent2>
        <a:srgbClr val="D5D5D5"/>
      </a:accent2>
      <a:accent3>
        <a:srgbClr val="00E487"/>
      </a:accent3>
      <a:accent4>
        <a:srgbClr val="66EFB7"/>
      </a:accent4>
      <a:accent5>
        <a:srgbClr val="1432FF"/>
      </a:accent5>
      <a:accent6>
        <a:srgbClr val="A1ADFF"/>
      </a:accent6>
      <a:hlink>
        <a:srgbClr val="0563C1"/>
      </a:hlink>
      <a:folHlink>
        <a:srgbClr val="954F72"/>
      </a:folHlink>
    </a:clrScheme>
    <a:fontScheme name="Signify font theme">
      <a:majorFont>
        <a:latin typeface="Calibri"/>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gradFill>
          <a:gsLst>
            <a:gs pos="50000">
              <a:srgbClr val="00E487"/>
            </a:gs>
            <a:gs pos="100000">
              <a:srgbClr val="1ECBD0"/>
            </a:gs>
          </a:gsLst>
          <a:lin ang="18900000" scaled="0"/>
        </a:gradFill>
        <a:ln>
          <a:noFill/>
        </a:ln>
      </a:spPr>
      <a:bodyPr rtlCol="0" anchor="ctr"/>
      <a:lstStyle>
        <a:defPPr algn="ctr">
          <a:defRPr sz="14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400" dirty="0" err="1" smtClean="0">
            <a:solidFill>
              <a:schemeClr val="tx2"/>
            </a:solidFill>
          </a:defRPr>
        </a:defPPr>
      </a:lstStyle>
    </a:txDef>
  </a:objectDefaults>
  <a:extraClrSchemeLst/>
  <a:extLst>
    <a:ext uri="{05A4C25C-085E-4340-85A3-A5531E510DB2}">
      <thm15:themeFamily xmlns:thm15="http://schemas.microsoft.com/office/thememl/2012/main" name="Signify presentation template" id="{8C1E44B1-E947-CC4B-A367-3E6801CADC6B}" vid="{CB4C48A1-8B71-6E47-B3A1-5C4564E2DD03}"/>
    </a:ext>
  </a:extLst>
</a:theme>
</file>

<file path=docProps/app.xml><?xml version="1.0" encoding="utf-8"?>
<Properties xmlns="http://schemas.openxmlformats.org/officeDocument/2006/extended-properties" xmlns:vt="http://schemas.openxmlformats.org/officeDocument/2006/docPropsVTypes">
  <Template>Default Theme</Template>
  <TotalTime>22209</TotalTime>
  <Words>1811</Words>
  <Application>Microsoft Office PowerPoint</Application>
  <PresentationFormat>Widescreen</PresentationFormat>
  <Paragraphs>250</Paragraphs>
  <Slides>32</Slides>
  <Notes>27</Notes>
  <HiddenSlides>0</HiddenSlides>
  <MMClips>1</MMClips>
  <ScaleCrop>false</ScaleCrop>
  <HeadingPairs>
    <vt:vector size="8" baseType="variant">
      <vt:variant>
        <vt:lpstr>Fonts Used</vt:lpstr>
      </vt:variant>
      <vt:variant>
        <vt:i4>17</vt:i4>
      </vt:variant>
      <vt:variant>
        <vt:lpstr>Theme</vt:lpstr>
      </vt:variant>
      <vt:variant>
        <vt:i4>12</vt:i4>
      </vt:variant>
      <vt:variant>
        <vt:lpstr>Embedded OLE Servers</vt:lpstr>
      </vt:variant>
      <vt:variant>
        <vt:i4>2</vt:i4>
      </vt:variant>
      <vt:variant>
        <vt:lpstr>Slide Titles</vt:lpstr>
      </vt:variant>
      <vt:variant>
        <vt:i4>32</vt:i4>
      </vt:variant>
    </vt:vector>
  </HeadingPairs>
  <TitlesOfParts>
    <vt:vector size="63" baseType="lpstr">
      <vt:lpstr>Arial</vt:lpstr>
      <vt:lpstr>Avenir Next</vt:lpstr>
      <vt:lpstr>Calibri</vt:lpstr>
      <vt:lpstr>Calibri Light</vt:lpstr>
      <vt:lpstr>Century Gothic</vt:lpstr>
      <vt:lpstr>Open Sans Light</vt:lpstr>
      <vt:lpstr>Open Sans SemiBold</vt:lpstr>
      <vt:lpstr>Poppins SemiBold</vt:lpstr>
      <vt:lpstr>Relative</vt:lpstr>
      <vt:lpstr>Relative Faux</vt:lpstr>
      <vt:lpstr>Signify Raisonne DemiBold</vt:lpstr>
      <vt:lpstr>Signify Relative Bold</vt:lpstr>
      <vt:lpstr>Signify Relative Book</vt:lpstr>
      <vt:lpstr>Signify Relative Faux</vt:lpstr>
      <vt:lpstr>Söhne</vt:lpstr>
      <vt:lpstr>Times New Roman</vt:lpstr>
      <vt:lpstr>Wingdings</vt:lpstr>
      <vt:lpstr>Signify</vt:lpstr>
      <vt:lpstr>Colour Kinetics PowerPoint Theme</vt:lpstr>
      <vt:lpstr>Philips PPT theme</vt:lpstr>
      <vt:lpstr>Multi-Brand-template_16_9-October2020</vt:lpstr>
      <vt:lpstr>1_Interact PowerPoint Theme</vt:lpstr>
      <vt:lpstr>1_Colour Kinetics PowerPoint Theme</vt:lpstr>
      <vt:lpstr>1_Philips PPT theme</vt:lpstr>
      <vt:lpstr>WiZ PPT Theme</vt:lpstr>
      <vt:lpstr>1_Signify PowerPoint Theme</vt:lpstr>
      <vt:lpstr>2_Signify PowerPoint Theme</vt:lpstr>
      <vt:lpstr>4_Signify PowerPoint Theme</vt:lpstr>
      <vt:lpstr>5_Signify PowerPoint Theme</vt:lpstr>
      <vt:lpstr>think-cell Slide</vt:lpstr>
      <vt:lpstr>think-cell Folie</vt:lpstr>
      <vt:lpstr>PowerPoint Presentation</vt:lpstr>
      <vt:lpstr>PowerPoint Presentation</vt:lpstr>
      <vt:lpstr>PowerPoint Presentation</vt:lpstr>
      <vt:lpstr>Challenges</vt:lpstr>
      <vt:lpstr>PowerPoint Presentation</vt:lpstr>
      <vt:lpstr>PowerPoint Presentation</vt:lpstr>
      <vt:lpstr>PowerPoint Presentation</vt:lpstr>
      <vt:lpstr>PowerPoint Presentation</vt:lpstr>
      <vt:lpstr>Nieuwe norm EN 12464-1 (2021) sinds 1/03/2022</vt:lpstr>
      <vt:lpstr>PowerPoint Presentation</vt:lpstr>
      <vt:lpstr>PowerPoint Presentation</vt:lpstr>
      <vt:lpstr>PowerPoint Presentation</vt:lpstr>
      <vt:lpstr>PowerPoint Presentation</vt:lpstr>
      <vt:lpstr>Energy costs are still 50% higher than in Q1 2021 </vt:lpstr>
      <vt:lpstr>PowerPoint Presentation</vt:lpstr>
      <vt:lpstr>PowerPoint Presentation</vt:lpstr>
      <vt:lpstr>PowerPoint Presentation</vt:lpstr>
      <vt:lpstr>PowerPoint Presentation</vt:lpstr>
      <vt:lpstr>Lighting is the quickest path to greener and smarter world</vt:lpstr>
      <vt:lpstr>Fluo ban - regulation RoHS = Restriction of Hazardous Substances    </vt:lpstr>
      <vt:lpstr>For every situation a suitable solution</vt:lpstr>
      <vt:lpstr> </vt:lpstr>
      <vt:lpstr>Till 700 Euro per room are burned every year with conventionele verlichting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or happier people! For lower costs! For a healthier planet!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ight for the future</dc:title>
  <dc:creator>Dominique Zaman</dc:creator>
  <cp:lastModifiedBy>Gerlinde Haberl</cp:lastModifiedBy>
  <cp:revision>19</cp:revision>
  <dcterms:created xsi:type="dcterms:W3CDTF">2023-03-08T08:34:22Z</dcterms:created>
  <dcterms:modified xsi:type="dcterms:W3CDTF">2023-09-26T10:40: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cb027a58-0b8b-4b38-933d-36c79ab5a9a6_Enabled">
    <vt:lpwstr>true</vt:lpwstr>
  </property>
  <property fmtid="{D5CDD505-2E9C-101B-9397-08002B2CF9AE}" pid="3" name="MSIP_Label_cb027a58-0b8b-4b38-933d-36c79ab5a9a6_SetDate">
    <vt:lpwstr>2023-03-09T20:42:16Z</vt:lpwstr>
  </property>
  <property fmtid="{D5CDD505-2E9C-101B-9397-08002B2CF9AE}" pid="4" name="MSIP_Label_cb027a58-0b8b-4b38-933d-36c79ab5a9a6_Method">
    <vt:lpwstr>Privileged</vt:lpwstr>
  </property>
  <property fmtid="{D5CDD505-2E9C-101B-9397-08002B2CF9AE}" pid="5" name="MSIP_Label_cb027a58-0b8b-4b38-933d-36c79ab5a9a6_Name">
    <vt:lpwstr>cb027a58-0b8b-4b38-933d-36c79ab5a9a6</vt:lpwstr>
  </property>
  <property fmtid="{D5CDD505-2E9C-101B-9397-08002B2CF9AE}" pid="6" name="MSIP_Label_cb027a58-0b8b-4b38-933d-36c79ab5a9a6_SiteId">
    <vt:lpwstr>75b2f54b-feff-400d-8e0b-67102edb9a23</vt:lpwstr>
  </property>
  <property fmtid="{D5CDD505-2E9C-101B-9397-08002B2CF9AE}" pid="7" name="MSIP_Label_cb027a58-0b8b-4b38-933d-36c79ab5a9a6_ActionId">
    <vt:lpwstr>4c746f80-49a0-4376-a2e3-42d633f775e6</vt:lpwstr>
  </property>
  <property fmtid="{D5CDD505-2E9C-101B-9397-08002B2CF9AE}" pid="8" name="MSIP_Label_cb027a58-0b8b-4b38-933d-36c79ab5a9a6_ContentBits">
    <vt:lpwstr>0</vt:lpwstr>
  </property>
</Properties>
</file>